
<file path=[Content_Types].xml><?xml version="1.0" encoding="utf-8"?>
<Types xmlns="http://schemas.openxmlformats.org/package/2006/content-types">
  <Default Extension="bin" ContentType="application/vnd.openxmlformats-officedocument.oleObject"/>
  <Default Extension="wmf" ContentType="image/x-wmf"/>
  <Default Extension="rels" ContentType="application/vnd.openxmlformats-package.relationships+xml"/>
  <Default Extension="jpeg" ContentType="image/jpeg"/>
  <Default Extension="emf" ContentType="image/x-emf"/>
  <Default Extension="xml" ContentType="application/xml"/>
  <Default Extension="vml" ContentType="application/vnd.openxmlformats-officedocument.vmlDrawing"/>
  <Override PartName="/ppt/drawings/drawing1.xml" ContentType="application/vnd.openxmlformats-officedocument.drawingml.chartshapes+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Override1.xml" ContentType="application/vnd.openxmlformats-officedocument.themeOverrid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3.xml" ContentType="application/vnd.openxmlformats-officedocument.presentationml.tag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7.xml" ContentType="application/vnd.openxmlformats-officedocument.presentationml.tags+xml"/>
  <Override PartName="/ppt/tags/tag10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5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21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1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2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1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5" r:id="rId1"/>
  </p:sldMasterIdLst>
  <p:notesMasterIdLst>
    <p:notesMasterId r:id="rId7"/>
  </p:notesMasterIdLst>
  <p:handoutMasterIdLst>
    <p:handoutMasterId r:id="rId8"/>
  </p:handoutMasterIdLst>
  <p:sldIdLst>
    <p:sldId id="291" r:id="rId2"/>
    <p:sldId id="326" r:id="rId3"/>
    <p:sldId id="324" r:id="rId4"/>
    <p:sldId id="299" r:id="rId5"/>
    <p:sldId id="329" r:id="rId6"/>
  </p:sldIdLst>
  <p:sldSz cx="9144000" cy="6858000" type="screen4x3"/>
  <p:notesSz cx="6794500" cy="9906000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Polo" pitchFamily="2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1C0A"/>
    <a:srgbClr val="33CCCC"/>
    <a:srgbClr val="9B9B9B"/>
    <a:srgbClr val="EDB05C"/>
    <a:srgbClr val="767676"/>
    <a:srgbClr val="CD5F0A"/>
    <a:srgbClr val="225087"/>
    <a:srgbClr val="A3A54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85" autoAdjust="0"/>
    <p:restoredTop sz="94073" autoAdjust="0"/>
  </p:normalViewPr>
  <p:slideViewPr>
    <p:cSldViewPr snapToGrid="0">
      <p:cViewPr>
        <p:scale>
          <a:sx n="100" d="100"/>
          <a:sy n="100" d="100"/>
        </p:scale>
        <p:origin x="-432" y="-162"/>
      </p:cViewPr>
      <p:guideLst>
        <p:guide orient="horz" pos="1655"/>
        <p:guide orient="horz" pos="4242"/>
        <p:guide orient="horz" pos="907"/>
        <p:guide orient="horz" pos="256"/>
        <p:guide pos="3810"/>
        <p:guide pos="374"/>
        <p:guide pos="5594"/>
        <p:guide pos="38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162150" cy="7816215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F:\&#1052;&#1077;&#1078;&#1076;&#1091;&#1085;&#1072;&#1088;&#1086;&#1076;&#1085;&#1072;&#1103;\&#1058;&#1072;&#1079;&#1080;&#1085;\&#1047;&#1072;&#1076;&#1072;&#1085;&#1080;&#1103;%20&#1080;%20&#1087;&#1086;&#1088;&#1091;&#1095;&#1077;&#1085;&#1080;&#1103;\2012.02.08_&#1050;&#1086;&#1085;&#1092;&#1077;&#1088;&#1077;&#1085;&#1094;&#1080;&#1103;%20&#1056;&#1057;&#1055;&#1055;%20&#1052;&#1086;&#1076;&#1077;&#1088;&#1085;&#1080;&#1079;&#1072;&#1094;&#1080;&#1103;%20&#1101;&#1085;&#1077;&#1088;&#1075;&#1077;&#1090;&#1080;&#1082;&#1080;\&#1057;&#1090;&#1088;&#1072;&#1085;&#1086;&#1074;&#1086;&#1077;%20&#1089;&#1088;&#1072;&#1074;&#1085;&#1077;&#1085;&#1080;&#1077;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1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clustered"/>
        <c:ser>
          <c:idx val="0"/>
          <c:order val="0"/>
          <c:tx>
            <c:strRef>
              <c:f>Выборка!$B$3</c:f>
              <c:strCache>
                <c:ptCount val="1"/>
                <c:pt idx="0">
                  <c:v>Население</c:v>
                </c:pt>
              </c:strCache>
            </c:strRef>
          </c:tx>
          <c:cat>
            <c:strRef>
              <c:f>Выборка!$A$40:$A$46</c:f>
              <c:strCache>
                <c:ptCount val="7"/>
                <c:pt idx="0">
                  <c:v>Россия</c:v>
                </c:pt>
                <c:pt idx="1">
                  <c:v>Германия</c:v>
                </c:pt>
                <c:pt idx="2">
                  <c:v>Франция</c:v>
                </c:pt>
                <c:pt idx="3">
                  <c:v>Великобритания</c:v>
                </c:pt>
                <c:pt idx="4">
                  <c:v>Норвегия</c:v>
                </c:pt>
                <c:pt idx="5">
                  <c:v>Испания</c:v>
                </c:pt>
                <c:pt idx="6">
                  <c:v>Италия</c:v>
                </c:pt>
              </c:strCache>
            </c:strRef>
          </c:cat>
          <c:val>
            <c:numRef>
              <c:f>Выборка!$B$40:$B$46</c:f>
              <c:numCache>
                <c:formatCode>0.00</c:formatCode>
                <c:ptCount val="7"/>
                <c:pt idx="0">
                  <c:v>2.19</c:v>
                </c:pt>
                <c:pt idx="1">
                  <c:v>5.7288993394174765</c:v>
                </c:pt>
                <c:pt idx="2">
                  <c:v>4.0501606994174786</c:v>
                </c:pt>
                <c:pt idx="3">
                  <c:v>5.5618403970873835</c:v>
                </c:pt>
                <c:pt idx="4">
                  <c:v>6.3686128502912656</c:v>
                </c:pt>
                <c:pt idx="5">
                  <c:v>6.5071495341747623</c:v>
                </c:pt>
                <c:pt idx="6">
                  <c:v>5.7655708145631106</c:v>
                </c:pt>
              </c:numCache>
            </c:numRef>
          </c:val>
        </c:ser>
        <c:ser>
          <c:idx val="1"/>
          <c:order val="1"/>
          <c:tx>
            <c:strRef>
              <c:f>Выборка!$C$3</c:f>
              <c:strCache>
                <c:ptCount val="1"/>
                <c:pt idx="0">
                  <c:v>Промышленные потребители</c:v>
                </c:pt>
              </c:strCache>
            </c:strRef>
          </c:tx>
          <c:cat>
            <c:strRef>
              <c:f>Выборка!$A$40:$A$46</c:f>
              <c:strCache>
                <c:ptCount val="7"/>
                <c:pt idx="0">
                  <c:v>Россия</c:v>
                </c:pt>
                <c:pt idx="1">
                  <c:v>Германия</c:v>
                </c:pt>
                <c:pt idx="2">
                  <c:v>Франция</c:v>
                </c:pt>
                <c:pt idx="3">
                  <c:v>Великобритания</c:v>
                </c:pt>
                <c:pt idx="4">
                  <c:v>Норвегия</c:v>
                </c:pt>
                <c:pt idx="5">
                  <c:v>Испания</c:v>
                </c:pt>
                <c:pt idx="6">
                  <c:v>Италия</c:v>
                </c:pt>
              </c:strCache>
            </c:strRef>
          </c:cat>
          <c:val>
            <c:numRef>
              <c:f>Выборка!$C$40:$C$46</c:f>
              <c:numCache>
                <c:formatCode>0.00</c:formatCode>
                <c:ptCount val="7"/>
                <c:pt idx="0">
                  <c:v>2.2999999999999998</c:v>
                </c:pt>
                <c:pt idx="1">
                  <c:v>3.6671475145631094</c:v>
                </c:pt>
                <c:pt idx="2">
                  <c:v>2.9418672283495182</c:v>
                </c:pt>
                <c:pt idx="3">
                  <c:v>3.8260572401941775</c:v>
                </c:pt>
                <c:pt idx="4">
                  <c:v>3.9197732322330125</c:v>
                </c:pt>
                <c:pt idx="5">
                  <c:v>4.4087262341747753</c:v>
                </c:pt>
                <c:pt idx="6">
                  <c:v>4.7509933355339884</c:v>
                </c:pt>
              </c:numCache>
            </c:numRef>
          </c:val>
        </c:ser>
        <c:ser>
          <c:idx val="2"/>
          <c:order val="2"/>
          <c:tx>
            <c:strRef>
              <c:f>Выборка!$D$3</c:f>
              <c:strCache>
                <c:ptCount val="1"/>
                <c:pt idx="0">
                  <c:v>Оптовая Цена</c:v>
                </c:pt>
              </c:strCache>
            </c:strRef>
          </c:tx>
          <c:spPr>
            <a:solidFill>
              <a:srgbClr val="FF0000"/>
            </a:solidFill>
          </c:spPr>
          <c:cat>
            <c:strRef>
              <c:f>Выборка!$A$40:$A$46</c:f>
              <c:strCache>
                <c:ptCount val="7"/>
                <c:pt idx="0">
                  <c:v>Россия</c:v>
                </c:pt>
                <c:pt idx="1">
                  <c:v>Германия</c:v>
                </c:pt>
                <c:pt idx="2">
                  <c:v>Франция</c:v>
                </c:pt>
                <c:pt idx="3">
                  <c:v>Великобритания</c:v>
                </c:pt>
                <c:pt idx="4">
                  <c:v>Норвегия</c:v>
                </c:pt>
                <c:pt idx="5">
                  <c:v>Испания</c:v>
                </c:pt>
                <c:pt idx="6">
                  <c:v>Италия</c:v>
                </c:pt>
              </c:strCache>
            </c:strRef>
          </c:cat>
          <c:val>
            <c:numRef>
              <c:f>Выборка!$D$40:$D$46</c:f>
              <c:numCache>
                <c:formatCode>General</c:formatCode>
                <c:ptCount val="7"/>
                <c:pt idx="0">
                  <c:v>1.3</c:v>
                </c:pt>
                <c:pt idx="1">
                  <c:v>2.11370719259184</c:v>
                </c:pt>
                <c:pt idx="2">
                  <c:v>2.33447771608453</c:v>
                </c:pt>
                <c:pt idx="3">
                  <c:v>2.2881572888201718</c:v>
                </c:pt>
                <c:pt idx="4">
                  <c:v>2.0094524942025931</c:v>
                </c:pt>
                <c:pt idx="5">
                  <c:v>2.0337649921215002</c:v>
                </c:pt>
                <c:pt idx="6">
                  <c:v>2.9296345363499898</c:v>
                </c:pt>
              </c:numCache>
            </c:numRef>
          </c:val>
        </c:ser>
        <c:axId val="52502912"/>
        <c:axId val="52504448"/>
      </c:barChart>
      <c:catAx>
        <c:axId val="52502912"/>
        <c:scaling>
          <c:orientation val="minMax"/>
        </c:scaling>
        <c:axPos val="b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52504448"/>
        <c:crosses val="autoZero"/>
        <c:auto val="1"/>
        <c:lblAlgn val="ctr"/>
        <c:lblOffset val="100"/>
        <c:tickLblSkip val="1"/>
      </c:catAx>
      <c:valAx>
        <c:axId val="52504448"/>
        <c:scaling>
          <c:orientation val="minMax"/>
          <c:max val="7"/>
          <c:min val="0"/>
        </c:scaling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0"/>
        <c:tickLblPos val="nextTo"/>
        <c:crossAx val="52502912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</c:chart>
  <c:spPr>
    <a:ln>
      <a:solidFill>
        <a:srgbClr val="FF0000"/>
      </a:solidFill>
    </a:ln>
  </c:spPr>
  <c:externalData r:id="rId2"/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104</cdr:x>
      <cdr:y>0.04741</cdr:y>
    </cdr:from>
    <cdr:to>
      <cdr:x>0.11697</cdr:x>
      <cdr:y>0.15517</cdr:y>
    </cdr:to>
    <cdr:sp macro="" textlink="">
      <cdr:nvSpPr>
        <cdr:cNvPr id="2" name="TextBox 6"/>
        <cdr:cNvSpPr txBox="1"/>
      </cdr:nvSpPr>
      <cdr:spPr>
        <a:xfrm xmlns:a="http://schemas.openxmlformats.org/drawingml/2006/main">
          <a:off x="257853" y="104767"/>
          <a:ext cx="713697" cy="23812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Arial"/>
            </a:defRPr>
          </a:lvl1pPr>
          <a:lvl2pPr marL="457200" indent="0">
            <a:defRPr sz="1100">
              <a:latin typeface="Arial"/>
            </a:defRPr>
          </a:lvl2pPr>
          <a:lvl3pPr marL="914400" indent="0">
            <a:defRPr sz="1100">
              <a:latin typeface="Arial"/>
            </a:defRPr>
          </a:lvl3pPr>
          <a:lvl4pPr marL="1371600" indent="0">
            <a:defRPr sz="1100">
              <a:latin typeface="Arial"/>
            </a:defRPr>
          </a:lvl4pPr>
          <a:lvl5pPr marL="1828800" indent="0">
            <a:defRPr sz="1100">
              <a:latin typeface="Arial"/>
            </a:defRPr>
          </a:lvl5pPr>
          <a:lvl6pPr marL="2286000" indent="0">
            <a:defRPr sz="1100">
              <a:latin typeface="Arial"/>
            </a:defRPr>
          </a:lvl6pPr>
          <a:lvl7pPr marL="2743200" indent="0">
            <a:defRPr sz="1100">
              <a:latin typeface="Arial"/>
            </a:defRPr>
          </a:lvl7pPr>
          <a:lvl8pPr marL="3200400" indent="0">
            <a:defRPr sz="1100">
              <a:latin typeface="Arial"/>
            </a:defRPr>
          </a:lvl8pPr>
          <a:lvl9pPr marL="3657600" indent="0">
            <a:defRPr sz="1100">
              <a:latin typeface="Arial"/>
            </a:defRPr>
          </a:lvl9pPr>
        </a:lstStyle>
        <a:p xmlns:a="http://schemas.openxmlformats.org/drawingml/2006/main">
          <a:pPr algn="ctr">
            <a:defRPr/>
          </a:pPr>
          <a:r>
            <a:rPr lang="ru-RU" sz="900" dirty="0">
              <a:solidFill>
                <a:schemeClr val="bg1">
                  <a:lumMod val="50000"/>
                </a:schemeClr>
              </a:solidFill>
            </a:rPr>
            <a:t>руб./кВтч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5024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defTabSz="914614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47890" y="0"/>
            <a:ext cx="2945024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 defTabSz="914614">
              <a:defRPr sz="1200"/>
            </a:lvl1pPr>
          </a:lstStyle>
          <a:p>
            <a:fld id="{F3437918-5020-4DB8-90DC-CAB73DA5D36B}" type="datetimeFigureOut">
              <a:rPr lang="ru-RU"/>
              <a:pPr/>
              <a:t>22.03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0" y="9408562"/>
            <a:ext cx="2945024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defTabSz="914614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47890" y="9408562"/>
            <a:ext cx="2945024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defTabSz="914614">
              <a:defRPr sz="1200"/>
            </a:lvl1pPr>
          </a:lstStyle>
          <a:p>
            <a:fld id="{6CD40FBF-112E-4D4A-90BC-7EA307C9EA3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1353528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024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defTabSz="914614"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7890" y="0"/>
            <a:ext cx="2945024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 defTabSz="914614"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358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133" y="4705073"/>
            <a:ext cx="5436235" cy="445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8562"/>
            <a:ext cx="2945024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defTabSz="914614"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7890" y="9408562"/>
            <a:ext cx="2945024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defTabSz="914614">
              <a:defRPr sz="1200">
                <a:latin typeface="Arial" charset="0"/>
              </a:defRPr>
            </a:lvl1pPr>
          </a:lstStyle>
          <a:p>
            <a:fld id="{E62B1496-EC17-4D59-8797-9AA92C4AFF8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88593410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2950"/>
            <a:ext cx="4953000" cy="3714750"/>
          </a:xfrm>
          <a:solidFill>
            <a:srgbClr val="FFFFFF"/>
          </a:solidFill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2950"/>
            <a:ext cx="4953000" cy="3714750"/>
          </a:xfrm>
          <a:solidFill>
            <a:srgbClr val="FFFFFF"/>
          </a:solidFill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marL="228257" indent="-228257" eaLnBrk="1" hangingPunct="1">
              <a:buFontTx/>
              <a:buNone/>
            </a:pPr>
            <a:endParaRPr lang="ru-RU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2950"/>
            <a:ext cx="4953000" cy="3714750"/>
          </a:xfrm>
          <a:solidFill>
            <a:srgbClr val="FFFFFF"/>
          </a:solidFill>
          <a:ln/>
        </p:spPr>
      </p:sp>
      <p:sp>
        <p:nvSpPr>
          <p:cNvPr id="47107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2950"/>
            <a:ext cx="4953000" cy="3714750"/>
          </a:xfrm>
          <a:solidFill>
            <a:srgbClr val="FFFFFF"/>
          </a:solidFill>
          <a:ln/>
        </p:spPr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>
              <a:defRPr/>
            </a:pPr>
            <a:endParaRPr lang="de-DE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rgbClr val="F21C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6413" y="4267200"/>
            <a:ext cx="5106987" cy="989013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046413" y="5508625"/>
            <a:ext cx="5106987" cy="741363"/>
          </a:xfrm>
        </p:spPr>
        <p:txBody>
          <a:bodyPr/>
          <a:lstStyle>
            <a:lvl1pPr>
              <a:lnSpc>
                <a:spcPts val="2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53200" y="423863"/>
            <a:ext cx="1981200" cy="51101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423863"/>
            <a:ext cx="5791200" cy="51101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190625"/>
            <a:ext cx="38862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190625"/>
            <a:ext cx="38862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    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609600" y="423863"/>
            <a:ext cx="7924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22531" name="Objektbereich"/>
          <p:cNvSpPr>
            <a:spLocks noGrp="1" noChangeArrowheads="1"/>
          </p:cNvSpPr>
          <p:nvPr>
            <p:ph type="body" idx="1"/>
          </p:nvPr>
        </p:nvSpPr>
        <p:spPr bwMode="gray">
          <a:xfrm>
            <a:off x="609600" y="1190625"/>
            <a:ext cx="79248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09600" y="6248400"/>
            <a:ext cx="5105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ts val="900"/>
              </a:lnSpc>
              <a:defRPr sz="700" noProof="1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r>
              <a:t>      </a:t>
            </a:r>
            <a:endParaRPr lang="de-DE"/>
          </a:p>
        </p:txBody>
      </p:sp>
      <p:sp>
        <p:nvSpPr>
          <p:cNvPr id="4108" name="Rectangle 12"/>
          <p:cNvSpPr>
            <a:spLocks noChangeArrowheads="1"/>
          </p:cNvSpPr>
          <p:nvPr userDrawn="1"/>
        </p:nvSpPr>
        <p:spPr bwMode="gray">
          <a:xfrm>
            <a:off x="8807450" y="6208713"/>
            <a:ext cx="323850" cy="287337"/>
          </a:xfrm>
          <a:prstGeom prst="rect">
            <a:avLst/>
          </a:prstGeom>
          <a:noFill/>
          <a:ln w="12700">
            <a:noFill/>
            <a:miter lim="800000"/>
            <a:headEnd/>
            <a:tailEnd type="none" w="med" len="lg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de-DE" dirty="0">
              <a:solidFill>
                <a:srgbClr val="000000"/>
              </a:solidFill>
              <a:latin typeface="Polo" pitchFamily="1" charset="0"/>
            </a:endParaRPr>
          </a:p>
        </p:txBody>
      </p:sp>
      <p:sp>
        <p:nvSpPr>
          <p:cNvPr id="4109" name="Rectangle 13"/>
          <p:cNvSpPr>
            <a:spLocks noChangeArrowheads="1"/>
          </p:cNvSpPr>
          <p:nvPr userDrawn="1"/>
        </p:nvSpPr>
        <p:spPr bwMode="gray">
          <a:xfrm>
            <a:off x="7664450" y="6194425"/>
            <a:ext cx="161925" cy="295275"/>
          </a:xfrm>
          <a:prstGeom prst="rect">
            <a:avLst/>
          </a:prstGeom>
          <a:noFill/>
          <a:ln w="12700">
            <a:noFill/>
            <a:miter lim="800000"/>
            <a:headEnd/>
            <a:tailEnd type="none" w="med" len="lg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de-DE" dirty="0">
              <a:solidFill>
                <a:srgbClr val="000000"/>
              </a:solidFill>
              <a:latin typeface="Polo" pitchFamily="1" charset="0"/>
            </a:endParaRPr>
          </a:p>
        </p:txBody>
      </p:sp>
      <p:sp>
        <p:nvSpPr>
          <p:cNvPr id="4110" name="Rectangle 14"/>
          <p:cNvSpPr>
            <a:spLocks noChangeArrowheads="1"/>
          </p:cNvSpPr>
          <p:nvPr userDrawn="1"/>
        </p:nvSpPr>
        <p:spPr bwMode="gray">
          <a:xfrm>
            <a:off x="7826375" y="6051550"/>
            <a:ext cx="323850" cy="144463"/>
          </a:xfrm>
          <a:prstGeom prst="rect">
            <a:avLst/>
          </a:prstGeom>
          <a:noFill/>
          <a:ln w="12700">
            <a:noFill/>
            <a:miter lim="800000"/>
            <a:headEnd/>
            <a:tailEnd type="none" w="med" len="lg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de-DE" dirty="0">
              <a:solidFill>
                <a:srgbClr val="000000"/>
              </a:solidFill>
              <a:latin typeface="Polo" pitchFamily="1" charset="0"/>
            </a:endParaRPr>
          </a:p>
        </p:txBody>
      </p:sp>
      <p:sp>
        <p:nvSpPr>
          <p:cNvPr id="4111" name="Rectangle 15"/>
          <p:cNvSpPr>
            <a:spLocks noChangeArrowheads="1"/>
          </p:cNvSpPr>
          <p:nvPr userDrawn="1"/>
        </p:nvSpPr>
        <p:spPr bwMode="gray">
          <a:xfrm>
            <a:off x="7826375" y="6489700"/>
            <a:ext cx="323850" cy="144463"/>
          </a:xfrm>
          <a:prstGeom prst="rect">
            <a:avLst/>
          </a:prstGeom>
          <a:noFill/>
          <a:ln w="12700">
            <a:noFill/>
            <a:miter lim="800000"/>
            <a:headEnd/>
            <a:tailEnd type="none" w="med" len="lg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de-DE" dirty="0">
              <a:solidFill>
                <a:srgbClr val="000000"/>
              </a:solidFill>
              <a:latin typeface="Polo" pitchFamily="1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hf hdr="0" ftr="0" dt="0"/>
  <p:txStyles>
    <p:titleStyle>
      <a:lvl1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34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9pPr>
    </p:titleStyle>
    <p:bodyStyle>
      <a:lvl1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07963" indent="-206375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buChar char=""/>
        <a:defRPr>
          <a:solidFill>
            <a:schemeClr val="tx1"/>
          </a:solidFill>
          <a:latin typeface="+mn-lt"/>
        </a:defRPr>
      </a:lvl2pPr>
      <a:lvl3pPr marL="209550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defRPr>
          <a:solidFill>
            <a:schemeClr val="tx1"/>
          </a:solidFill>
          <a:latin typeface="+mn-lt"/>
        </a:defRPr>
      </a:lvl3pPr>
      <a:lvl4pPr marL="412750" indent="-201613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buClr>
          <a:srgbClr val="F31C0A"/>
        </a:buClr>
        <a:buFont typeface="Wingdings" pitchFamily="2" charset="2"/>
        <a:buChar char=""/>
        <a:defRPr>
          <a:solidFill>
            <a:schemeClr val="tx1"/>
          </a:solidFill>
          <a:latin typeface="+mn-lt"/>
        </a:defRPr>
      </a:lvl4pPr>
      <a:lvl5pPr marL="414338"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2" charset="2"/>
        <a:defRPr>
          <a:solidFill>
            <a:schemeClr val="tx1"/>
          </a:solidFill>
          <a:latin typeface="+mn-lt"/>
        </a:defRPr>
      </a:lvl5pPr>
      <a:lvl6pPr marL="871538" algn="l" rtl="0" fontAlgn="base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1" charset="2"/>
        <a:defRPr>
          <a:solidFill>
            <a:schemeClr val="tx1"/>
          </a:solidFill>
          <a:latin typeface="+mn-lt"/>
        </a:defRPr>
      </a:lvl6pPr>
      <a:lvl7pPr marL="1328738" algn="l" rtl="0" fontAlgn="base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1" charset="2"/>
        <a:defRPr>
          <a:solidFill>
            <a:schemeClr val="tx1"/>
          </a:solidFill>
          <a:latin typeface="+mn-lt"/>
        </a:defRPr>
      </a:lvl7pPr>
      <a:lvl8pPr marL="1785938" algn="l" rtl="0" fontAlgn="base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1" charset="2"/>
        <a:defRPr>
          <a:solidFill>
            <a:schemeClr val="tx1"/>
          </a:solidFill>
          <a:latin typeface="+mn-lt"/>
        </a:defRPr>
      </a:lvl8pPr>
      <a:lvl9pPr marL="2243138" algn="l" rtl="0" fontAlgn="base">
        <a:lnSpc>
          <a:spcPts val="2600"/>
        </a:lnSpc>
        <a:spcBef>
          <a:spcPct val="0"/>
        </a:spcBef>
        <a:spcAft>
          <a:spcPct val="0"/>
        </a:spcAft>
        <a:buClr>
          <a:srgbClr val="F21C0A"/>
        </a:buClr>
        <a:buFont typeface="Wingdings" pitchFamily="1" charset="2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1.w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tags" Target="../tags/tag21.xml"/><Relationship Id="rId11" Type="http://schemas.openxmlformats.org/officeDocument/2006/relationships/chart" Target="../charts/chart1.xml"/><Relationship Id="rId5" Type="http://schemas.openxmlformats.org/officeDocument/2006/relationships/tags" Target="../tags/tag20.xml"/><Relationship Id="rId10" Type="http://schemas.openxmlformats.org/officeDocument/2006/relationships/image" Target="../media/image1.wmf"/><Relationship Id="rId4" Type="http://schemas.openxmlformats.org/officeDocument/2006/relationships/tags" Target="../tags/tag19.xml"/><Relationship Id="rId9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1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tags" Target="../tags/tag27.xml"/><Relationship Id="rId7" Type="http://schemas.openxmlformats.org/officeDocument/2006/relationships/oleObject" Target="../embeddings/oleObject4.bin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 descr="EON_Logo_W+Markenins#7E3FE1.wmf                                007E32EEMacintosh HD                   C540EE1A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23200" y="6081713"/>
            <a:ext cx="1331913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19" name="Rectangle 3"/>
          <p:cNvSpPr>
            <a:spLocks noChangeArrowheads="1"/>
          </p:cNvSpPr>
          <p:nvPr/>
        </p:nvSpPr>
        <p:spPr bwMode="gray">
          <a:xfrm>
            <a:off x="566738" y="4070350"/>
            <a:ext cx="7035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ru-RU" sz="1100" dirty="0">
                <a:solidFill>
                  <a:srgbClr val="F21C0A"/>
                </a:solidFill>
                <a:latin typeface="Arial" charset="0"/>
              </a:rPr>
              <a:t>Конференция «Российская </a:t>
            </a:r>
            <a:r>
              <a:rPr lang="ru-RU" sz="1100" dirty="0" smtClean="0">
                <a:solidFill>
                  <a:srgbClr val="F21C0A"/>
                </a:solidFill>
                <a:latin typeface="Arial" charset="0"/>
              </a:rPr>
              <a:t>энергетика</a:t>
            </a:r>
          </a:p>
          <a:p>
            <a:r>
              <a:rPr lang="ru-RU" sz="1100" dirty="0">
                <a:solidFill>
                  <a:srgbClr val="F21C0A"/>
                </a:solidFill>
                <a:latin typeface="Arial" charset="0"/>
              </a:rPr>
              <a:t>	</a:t>
            </a:r>
            <a:r>
              <a:rPr lang="ru-RU" sz="1100" dirty="0" smtClean="0">
                <a:solidFill>
                  <a:srgbClr val="F21C0A"/>
                </a:solidFill>
                <a:latin typeface="Arial" charset="0"/>
              </a:rPr>
              <a:t>  госрегулирование </a:t>
            </a:r>
            <a:r>
              <a:rPr lang="ru-RU" sz="1100" dirty="0">
                <a:solidFill>
                  <a:srgbClr val="F21C0A"/>
                </a:solidFill>
                <a:latin typeface="Arial" charset="0"/>
              </a:rPr>
              <a:t>VS свобода рынка»</a:t>
            </a:r>
          </a:p>
          <a:p>
            <a:endParaRPr lang="ru-RU" sz="1100" dirty="0">
              <a:solidFill>
                <a:srgbClr val="F21C0A"/>
              </a:solidFill>
              <a:latin typeface="Arial" charset="0"/>
            </a:endParaRPr>
          </a:p>
          <a:p>
            <a:r>
              <a:rPr lang="ru-RU" dirty="0">
                <a:solidFill>
                  <a:srgbClr val="F21C0A"/>
                </a:solidFill>
                <a:latin typeface="Arial" charset="0"/>
              </a:rPr>
              <a:t>Современное состояние и перспективы развития электроэнергетики России</a:t>
            </a:r>
          </a:p>
          <a:p>
            <a:pPr>
              <a:lnSpc>
                <a:spcPts val="3100"/>
              </a:lnSpc>
            </a:pPr>
            <a:endParaRPr lang="en-US" sz="2400" dirty="0">
              <a:solidFill>
                <a:srgbClr val="D53127"/>
              </a:solidFill>
              <a:latin typeface="Arial" charset="0"/>
            </a:endParaRPr>
          </a:p>
        </p:txBody>
      </p:sp>
      <p:sp>
        <p:nvSpPr>
          <p:cNvPr id="34820" name="Rectangle 4"/>
          <p:cNvSpPr>
            <a:spLocks noChangeArrowheads="1"/>
          </p:cNvSpPr>
          <p:nvPr/>
        </p:nvSpPr>
        <p:spPr bwMode="gray">
          <a:xfrm>
            <a:off x="566738" y="5360988"/>
            <a:ext cx="5106987" cy="74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800"/>
              </a:lnSpc>
            </a:pPr>
            <a:r>
              <a:rPr lang="ru-RU" sz="1400" dirty="0">
                <a:solidFill>
                  <a:srgbClr val="9B9B9B"/>
                </a:solidFill>
                <a:latin typeface="Arial" charset="0"/>
              </a:rPr>
              <a:t>Сергей </a:t>
            </a:r>
            <a:r>
              <a:rPr lang="ru-RU" sz="1400" dirty="0" err="1">
                <a:solidFill>
                  <a:srgbClr val="9B9B9B"/>
                </a:solidFill>
                <a:latin typeface="Arial" charset="0"/>
              </a:rPr>
              <a:t>Тазин</a:t>
            </a:r>
            <a:r>
              <a:rPr lang="ru-RU" sz="1400" dirty="0">
                <a:solidFill>
                  <a:srgbClr val="9B9B9B"/>
                </a:solidFill>
                <a:latin typeface="Arial" charset="0"/>
              </a:rPr>
              <a:t/>
            </a:r>
            <a:br>
              <a:rPr lang="ru-RU" sz="1400" dirty="0">
                <a:solidFill>
                  <a:srgbClr val="9B9B9B"/>
                </a:solidFill>
                <a:latin typeface="Arial" charset="0"/>
              </a:rPr>
            </a:br>
            <a:r>
              <a:rPr lang="ru-RU" sz="1400" dirty="0">
                <a:solidFill>
                  <a:srgbClr val="9B9B9B"/>
                </a:solidFill>
                <a:latin typeface="Arial" charset="0"/>
              </a:rPr>
              <a:t>Генеральный директор  E.ON </a:t>
            </a:r>
            <a:r>
              <a:rPr lang="ru-RU" sz="1400" dirty="0" err="1">
                <a:solidFill>
                  <a:srgbClr val="9B9B9B"/>
                </a:solidFill>
                <a:latin typeface="Arial" charset="0"/>
              </a:rPr>
              <a:t>Russia</a:t>
            </a:r>
            <a:r>
              <a:rPr lang="ru-RU" sz="1400" dirty="0">
                <a:solidFill>
                  <a:srgbClr val="9B9B9B"/>
                </a:solidFill>
                <a:latin typeface="Arial" charset="0"/>
              </a:rPr>
              <a:t/>
            </a:r>
            <a:br>
              <a:rPr lang="ru-RU" sz="1400" dirty="0">
                <a:solidFill>
                  <a:srgbClr val="9B9B9B"/>
                </a:solidFill>
                <a:latin typeface="Arial" charset="0"/>
              </a:rPr>
            </a:br>
            <a:r>
              <a:rPr lang="ru-RU" sz="1400" dirty="0">
                <a:solidFill>
                  <a:srgbClr val="9B9B9B"/>
                </a:solidFill>
                <a:latin typeface="Arial" charset="0"/>
              </a:rPr>
              <a:t>Председатель Совета директоров  ОАО «Э.ОН Россия»</a:t>
            </a:r>
            <a:br>
              <a:rPr lang="ru-RU" sz="1400" dirty="0">
                <a:solidFill>
                  <a:srgbClr val="9B9B9B"/>
                </a:solidFill>
                <a:latin typeface="Arial" charset="0"/>
              </a:rPr>
            </a:br>
            <a:endParaRPr lang="ru-RU" sz="1400" dirty="0">
              <a:solidFill>
                <a:srgbClr val="9B9B9B"/>
              </a:solidFill>
              <a:latin typeface="Arial" charset="0"/>
            </a:endParaRPr>
          </a:p>
          <a:p>
            <a:pPr>
              <a:lnSpc>
                <a:spcPts val="1800"/>
              </a:lnSpc>
            </a:pPr>
            <a:r>
              <a:rPr lang="ru-RU" sz="1400" dirty="0" smtClean="0">
                <a:solidFill>
                  <a:srgbClr val="9B9B9B"/>
                </a:solidFill>
                <a:latin typeface="Arial" charset="0"/>
              </a:rPr>
              <a:t>22 марта </a:t>
            </a:r>
            <a:r>
              <a:rPr lang="en-US" sz="1400" dirty="0" smtClean="0">
                <a:solidFill>
                  <a:srgbClr val="9B9B9B"/>
                </a:solidFill>
                <a:latin typeface="Arial" charset="0"/>
              </a:rPr>
              <a:t>201</a:t>
            </a:r>
            <a:r>
              <a:rPr lang="ru-RU" sz="1400" dirty="0">
                <a:solidFill>
                  <a:srgbClr val="9B9B9B"/>
                </a:solidFill>
                <a:latin typeface="Arial" charset="0"/>
              </a:rPr>
              <a:t>2</a:t>
            </a:r>
            <a:endParaRPr lang="en-US" sz="1400" dirty="0">
              <a:solidFill>
                <a:srgbClr val="9B9B9B"/>
              </a:solidFill>
              <a:latin typeface="Arial" charset="0"/>
            </a:endParaRPr>
          </a:p>
        </p:txBody>
      </p:sp>
      <p:pic>
        <p:nvPicPr>
          <p:cNvPr id="34822" name="Picture 1"/>
          <p:cNvPicPr>
            <a:picLocks noChangeAspect="1" noChangeArrowheads="1"/>
          </p:cNvPicPr>
          <p:nvPr/>
        </p:nvPicPr>
        <p:blipFill>
          <a:blip r:embed="rId3" cstate="print"/>
          <a:srcRect t="9875" b="11348"/>
          <a:stretch>
            <a:fillRect/>
          </a:stretch>
        </p:blipFill>
        <p:spPr bwMode="auto">
          <a:xfrm>
            <a:off x="0" y="444500"/>
            <a:ext cx="6100763" cy="360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8629" name="think-cell Slide" r:id="rId19" imgW="360" imgH="360" progId="">
              <p:embed/>
            </p:oleObj>
          </a:graphicData>
        </a:graphic>
      </p:graphicFrame>
      <p:sp>
        <p:nvSpPr>
          <p:cNvPr id="2051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585788" y="728663"/>
            <a:ext cx="7924800" cy="533400"/>
          </a:xfrm>
        </p:spPr>
        <p:txBody>
          <a:bodyPr/>
          <a:lstStyle/>
          <a:p>
            <a:pPr eaLnBrk="1" hangingPunct="1">
              <a:lnSpc>
                <a:spcPts val="3100"/>
              </a:lnSpc>
            </a:pPr>
            <a:r>
              <a:rPr lang="ru-RU" sz="2500" smtClean="0">
                <a:solidFill>
                  <a:srgbClr val="F21C0A"/>
                </a:solidFill>
              </a:rPr>
              <a:t>E.ON – крупнейший иностранный стратегический инвестор в электроэнергетику России</a:t>
            </a:r>
          </a:p>
        </p:txBody>
      </p:sp>
      <p:pic>
        <p:nvPicPr>
          <p:cNvPr id="2052" name="Picture 9" descr="EON_Logo_W+Markenins#7E3FE1.wmf                                007E32EEMacintosh HD                   C540EE1A: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820025" y="6081713"/>
            <a:ext cx="1331913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68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92138" y="1666875"/>
            <a:ext cx="7924800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2200"/>
              </a:lnSpc>
              <a:defRPr/>
            </a:pPr>
            <a:endParaRPr lang="en-US" sz="1600" b="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054" name="Group 1"/>
          <p:cNvGrpSpPr>
            <a:grpSpLocks noChangeAspect="1"/>
          </p:cNvGrpSpPr>
          <p:nvPr/>
        </p:nvGrpSpPr>
        <p:grpSpPr bwMode="auto">
          <a:xfrm>
            <a:off x="622300" y="2387600"/>
            <a:ext cx="6662738" cy="2701925"/>
            <a:chOff x="0" y="0"/>
            <a:chExt cx="11810" cy="4943"/>
          </a:xfrm>
        </p:grpSpPr>
        <p:sp>
          <p:nvSpPr>
            <p:cNvPr id="21" name="AutoShape 398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11810" cy="4943"/>
            </a:xfrm>
            <a:prstGeom prst="rect">
              <a:avLst/>
            </a:prstGeom>
            <a:noFill/>
          </p:spPr>
          <p:txBody>
            <a:bodyPr/>
            <a:lstStyle/>
            <a:p>
              <a:pPr algn="ctr">
                <a:defRPr/>
              </a:pPr>
              <a:endParaRPr lang="ru-RU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Freeform 397"/>
            <p:cNvSpPr>
              <a:spLocks/>
            </p:cNvSpPr>
            <p:nvPr/>
          </p:nvSpPr>
          <p:spPr bwMode="auto">
            <a:xfrm>
              <a:off x="1249" y="2390"/>
              <a:ext cx="495" cy="450"/>
            </a:xfrm>
            <a:custGeom>
              <a:avLst/>
              <a:gdLst>
                <a:gd name="T0" fmla="*/ 185 w 497"/>
                <a:gd name="T1" fmla="*/ 39 h 449"/>
                <a:gd name="T2" fmla="*/ 204 w 497"/>
                <a:gd name="T3" fmla="*/ 20 h 449"/>
                <a:gd name="T4" fmla="*/ 214 w 497"/>
                <a:gd name="T5" fmla="*/ 10 h 449"/>
                <a:gd name="T6" fmla="*/ 243 w 497"/>
                <a:gd name="T7" fmla="*/ 0 h 449"/>
                <a:gd name="T8" fmla="*/ 282 w 497"/>
                <a:gd name="T9" fmla="*/ 10 h 449"/>
                <a:gd name="T10" fmla="*/ 341 w 497"/>
                <a:gd name="T11" fmla="*/ 59 h 449"/>
                <a:gd name="T12" fmla="*/ 351 w 497"/>
                <a:gd name="T13" fmla="*/ 88 h 449"/>
                <a:gd name="T14" fmla="*/ 370 w 497"/>
                <a:gd name="T15" fmla="*/ 108 h 449"/>
                <a:gd name="T16" fmla="*/ 380 w 497"/>
                <a:gd name="T17" fmla="*/ 117 h 449"/>
                <a:gd name="T18" fmla="*/ 390 w 497"/>
                <a:gd name="T19" fmla="*/ 137 h 449"/>
                <a:gd name="T20" fmla="*/ 438 w 497"/>
                <a:gd name="T21" fmla="*/ 157 h 449"/>
                <a:gd name="T22" fmla="*/ 419 w 497"/>
                <a:gd name="T23" fmla="*/ 215 h 449"/>
                <a:gd name="T24" fmla="*/ 399 w 497"/>
                <a:gd name="T25" fmla="*/ 244 h 449"/>
                <a:gd name="T26" fmla="*/ 429 w 497"/>
                <a:gd name="T27" fmla="*/ 254 h 449"/>
                <a:gd name="T28" fmla="*/ 438 w 497"/>
                <a:gd name="T29" fmla="*/ 274 h 449"/>
                <a:gd name="T30" fmla="*/ 448 w 497"/>
                <a:gd name="T31" fmla="*/ 303 h 449"/>
                <a:gd name="T32" fmla="*/ 468 w 497"/>
                <a:gd name="T33" fmla="*/ 293 h 449"/>
                <a:gd name="T34" fmla="*/ 468 w 497"/>
                <a:gd name="T35" fmla="*/ 332 h 449"/>
                <a:gd name="T36" fmla="*/ 487 w 497"/>
                <a:gd name="T37" fmla="*/ 342 h 449"/>
                <a:gd name="T38" fmla="*/ 497 w 497"/>
                <a:gd name="T39" fmla="*/ 361 h 449"/>
                <a:gd name="T40" fmla="*/ 477 w 497"/>
                <a:gd name="T41" fmla="*/ 381 h 449"/>
                <a:gd name="T42" fmla="*/ 429 w 497"/>
                <a:gd name="T43" fmla="*/ 381 h 449"/>
                <a:gd name="T44" fmla="*/ 380 w 497"/>
                <a:gd name="T45" fmla="*/ 410 h 449"/>
                <a:gd name="T46" fmla="*/ 380 w 497"/>
                <a:gd name="T47" fmla="*/ 439 h 449"/>
                <a:gd name="T48" fmla="*/ 321 w 497"/>
                <a:gd name="T49" fmla="*/ 449 h 449"/>
                <a:gd name="T50" fmla="*/ 282 w 497"/>
                <a:gd name="T51" fmla="*/ 420 h 449"/>
                <a:gd name="T52" fmla="*/ 243 w 497"/>
                <a:gd name="T53" fmla="*/ 400 h 449"/>
                <a:gd name="T54" fmla="*/ 224 w 497"/>
                <a:gd name="T55" fmla="*/ 400 h 449"/>
                <a:gd name="T56" fmla="*/ 204 w 497"/>
                <a:gd name="T57" fmla="*/ 391 h 449"/>
                <a:gd name="T58" fmla="*/ 195 w 497"/>
                <a:gd name="T59" fmla="*/ 439 h 449"/>
                <a:gd name="T60" fmla="*/ 165 w 497"/>
                <a:gd name="T61" fmla="*/ 400 h 449"/>
                <a:gd name="T62" fmla="*/ 146 w 497"/>
                <a:gd name="T63" fmla="*/ 391 h 449"/>
                <a:gd name="T64" fmla="*/ 126 w 497"/>
                <a:gd name="T65" fmla="*/ 371 h 449"/>
                <a:gd name="T66" fmla="*/ 117 w 497"/>
                <a:gd name="T67" fmla="*/ 400 h 449"/>
                <a:gd name="T68" fmla="*/ 87 w 497"/>
                <a:gd name="T69" fmla="*/ 381 h 449"/>
                <a:gd name="T70" fmla="*/ 58 w 497"/>
                <a:gd name="T71" fmla="*/ 381 h 449"/>
                <a:gd name="T72" fmla="*/ 48 w 497"/>
                <a:gd name="T73" fmla="*/ 391 h 449"/>
                <a:gd name="T74" fmla="*/ 19 w 497"/>
                <a:gd name="T75" fmla="*/ 342 h 449"/>
                <a:gd name="T76" fmla="*/ 19 w 497"/>
                <a:gd name="T77" fmla="*/ 313 h 449"/>
                <a:gd name="T78" fmla="*/ 39 w 497"/>
                <a:gd name="T79" fmla="*/ 283 h 449"/>
                <a:gd name="T80" fmla="*/ 19 w 497"/>
                <a:gd name="T81" fmla="*/ 254 h 449"/>
                <a:gd name="T82" fmla="*/ 58 w 497"/>
                <a:gd name="T83" fmla="*/ 225 h 449"/>
                <a:gd name="T84" fmla="*/ 107 w 497"/>
                <a:gd name="T85" fmla="*/ 225 h 449"/>
                <a:gd name="T86" fmla="*/ 126 w 497"/>
                <a:gd name="T87" fmla="*/ 176 h 449"/>
                <a:gd name="T88" fmla="*/ 136 w 497"/>
                <a:gd name="T89" fmla="*/ 137 h 449"/>
                <a:gd name="T90" fmla="*/ 165 w 497"/>
                <a:gd name="T91" fmla="*/ 127 h 449"/>
                <a:gd name="T92" fmla="*/ 165 w 497"/>
                <a:gd name="T93" fmla="*/ 49 h 4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97"/>
                <a:gd name="T142" fmla="*/ 0 h 449"/>
                <a:gd name="T143" fmla="*/ 497 w 497"/>
                <a:gd name="T144" fmla="*/ 449 h 4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97" h="449">
                  <a:moveTo>
                    <a:pt x="165" y="49"/>
                  </a:moveTo>
                  <a:lnTo>
                    <a:pt x="185" y="39"/>
                  </a:lnTo>
                  <a:lnTo>
                    <a:pt x="195" y="39"/>
                  </a:lnTo>
                  <a:lnTo>
                    <a:pt x="204" y="20"/>
                  </a:lnTo>
                  <a:lnTo>
                    <a:pt x="214" y="20"/>
                  </a:lnTo>
                  <a:lnTo>
                    <a:pt x="214" y="10"/>
                  </a:lnTo>
                  <a:lnTo>
                    <a:pt x="214" y="0"/>
                  </a:lnTo>
                  <a:lnTo>
                    <a:pt x="243" y="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12" y="49"/>
                  </a:lnTo>
                  <a:lnTo>
                    <a:pt x="341" y="59"/>
                  </a:lnTo>
                  <a:lnTo>
                    <a:pt x="351" y="69"/>
                  </a:lnTo>
                  <a:lnTo>
                    <a:pt x="351" y="88"/>
                  </a:lnTo>
                  <a:lnTo>
                    <a:pt x="360" y="108"/>
                  </a:lnTo>
                  <a:lnTo>
                    <a:pt x="370" y="108"/>
                  </a:lnTo>
                  <a:lnTo>
                    <a:pt x="390" y="108"/>
                  </a:lnTo>
                  <a:lnTo>
                    <a:pt x="380" y="117"/>
                  </a:lnTo>
                  <a:lnTo>
                    <a:pt x="380" y="127"/>
                  </a:lnTo>
                  <a:lnTo>
                    <a:pt x="390" y="137"/>
                  </a:lnTo>
                  <a:lnTo>
                    <a:pt x="409" y="127"/>
                  </a:lnTo>
                  <a:lnTo>
                    <a:pt x="438" y="157"/>
                  </a:lnTo>
                  <a:lnTo>
                    <a:pt x="448" y="176"/>
                  </a:lnTo>
                  <a:lnTo>
                    <a:pt x="419" y="215"/>
                  </a:lnTo>
                  <a:lnTo>
                    <a:pt x="390" y="235"/>
                  </a:lnTo>
                  <a:lnTo>
                    <a:pt x="399" y="244"/>
                  </a:lnTo>
                  <a:lnTo>
                    <a:pt x="419" y="264"/>
                  </a:lnTo>
                  <a:lnTo>
                    <a:pt x="429" y="254"/>
                  </a:lnTo>
                  <a:lnTo>
                    <a:pt x="448" y="264"/>
                  </a:lnTo>
                  <a:lnTo>
                    <a:pt x="438" y="274"/>
                  </a:lnTo>
                  <a:lnTo>
                    <a:pt x="429" y="283"/>
                  </a:lnTo>
                  <a:lnTo>
                    <a:pt x="448" y="303"/>
                  </a:lnTo>
                  <a:lnTo>
                    <a:pt x="458" y="293"/>
                  </a:lnTo>
                  <a:lnTo>
                    <a:pt x="468" y="293"/>
                  </a:lnTo>
                  <a:lnTo>
                    <a:pt x="477" y="303"/>
                  </a:lnTo>
                  <a:lnTo>
                    <a:pt x="468" y="332"/>
                  </a:lnTo>
                  <a:lnTo>
                    <a:pt x="487" y="332"/>
                  </a:lnTo>
                  <a:lnTo>
                    <a:pt x="487" y="342"/>
                  </a:lnTo>
                  <a:lnTo>
                    <a:pt x="487" y="352"/>
                  </a:lnTo>
                  <a:lnTo>
                    <a:pt x="497" y="361"/>
                  </a:lnTo>
                  <a:lnTo>
                    <a:pt x="487" y="371"/>
                  </a:lnTo>
                  <a:lnTo>
                    <a:pt x="477" y="381"/>
                  </a:lnTo>
                  <a:lnTo>
                    <a:pt x="458" y="381"/>
                  </a:lnTo>
                  <a:lnTo>
                    <a:pt x="429" y="381"/>
                  </a:lnTo>
                  <a:lnTo>
                    <a:pt x="399" y="391"/>
                  </a:lnTo>
                  <a:lnTo>
                    <a:pt x="380" y="410"/>
                  </a:lnTo>
                  <a:lnTo>
                    <a:pt x="380" y="420"/>
                  </a:lnTo>
                  <a:lnTo>
                    <a:pt x="380" y="439"/>
                  </a:lnTo>
                  <a:lnTo>
                    <a:pt x="360" y="449"/>
                  </a:lnTo>
                  <a:lnTo>
                    <a:pt x="321" y="449"/>
                  </a:lnTo>
                  <a:lnTo>
                    <a:pt x="312" y="439"/>
                  </a:lnTo>
                  <a:lnTo>
                    <a:pt x="282" y="420"/>
                  </a:lnTo>
                  <a:lnTo>
                    <a:pt x="263" y="420"/>
                  </a:lnTo>
                  <a:lnTo>
                    <a:pt x="243" y="400"/>
                  </a:lnTo>
                  <a:lnTo>
                    <a:pt x="224" y="400"/>
                  </a:lnTo>
                  <a:lnTo>
                    <a:pt x="214" y="400"/>
                  </a:lnTo>
                  <a:lnTo>
                    <a:pt x="204" y="391"/>
                  </a:lnTo>
                  <a:lnTo>
                    <a:pt x="195" y="391"/>
                  </a:lnTo>
                  <a:lnTo>
                    <a:pt x="195" y="439"/>
                  </a:lnTo>
                  <a:lnTo>
                    <a:pt x="175" y="420"/>
                  </a:lnTo>
                  <a:lnTo>
                    <a:pt x="165" y="400"/>
                  </a:lnTo>
                  <a:lnTo>
                    <a:pt x="156" y="400"/>
                  </a:lnTo>
                  <a:lnTo>
                    <a:pt x="146" y="391"/>
                  </a:lnTo>
                  <a:lnTo>
                    <a:pt x="146" y="371"/>
                  </a:lnTo>
                  <a:lnTo>
                    <a:pt x="126" y="371"/>
                  </a:lnTo>
                  <a:lnTo>
                    <a:pt x="126" y="391"/>
                  </a:lnTo>
                  <a:lnTo>
                    <a:pt x="117" y="400"/>
                  </a:lnTo>
                  <a:lnTo>
                    <a:pt x="107" y="381"/>
                  </a:lnTo>
                  <a:lnTo>
                    <a:pt x="87" y="381"/>
                  </a:lnTo>
                  <a:lnTo>
                    <a:pt x="58" y="371"/>
                  </a:lnTo>
                  <a:lnTo>
                    <a:pt x="58" y="381"/>
                  </a:lnTo>
                  <a:lnTo>
                    <a:pt x="48" y="400"/>
                  </a:lnTo>
                  <a:lnTo>
                    <a:pt x="48" y="391"/>
                  </a:lnTo>
                  <a:lnTo>
                    <a:pt x="29" y="361"/>
                  </a:lnTo>
                  <a:lnTo>
                    <a:pt x="19" y="342"/>
                  </a:lnTo>
                  <a:lnTo>
                    <a:pt x="0" y="342"/>
                  </a:lnTo>
                  <a:lnTo>
                    <a:pt x="19" y="313"/>
                  </a:lnTo>
                  <a:lnTo>
                    <a:pt x="19" y="293"/>
                  </a:lnTo>
                  <a:lnTo>
                    <a:pt x="39" y="283"/>
                  </a:lnTo>
                  <a:lnTo>
                    <a:pt x="19" y="264"/>
                  </a:lnTo>
                  <a:lnTo>
                    <a:pt x="19" y="254"/>
                  </a:lnTo>
                  <a:lnTo>
                    <a:pt x="39" y="235"/>
                  </a:lnTo>
                  <a:lnTo>
                    <a:pt x="58" y="225"/>
                  </a:lnTo>
                  <a:lnTo>
                    <a:pt x="87" y="235"/>
                  </a:lnTo>
                  <a:lnTo>
                    <a:pt x="107" y="225"/>
                  </a:lnTo>
                  <a:lnTo>
                    <a:pt x="117" y="196"/>
                  </a:lnTo>
                  <a:lnTo>
                    <a:pt x="126" y="176"/>
                  </a:lnTo>
                  <a:lnTo>
                    <a:pt x="126" y="166"/>
                  </a:lnTo>
                  <a:lnTo>
                    <a:pt x="136" y="137"/>
                  </a:lnTo>
                  <a:lnTo>
                    <a:pt x="156" y="137"/>
                  </a:lnTo>
                  <a:lnTo>
                    <a:pt x="165" y="127"/>
                  </a:lnTo>
                  <a:lnTo>
                    <a:pt x="175" y="59"/>
                  </a:lnTo>
                  <a:lnTo>
                    <a:pt x="165" y="49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Freeform 396"/>
            <p:cNvSpPr>
              <a:spLocks/>
            </p:cNvSpPr>
            <p:nvPr/>
          </p:nvSpPr>
          <p:spPr bwMode="auto">
            <a:xfrm>
              <a:off x="965" y="2411"/>
              <a:ext cx="459" cy="468"/>
            </a:xfrm>
            <a:custGeom>
              <a:avLst/>
              <a:gdLst>
                <a:gd name="T0" fmla="*/ 322 w 458"/>
                <a:gd name="T1" fmla="*/ 390 h 468"/>
                <a:gd name="T2" fmla="*/ 351 w 458"/>
                <a:gd name="T3" fmla="*/ 390 h 468"/>
                <a:gd name="T4" fmla="*/ 370 w 458"/>
                <a:gd name="T5" fmla="*/ 410 h 468"/>
                <a:gd name="T6" fmla="*/ 322 w 458"/>
                <a:gd name="T7" fmla="*/ 439 h 468"/>
                <a:gd name="T8" fmla="*/ 283 w 458"/>
                <a:gd name="T9" fmla="*/ 439 h 468"/>
                <a:gd name="T10" fmla="*/ 273 w 458"/>
                <a:gd name="T11" fmla="*/ 458 h 468"/>
                <a:gd name="T12" fmla="*/ 244 w 458"/>
                <a:gd name="T13" fmla="*/ 468 h 468"/>
                <a:gd name="T14" fmla="*/ 204 w 458"/>
                <a:gd name="T15" fmla="*/ 449 h 468"/>
                <a:gd name="T16" fmla="*/ 195 w 458"/>
                <a:gd name="T17" fmla="*/ 410 h 468"/>
                <a:gd name="T18" fmla="*/ 175 w 458"/>
                <a:gd name="T19" fmla="*/ 380 h 468"/>
                <a:gd name="T20" fmla="*/ 165 w 458"/>
                <a:gd name="T21" fmla="*/ 341 h 468"/>
                <a:gd name="T22" fmla="*/ 156 w 458"/>
                <a:gd name="T23" fmla="*/ 361 h 468"/>
                <a:gd name="T24" fmla="*/ 117 w 458"/>
                <a:gd name="T25" fmla="*/ 351 h 468"/>
                <a:gd name="T26" fmla="*/ 87 w 458"/>
                <a:gd name="T27" fmla="*/ 361 h 468"/>
                <a:gd name="T28" fmla="*/ 58 w 458"/>
                <a:gd name="T29" fmla="*/ 312 h 468"/>
                <a:gd name="T30" fmla="*/ 78 w 458"/>
                <a:gd name="T31" fmla="*/ 293 h 468"/>
                <a:gd name="T32" fmla="*/ 48 w 458"/>
                <a:gd name="T33" fmla="*/ 263 h 468"/>
                <a:gd name="T34" fmla="*/ 48 w 458"/>
                <a:gd name="T35" fmla="*/ 244 h 468"/>
                <a:gd name="T36" fmla="*/ 68 w 458"/>
                <a:gd name="T37" fmla="*/ 215 h 468"/>
                <a:gd name="T38" fmla="*/ 48 w 458"/>
                <a:gd name="T39" fmla="*/ 156 h 468"/>
                <a:gd name="T40" fmla="*/ 19 w 458"/>
                <a:gd name="T41" fmla="*/ 166 h 468"/>
                <a:gd name="T42" fmla="*/ 0 w 458"/>
                <a:gd name="T43" fmla="*/ 146 h 468"/>
                <a:gd name="T44" fmla="*/ 19 w 458"/>
                <a:gd name="T45" fmla="*/ 117 h 468"/>
                <a:gd name="T46" fmla="*/ 58 w 458"/>
                <a:gd name="T47" fmla="*/ 137 h 468"/>
                <a:gd name="T48" fmla="*/ 68 w 458"/>
                <a:gd name="T49" fmla="*/ 127 h 468"/>
                <a:gd name="T50" fmla="*/ 68 w 458"/>
                <a:gd name="T51" fmla="*/ 97 h 468"/>
                <a:gd name="T52" fmla="*/ 48 w 458"/>
                <a:gd name="T53" fmla="*/ 88 h 468"/>
                <a:gd name="T54" fmla="*/ 29 w 458"/>
                <a:gd name="T55" fmla="*/ 68 h 468"/>
                <a:gd name="T56" fmla="*/ 39 w 458"/>
                <a:gd name="T57" fmla="*/ 68 h 468"/>
                <a:gd name="T58" fmla="*/ 58 w 458"/>
                <a:gd name="T59" fmla="*/ 49 h 468"/>
                <a:gd name="T60" fmla="*/ 78 w 458"/>
                <a:gd name="T61" fmla="*/ 39 h 468"/>
                <a:gd name="T62" fmla="*/ 107 w 458"/>
                <a:gd name="T63" fmla="*/ 58 h 468"/>
                <a:gd name="T64" fmla="*/ 136 w 458"/>
                <a:gd name="T65" fmla="*/ 78 h 468"/>
                <a:gd name="T66" fmla="*/ 175 w 458"/>
                <a:gd name="T67" fmla="*/ 107 h 468"/>
                <a:gd name="T68" fmla="*/ 204 w 458"/>
                <a:gd name="T69" fmla="*/ 97 h 468"/>
                <a:gd name="T70" fmla="*/ 224 w 458"/>
                <a:gd name="T71" fmla="*/ 78 h 468"/>
                <a:gd name="T72" fmla="*/ 224 w 458"/>
                <a:gd name="T73" fmla="*/ 49 h 468"/>
                <a:gd name="T74" fmla="*/ 253 w 458"/>
                <a:gd name="T75" fmla="*/ 39 h 468"/>
                <a:gd name="T76" fmla="*/ 283 w 458"/>
                <a:gd name="T77" fmla="*/ 49 h 468"/>
                <a:gd name="T78" fmla="*/ 273 w 458"/>
                <a:gd name="T79" fmla="*/ 29 h 468"/>
                <a:gd name="T80" fmla="*/ 312 w 458"/>
                <a:gd name="T81" fmla="*/ 29 h 468"/>
                <a:gd name="T82" fmla="*/ 322 w 458"/>
                <a:gd name="T83" fmla="*/ 0 h 468"/>
                <a:gd name="T84" fmla="*/ 380 w 458"/>
                <a:gd name="T85" fmla="*/ 39 h 468"/>
                <a:gd name="T86" fmla="*/ 419 w 458"/>
                <a:gd name="T87" fmla="*/ 19 h 468"/>
                <a:gd name="T88" fmla="*/ 439 w 458"/>
                <a:gd name="T89" fmla="*/ 39 h 468"/>
                <a:gd name="T90" fmla="*/ 458 w 458"/>
                <a:gd name="T91" fmla="*/ 49 h 468"/>
                <a:gd name="T92" fmla="*/ 448 w 458"/>
                <a:gd name="T93" fmla="*/ 117 h 468"/>
                <a:gd name="T94" fmla="*/ 409 w 458"/>
                <a:gd name="T95" fmla="*/ 146 h 468"/>
                <a:gd name="T96" fmla="*/ 409 w 458"/>
                <a:gd name="T97" fmla="*/ 176 h 468"/>
                <a:gd name="T98" fmla="*/ 380 w 458"/>
                <a:gd name="T99" fmla="*/ 215 h 468"/>
                <a:gd name="T100" fmla="*/ 322 w 458"/>
                <a:gd name="T101" fmla="*/ 215 h 468"/>
                <a:gd name="T102" fmla="*/ 312 w 458"/>
                <a:gd name="T103" fmla="*/ 244 h 468"/>
                <a:gd name="T104" fmla="*/ 312 w 458"/>
                <a:gd name="T105" fmla="*/ 273 h 468"/>
                <a:gd name="T106" fmla="*/ 292 w 458"/>
                <a:gd name="T107" fmla="*/ 322 h 468"/>
                <a:gd name="T108" fmla="*/ 312 w 458"/>
                <a:gd name="T109" fmla="*/ 341 h 468"/>
                <a:gd name="T110" fmla="*/ 331 w 458"/>
                <a:gd name="T111" fmla="*/ 371 h 4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58"/>
                <a:gd name="T169" fmla="*/ 0 h 468"/>
                <a:gd name="T170" fmla="*/ 458 w 458"/>
                <a:gd name="T171" fmla="*/ 468 h 4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58" h="468">
                  <a:moveTo>
                    <a:pt x="331" y="371"/>
                  </a:moveTo>
                  <a:lnTo>
                    <a:pt x="322" y="390"/>
                  </a:lnTo>
                  <a:lnTo>
                    <a:pt x="331" y="400"/>
                  </a:lnTo>
                  <a:lnTo>
                    <a:pt x="351" y="390"/>
                  </a:lnTo>
                  <a:lnTo>
                    <a:pt x="361" y="400"/>
                  </a:lnTo>
                  <a:lnTo>
                    <a:pt x="370" y="410"/>
                  </a:lnTo>
                  <a:lnTo>
                    <a:pt x="351" y="419"/>
                  </a:lnTo>
                  <a:lnTo>
                    <a:pt x="322" y="439"/>
                  </a:lnTo>
                  <a:lnTo>
                    <a:pt x="302" y="449"/>
                  </a:lnTo>
                  <a:lnTo>
                    <a:pt x="283" y="439"/>
                  </a:lnTo>
                  <a:lnTo>
                    <a:pt x="263" y="449"/>
                  </a:lnTo>
                  <a:lnTo>
                    <a:pt x="273" y="458"/>
                  </a:lnTo>
                  <a:lnTo>
                    <a:pt x="253" y="468"/>
                  </a:lnTo>
                  <a:lnTo>
                    <a:pt x="244" y="468"/>
                  </a:lnTo>
                  <a:lnTo>
                    <a:pt x="244" y="458"/>
                  </a:lnTo>
                  <a:lnTo>
                    <a:pt x="204" y="449"/>
                  </a:lnTo>
                  <a:lnTo>
                    <a:pt x="204" y="439"/>
                  </a:lnTo>
                  <a:lnTo>
                    <a:pt x="195" y="410"/>
                  </a:lnTo>
                  <a:lnTo>
                    <a:pt x="195" y="390"/>
                  </a:lnTo>
                  <a:lnTo>
                    <a:pt x="175" y="380"/>
                  </a:lnTo>
                  <a:lnTo>
                    <a:pt x="175" y="361"/>
                  </a:lnTo>
                  <a:lnTo>
                    <a:pt x="165" y="341"/>
                  </a:lnTo>
                  <a:lnTo>
                    <a:pt x="165" y="351"/>
                  </a:lnTo>
                  <a:lnTo>
                    <a:pt x="156" y="361"/>
                  </a:lnTo>
                  <a:lnTo>
                    <a:pt x="146" y="361"/>
                  </a:lnTo>
                  <a:lnTo>
                    <a:pt x="117" y="351"/>
                  </a:lnTo>
                  <a:lnTo>
                    <a:pt x="107" y="351"/>
                  </a:lnTo>
                  <a:lnTo>
                    <a:pt x="87" y="361"/>
                  </a:lnTo>
                  <a:lnTo>
                    <a:pt x="58" y="33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63"/>
                  </a:lnTo>
                  <a:lnTo>
                    <a:pt x="48" y="244"/>
                  </a:lnTo>
                  <a:lnTo>
                    <a:pt x="58" y="215"/>
                  </a:lnTo>
                  <a:lnTo>
                    <a:pt x="68" y="215"/>
                  </a:lnTo>
                  <a:lnTo>
                    <a:pt x="68" y="185"/>
                  </a:lnTo>
                  <a:lnTo>
                    <a:pt x="48" y="156"/>
                  </a:lnTo>
                  <a:lnTo>
                    <a:pt x="39" y="156"/>
                  </a:lnTo>
                  <a:lnTo>
                    <a:pt x="19" y="166"/>
                  </a:lnTo>
                  <a:lnTo>
                    <a:pt x="9" y="156"/>
                  </a:lnTo>
                  <a:lnTo>
                    <a:pt x="0" y="146"/>
                  </a:lnTo>
                  <a:lnTo>
                    <a:pt x="19" y="137"/>
                  </a:lnTo>
                  <a:lnTo>
                    <a:pt x="19" y="117"/>
                  </a:lnTo>
                  <a:lnTo>
                    <a:pt x="39" y="127"/>
                  </a:lnTo>
                  <a:lnTo>
                    <a:pt x="58" y="137"/>
                  </a:lnTo>
                  <a:lnTo>
                    <a:pt x="68" y="146"/>
                  </a:lnTo>
                  <a:lnTo>
                    <a:pt x="68" y="127"/>
                  </a:lnTo>
                  <a:lnTo>
                    <a:pt x="78" y="117"/>
                  </a:lnTo>
                  <a:lnTo>
                    <a:pt x="68" y="97"/>
                  </a:lnTo>
                  <a:lnTo>
                    <a:pt x="48" y="88"/>
                  </a:lnTo>
                  <a:lnTo>
                    <a:pt x="39" y="88"/>
                  </a:lnTo>
                  <a:lnTo>
                    <a:pt x="29" y="68"/>
                  </a:lnTo>
                  <a:lnTo>
                    <a:pt x="9" y="68"/>
                  </a:lnTo>
                  <a:lnTo>
                    <a:pt x="39" y="68"/>
                  </a:lnTo>
                  <a:lnTo>
                    <a:pt x="39" y="49"/>
                  </a:lnTo>
                  <a:lnTo>
                    <a:pt x="58" y="49"/>
                  </a:lnTo>
                  <a:lnTo>
                    <a:pt x="68" y="39"/>
                  </a:lnTo>
                  <a:lnTo>
                    <a:pt x="78" y="39"/>
                  </a:lnTo>
                  <a:lnTo>
                    <a:pt x="97" y="58"/>
                  </a:lnTo>
                  <a:lnTo>
                    <a:pt x="107" y="58"/>
                  </a:lnTo>
                  <a:lnTo>
                    <a:pt x="126" y="58"/>
                  </a:lnTo>
                  <a:lnTo>
                    <a:pt x="136" y="78"/>
                  </a:lnTo>
                  <a:lnTo>
                    <a:pt x="156" y="97"/>
                  </a:lnTo>
                  <a:lnTo>
                    <a:pt x="175" y="107"/>
                  </a:lnTo>
                  <a:lnTo>
                    <a:pt x="185" y="97"/>
                  </a:lnTo>
                  <a:lnTo>
                    <a:pt x="204" y="97"/>
                  </a:lnTo>
                  <a:lnTo>
                    <a:pt x="204" y="78"/>
                  </a:lnTo>
                  <a:lnTo>
                    <a:pt x="224" y="78"/>
                  </a:lnTo>
                  <a:lnTo>
                    <a:pt x="224" y="68"/>
                  </a:lnTo>
                  <a:lnTo>
                    <a:pt x="224" y="49"/>
                  </a:lnTo>
                  <a:lnTo>
                    <a:pt x="234" y="29"/>
                  </a:lnTo>
                  <a:lnTo>
                    <a:pt x="253" y="39"/>
                  </a:lnTo>
                  <a:lnTo>
                    <a:pt x="273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73" y="29"/>
                  </a:lnTo>
                  <a:lnTo>
                    <a:pt x="292" y="29"/>
                  </a:lnTo>
                  <a:lnTo>
                    <a:pt x="312" y="29"/>
                  </a:lnTo>
                  <a:lnTo>
                    <a:pt x="322" y="19"/>
                  </a:lnTo>
                  <a:lnTo>
                    <a:pt x="322" y="0"/>
                  </a:lnTo>
                  <a:lnTo>
                    <a:pt x="361" y="19"/>
                  </a:lnTo>
                  <a:lnTo>
                    <a:pt x="380" y="39"/>
                  </a:lnTo>
                  <a:lnTo>
                    <a:pt x="390" y="39"/>
                  </a:lnTo>
                  <a:lnTo>
                    <a:pt x="419" y="19"/>
                  </a:lnTo>
                  <a:lnTo>
                    <a:pt x="429" y="19"/>
                  </a:lnTo>
                  <a:lnTo>
                    <a:pt x="439" y="39"/>
                  </a:lnTo>
                  <a:lnTo>
                    <a:pt x="458" y="29"/>
                  </a:lnTo>
                  <a:lnTo>
                    <a:pt x="458" y="49"/>
                  </a:lnTo>
                  <a:lnTo>
                    <a:pt x="458" y="107"/>
                  </a:lnTo>
                  <a:lnTo>
                    <a:pt x="448" y="117"/>
                  </a:lnTo>
                  <a:lnTo>
                    <a:pt x="429" y="117"/>
                  </a:lnTo>
                  <a:lnTo>
                    <a:pt x="409" y="146"/>
                  </a:lnTo>
                  <a:lnTo>
                    <a:pt x="419" y="156"/>
                  </a:lnTo>
                  <a:lnTo>
                    <a:pt x="409" y="176"/>
                  </a:lnTo>
                  <a:lnTo>
                    <a:pt x="390" y="205"/>
                  </a:lnTo>
                  <a:lnTo>
                    <a:pt x="380" y="215"/>
                  </a:lnTo>
                  <a:lnTo>
                    <a:pt x="341" y="205"/>
                  </a:lnTo>
                  <a:lnTo>
                    <a:pt x="322" y="215"/>
                  </a:lnTo>
                  <a:lnTo>
                    <a:pt x="302" y="234"/>
                  </a:lnTo>
                  <a:lnTo>
                    <a:pt x="312" y="244"/>
                  </a:lnTo>
                  <a:lnTo>
                    <a:pt x="322" y="263"/>
                  </a:lnTo>
                  <a:lnTo>
                    <a:pt x="312" y="273"/>
                  </a:lnTo>
                  <a:lnTo>
                    <a:pt x="302" y="293"/>
                  </a:lnTo>
                  <a:lnTo>
                    <a:pt x="292" y="322"/>
                  </a:lnTo>
                  <a:lnTo>
                    <a:pt x="302" y="322"/>
                  </a:lnTo>
                  <a:lnTo>
                    <a:pt x="312" y="341"/>
                  </a:lnTo>
                  <a:lnTo>
                    <a:pt x="331" y="371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083" name="Group 393"/>
            <p:cNvGrpSpPr>
              <a:grpSpLocks/>
            </p:cNvGrpSpPr>
            <p:nvPr/>
          </p:nvGrpSpPr>
          <p:grpSpPr bwMode="auto">
            <a:xfrm>
              <a:off x="7871" y="3825"/>
              <a:ext cx="439" cy="907"/>
              <a:chOff x="7872" y="3825"/>
              <a:chExt cx="439" cy="907"/>
            </a:xfrm>
          </p:grpSpPr>
          <p:sp>
            <p:nvSpPr>
              <p:cNvPr id="397" name="Freeform 395"/>
              <p:cNvSpPr>
                <a:spLocks/>
              </p:cNvSpPr>
              <p:nvPr/>
            </p:nvSpPr>
            <p:spPr bwMode="auto">
              <a:xfrm>
                <a:off x="7872" y="3825"/>
                <a:ext cx="439" cy="906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  <a:lnTo>
                      <a:pt x="390" y="8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8" name="Freeform 394"/>
              <p:cNvSpPr>
                <a:spLocks/>
              </p:cNvSpPr>
              <p:nvPr/>
            </p:nvSpPr>
            <p:spPr bwMode="auto">
              <a:xfrm>
                <a:off x="7872" y="3825"/>
                <a:ext cx="439" cy="906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5" name="Freeform 392"/>
            <p:cNvSpPr>
              <a:spLocks/>
            </p:cNvSpPr>
            <p:nvPr/>
          </p:nvSpPr>
          <p:spPr bwMode="auto">
            <a:xfrm>
              <a:off x="3804" y="3561"/>
              <a:ext cx="625" cy="450"/>
            </a:xfrm>
            <a:custGeom>
              <a:avLst/>
              <a:gdLst>
                <a:gd name="T0" fmla="*/ 488 w 624"/>
                <a:gd name="T1" fmla="*/ 361 h 449"/>
                <a:gd name="T2" fmla="*/ 517 w 624"/>
                <a:gd name="T3" fmla="*/ 342 h 449"/>
                <a:gd name="T4" fmla="*/ 527 w 624"/>
                <a:gd name="T5" fmla="*/ 322 h 449"/>
                <a:gd name="T6" fmla="*/ 556 w 624"/>
                <a:gd name="T7" fmla="*/ 312 h 449"/>
                <a:gd name="T8" fmla="*/ 585 w 624"/>
                <a:gd name="T9" fmla="*/ 312 h 449"/>
                <a:gd name="T10" fmla="*/ 585 w 624"/>
                <a:gd name="T11" fmla="*/ 283 h 449"/>
                <a:gd name="T12" fmla="*/ 624 w 624"/>
                <a:gd name="T13" fmla="*/ 283 h 449"/>
                <a:gd name="T14" fmla="*/ 605 w 624"/>
                <a:gd name="T15" fmla="*/ 264 h 449"/>
                <a:gd name="T16" fmla="*/ 615 w 624"/>
                <a:gd name="T17" fmla="*/ 225 h 449"/>
                <a:gd name="T18" fmla="*/ 595 w 624"/>
                <a:gd name="T19" fmla="*/ 205 h 449"/>
                <a:gd name="T20" fmla="*/ 615 w 624"/>
                <a:gd name="T21" fmla="*/ 195 h 449"/>
                <a:gd name="T22" fmla="*/ 624 w 624"/>
                <a:gd name="T23" fmla="*/ 176 h 449"/>
                <a:gd name="T24" fmla="*/ 605 w 624"/>
                <a:gd name="T25" fmla="*/ 166 h 449"/>
                <a:gd name="T26" fmla="*/ 585 w 624"/>
                <a:gd name="T27" fmla="*/ 127 h 449"/>
                <a:gd name="T28" fmla="*/ 566 w 624"/>
                <a:gd name="T29" fmla="*/ 108 h 449"/>
                <a:gd name="T30" fmla="*/ 546 w 624"/>
                <a:gd name="T31" fmla="*/ 78 h 449"/>
                <a:gd name="T32" fmla="*/ 527 w 624"/>
                <a:gd name="T33" fmla="*/ 59 h 449"/>
                <a:gd name="T34" fmla="*/ 498 w 624"/>
                <a:gd name="T35" fmla="*/ 49 h 449"/>
                <a:gd name="T36" fmla="*/ 478 w 624"/>
                <a:gd name="T37" fmla="*/ 69 h 449"/>
                <a:gd name="T38" fmla="*/ 449 w 624"/>
                <a:gd name="T39" fmla="*/ 59 h 449"/>
                <a:gd name="T40" fmla="*/ 410 w 624"/>
                <a:gd name="T41" fmla="*/ 59 h 449"/>
                <a:gd name="T42" fmla="*/ 390 w 624"/>
                <a:gd name="T43" fmla="*/ 69 h 449"/>
                <a:gd name="T44" fmla="*/ 381 w 624"/>
                <a:gd name="T45" fmla="*/ 59 h 449"/>
                <a:gd name="T46" fmla="*/ 351 w 624"/>
                <a:gd name="T47" fmla="*/ 69 h 449"/>
                <a:gd name="T48" fmla="*/ 342 w 624"/>
                <a:gd name="T49" fmla="*/ 88 h 449"/>
                <a:gd name="T50" fmla="*/ 332 w 624"/>
                <a:gd name="T51" fmla="*/ 98 h 449"/>
                <a:gd name="T52" fmla="*/ 303 w 624"/>
                <a:gd name="T53" fmla="*/ 78 h 449"/>
                <a:gd name="T54" fmla="*/ 293 w 624"/>
                <a:gd name="T55" fmla="*/ 49 h 449"/>
                <a:gd name="T56" fmla="*/ 244 w 624"/>
                <a:gd name="T57" fmla="*/ 0 h 449"/>
                <a:gd name="T58" fmla="*/ 205 w 624"/>
                <a:gd name="T59" fmla="*/ 10 h 449"/>
                <a:gd name="T60" fmla="*/ 137 w 624"/>
                <a:gd name="T61" fmla="*/ 20 h 449"/>
                <a:gd name="T62" fmla="*/ 117 w 624"/>
                <a:gd name="T63" fmla="*/ 29 h 449"/>
                <a:gd name="T64" fmla="*/ 68 w 624"/>
                <a:gd name="T65" fmla="*/ 20 h 449"/>
                <a:gd name="T66" fmla="*/ 20 w 624"/>
                <a:gd name="T67" fmla="*/ 0 h 449"/>
                <a:gd name="T68" fmla="*/ 20 w 624"/>
                <a:gd name="T69" fmla="*/ 20 h 449"/>
                <a:gd name="T70" fmla="*/ 0 w 624"/>
                <a:gd name="T71" fmla="*/ 20 h 449"/>
                <a:gd name="T72" fmla="*/ 20 w 624"/>
                <a:gd name="T73" fmla="*/ 78 h 449"/>
                <a:gd name="T74" fmla="*/ 29 w 624"/>
                <a:gd name="T75" fmla="*/ 156 h 449"/>
                <a:gd name="T76" fmla="*/ 49 w 624"/>
                <a:gd name="T77" fmla="*/ 283 h 449"/>
                <a:gd name="T78" fmla="*/ 68 w 624"/>
                <a:gd name="T79" fmla="*/ 342 h 449"/>
                <a:gd name="T80" fmla="*/ 78 w 624"/>
                <a:gd name="T81" fmla="*/ 361 h 449"/>
                <a:gd name="T82" fmla="*/ 98 w 624"/>
                <a:gd name="T83" fmla="*/ 342 h 449"/>
                <a:gd name="T84" fmla="*/ 107 w 624"/>
                <a:gd name="T85" fmla="*/ 332 h 449"/>
                <a:gd name="T86" fmla="*/ 127 w 624"/>
                <a:gd name="T87" fmla="*/ 312 h 449"/>
                <a:gd name="T88" fmla="*/ 146 w 624"/>
                <a:gd name="T89" fmla="*/ 312 h 449"/>
                <a:gd name="T90" fmla="*/ 146 w 624"/>
                <a:gd name="T91" fmla="*/ 342 h 449"/>
                <a:gd name="T92" fmla="*/ 156 w 624"/>
                <a:gd name="T93" fmla="*/ 361 h 449"/>
                <a:gd name="T94" fmla="*/ 166 w 624"/>
                <a:gd name="T95" fmla="*/ 371 h 449"/>
                <a:gd name="T96" fmla="*/ 176 w 624"/>
                <a:gd name="T97" fmla="*/ 390 h 449"/>
                <a:gd name="T98" fmla="*/ 205 w 624"/>
                <a:gd name="T99" fmla="*/ 390 h 449"/>
                <a:gd name="T100" fmla="*/ 244 w 624"/>
                <a:gd name="T101" fmla="*/ 410 h 449"/>
                <a:gd name="T102" fmla="*/ 264 w 624"/>
                <a:gd name="T103" fmla="*/ 400 h 449"/>
                <a:gd name="T104" fmla="*/ 303 w 624"/>
                <a:gd name="T105" fmla="*/ 390 h 449"/>
                <a:gd name="T106" fmla="*/ 342 w 624"/>
                <a:gd name="T107" fmla="*/ 400 h 449"/>
                <a:gd name="T108" fmla="*/ 351 w 624"/>
                <a:gd name="T109" fmla="*/ 439 h 449"/>
                <a:gd name="T110" fmla="*/ 361 w 624"/>
                <a:gd name="T111" fmla="*/ 449 h 449"/>
                <a:gd name="T112" fmla="*/ 381 w 624"/>
                <a:gd name="T113" fmla="*/ 439 h 449"/>
                <a:gd name="T114" fmla="*/ 381 w 624"/>
                <a:gd name="T115" fmla="*/ 420 h 449"/>
                <a:gd name="T116" fmla="*/ 361 w 624"/>
                <a:gd name="T117" fmla="*/ 390 h 449"/>
                <a:gd name="T118" fmla="*/ 390 w 624"/>
                <a:gd name="T119" fmla="*/ 381 h 449"/>
                <a:gd name="T120" fmla="*/ 449 w 624"/>
                <a:gd name="T121" fmla="*/ 371 h 44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24"/>
                <a:gd name="T184" fmla="*/ 0 h 449"/>
                <a:gd name="T185" fmla="*/ 624 w 624"/>
                <a:gd name="T186" fmla="*/ 449 h 44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24" h="449">
                  <a:moveTo>
                    <a:pt x="468" y="361"/>
                  </a:moveTo>
                  <a:lnTo>
                    <a:pt x="488" y="361"/>
                  </a:lnTo>
                  <a:lnTo>
                    <a:pt x="498" y="361"/>
                  </a:lnTo>
                  <a:lnTo>
                    <a:pt x="517" y="342"/>
                  </a:lnTo>
                  <a:lnTo>
                    <a:pt x="517" y="322"/>
                  </a:lnTo>
                  <a:lnTo>
                    <a:pt x="527" y="322"/>
                  </a:lnTo>
                  <a:lnTo>
                    <a:pt x="546" y="322"/>
                  </a:lnTo>
                  <a:lnTo>
                    <a:pt x="556" y="312"/>
                  </a:lnTo>
                  <a:lnTo>
                    <a:pt x="566" y="312"/>
                  </a:lnTo>
                  <a:lnTo>
                    <a:pt x="585" y="312"/>
                  </a:lnTo>
                  <a:lnTo>
                    <a:pt x="585" y="303"/>
                  </a:lnTo>
                  <a:lnTo>
                    <a:pt x="585" y="283"/>
                  </a:lnTo>
                  <a:lnTo>
                    <a:pt x="595" y="283"/>
                  </a:lnTo>
                  <a:lnTo>
                    <a:pt x="624" y="283"/>
                  </a:lnTo>
                  <a:lnTo>
                    <a:pt x="615" y="273"/>
                  </a:lnTo>
                  <a:lnTo>
                    <a:pt x="605" y="264"/>
                  </a:lnTo>
                  <a:lnTo>
                    <a:pt x="605" y="244"/>
                  </a:lnTo>
                  <a:lnTo>
                    <a:pt x="615" y="225"/>
                  </a:lnTo>
                  <a:lnTo>
                    <a:pt x="605" y="215"/>
                  </a:lnTo>
                  <a:lnTo>
                    <a:pt x="595" y="205"/>
                  </a:lnTo>
                  <a:lnTo>
                    <a:pt x="605" y="195"/>
                  </a:lnTo>
                  <a:lnTo>
                    <a:pt x="615" y="195"/>
                  </a:lnTo>
                  <a:lnTo>
                    <a:pt x="624" y="195"/>
                  </a:lnTo>
                  <a:lnTo>
                    <a:pt x="624" y="176"/>
                  </a:lnTo>
                  <a:lnTo>
                    <a:pt x="624" y="166"/>
                  </a:lnTo>
                  <a:lnTo>
                    <a:pt x="605" y="166"/>
                  </a:lnTo>
                  <a:lnTo>
                    <a:pt x="595" y="147"/>
                  </a:lnTo>
                  <a:lnTo>
                    <a:pt x="585" y="127"/>
                  </a:lnTo>
                  <a:lnTo>
                    <a:pt x="585" y="117"/>
                  </a:lnTo>
                  <a:lnTo>
                    <a:pt x="566" y="108"/>
                  </a:lnTo>
                  <a:lnTo>
                    <a:pt x="556" y="88"/>
                  </a:lnTo>
                  <a:lnTo>
                    <a:pt x="546" y="78"/>
                  </a:lnTo>
                  <a:lnTo>
                    <a:pt x="537" y="78"/>
                  </a:lnTo>
                  <a:lnTo>
                    <a:pt x="527" y="59"/>
                  </a:lnTo>
                  <a:lnTo>
                    <a:pt x="517" y="49"/>
                  </a:lnTo>
                  <a:lnTo>
                    <a:pt x="498" y="49"/>
                  </a:lnTo>
                  <a:lnTo>
                    <a:pt x="488" y="59"/>
                  </a:lnTo>
                  <a:lnTo>
                    <a:pt x="478" y="69"/>
                  </a:lnTo>
                  <a:lnTo>
                    <a:pt x="468" y="69"/>
                  </a:lnTo>
                  <a:lnTo>
                    <a:pt x="449" y="59"/>
                  </a:lnTo>
                  <a:lnTo>
                    <a:pt x="429" y="59"/>
                  </a:lnTo>
                  <a:lnTo>
                    <a:pt x="410" y="59"/>
                  </a:lnTo>
                  <a:lnTo>
                    <a:pt x="410" y="78"/>
                  </a:lnTo>
                  <a:lnTo>
                    <a:pt x="390" y="69"/>
                  </a:lnTo>
                  <a:lnTo>
                    <a:pt x="390" y="59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1" y="69"/>
                  </a:lnTo>
                  <a:lnTo>
                    <a:pt x="351" y="78"/>
                  </a:lnTo>
                  <a:lnTo>
                    <a:pt x="342" y="88"/>
                  </a:lnTo>
                  <a:lnTo>
                    <a:pt x="332" y="88"/>
                  </a:lnTo>
                  <a:lnTo>
                    <a:pt x="332" y="98"/>
                  </a:lnTo>
                  <a:lnTo>
                    <a:pt x="322" y="98"/>
                  </a:lnTo>
                  <a:lnTo>
                    <a:pt x="303" y="78"/>
                  </a:lnTo>
                  <a:lnTo>
                    <a:pt x="283" y="78"/>
                  </a:lnTo>
                  <a:lnTo>
                    <a:pt x="293" y="49"/>
                  </a:lnTo>
                  <a:lnTo>
                    <a:pt x="254" y="20"/>
                  </a:lnTo>
                  <a:lnTo>
                    <a:pt x="244" y="0"/>
                  </a:lnTo>
                  <a:lnTo>
                    <a:pt x="215" y="0"/>
                  </a:lnTo>
                  <a:lnTo>
                    <a:pt x="205" y="10"/>
                  </a:lnTo>
                  <a:lnTo>
                    <a:pt x="156" y="20"/>
                  </a:lnTo>
                  <a:lnTo>
                    <a:pt x="137" y="20"/>
                  </a:lnTo>
                  <a:lnTo>
                    <a:pt x="117" y="29"/>
                  </a:lnTo>
                  <a:lnTo>
                    <a:pt x="107" y="20"/>
                  </a:lnTo>
                  <a:lnTo>
                    <a:pt x="68" y="20"/>
                  </a:lnTo>
                  <a:lnTo>
                    <a:pt x="39" y="20"/>
                  </a:lnTo>
                  <a:lnTo>
                    <a:pt x="2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10" y="49"/>
                  </a:lnTo>
                  <a:lnTo>
                    <a:pt x="20" y="78"/>
                  </a:lnTo>
                  <a:lnTo>
                    <a:pt x="20" y="108"/>
                  </a:lnTo>
                  <a:lnTo>
                    <a:pt x="29" y="156"/>
                  </a:lnTo>
                  <a:lnTo>
                    <a:pt x="49" y="215"/>
                  </a:lnTo>
                  <a:lnTo>
                    <a:pt x="49" y="283"/>
                  </a:lnTo>
                  <a:lnTo>
                    <a:pt x="68" y="322"/>
                  </a:lnTo>
                  <a:lnTo>
                    <a:pt x="68" y="342"/>
                  </a:lnTo>
                  <a:lnTo>
                    <a:pt x="68" y="361"/>
                  </a:lnTo>
                  <a:lnTo>
                    <a:pt x="78" y="361"/>
                  </a:lnTo>
                  <a:lnTo>
                    <a:pt x="78" y="351"/>
                  </a:lnTo>
                  <a:lnTo>
                    <a:pt x="98" y="342"/>
                  </a:lnTo>
                  <a:lnTo>
                    <a:pt x="107" y="342"/>
                  </a:lnTo>
                  <a:lnTo>
                    <a:pt x="107" y="332"/>
                  </a:lnTo>
                  <a:lnTo>
                    <a:pt x="117" y="322"/>
                  </a:lnTo>
                  <a:lnTo>
                    <a:pt x="127" y="312"/>
                  </a:lnTo>
                  <a:lnTo>
                    <a:pt x="137" y="312"/>
                  </a:lnTo>
                  <a:lnTo>
                    <a:pt x="146" y="312"/>
                  </a:lnTo>
                  <a:lnTo>
                    <a:pt x="156" y="322"/>
                  </a:lnTo>
                  <a:lnTo>
                    <a:pt x="146" y="342"/>
                  </a:lnTo>
                  <a:lnTo>
                    <a:pt x="146" y="361"/>
                  </a:lnTo>
                  <a:lnTo>
                    <a:pt x="156" y="361"/>
                  </a:lnTo>
                  <a:lnTo>
                    <a:pt x="166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76" y="390"/>
                  </a:lnTo>
                  <a:lnTo>
                    <a:pt x="195" y="390"/>
                  </a:lnTo>
                  <a:lnTo>
                    <a:pt x="205" y="390"/>
                  </a:lnTo>
                  <a:lnTo>
                    <a:pt x="224" y="400"/>
                  </a:lnTo>
                  <a:lnTo>
                    <a:pt x="244" y="410"/>
                  </a:lnTo>
                  <a:lnTo>
                    <a:pt x="254" y="410"/>
                  </a:lnTo>
                  <a:lnTo>
                    <a:pt x="264" y="400"/>
                  </a:lnTo>
                  <a:lnTo>
                    <a:pt x="283" y="390"/>
                  </a:lnTo>
                  <a:lnTo>
                    <a:pt x="303" y="390"/>
                  </a:lnTo>
                  <a:lnTo>
                    <a:pt x="322" y="400"/>
                  </a:lnTo>
                  <a:lnTo>
                    <a:pt x="342" y="400"/>
                  </a:lnTo>
                  <a:lnTo>
                    <a:pt x="342" y="420"/>
                  </a:lnTo>
                  <a:lnTo>
                    <a:pt x="351" y="439"/>
                  </a:lnTo>
                  <a:lnTo>
                    <a:pt x="351" y="449"/>
                  </a:lnTo>
                  <a:lnTo>
                    <a:pt x="361" y="449"/>
                  </a:lnTo>
                  <a:lnTo>
                    <a:pt x="371" y="439"/>
                  </a:lnTo>
                  <a:lnTo>
                    <a:pt x="381" y="439"/>
                  </a:lnTo>
                  <a:lnTo>
                    <a:pt x="381" y="420"/>
                  </a:lnTo>
                  <a:lnTo>
                    <a:pt x="361" y="410"/>
                  </a:lnTo>
                  <a:lnTo>
                    <a:pt x="361" y="390"/>
                  </a:lnTo>
                  <a:lnTo>
                    <a:pt x="361" y="381"/>
                  </a:lnTo>
                  <a:lnTo>
                    <a:pt x="390" y="381"/>
                  </a:lnTo>
                  <a:lnTo>
                    <a:pt x="420" y="371"/>
                  </a:lnTo>
                  <a:lnTo>
                    <a:pt x="449" y="371"/>
                  </a:lnTo>
                  <a:lnTo>
                    <a:pt x="468" y="361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Freeform 391"/>
            <p:cNvSpPr>
              <a:spLocks/>
            </p:cNvSpPr>
            <p:nvPr/>
          </p:nvSpPr>
          <p:spPr bwMode="auto">
            <a:xfrm>
              <a:off x="3697" y="3131"/>
              <a:ext cx="644" cy="529"/>
            </a:xfrm>
            <a:custGeom>
              <a:avLst/>
              <a:gdLst>
                <a:gd name="T0" fmla="*/ 127 w 644"/>
                <a:gd name="T1" fmla="*/ 449 h 527"/>
                <a:gd name="T2" fmla="*/ 146 w 644"/>
                <a:gd name="T3" fmla="*/ 439 h 527"/>
                <a:gd name="T4" fmla="*/ 224 w 644"/>
                <a:gd name="T5" fmla="*/ 458 h 527"/>
                <a:gd name="T6" fmla="*/ 263 w 644"/>
                <a:gd name="T7" fmla="*/ 439 h 527"/>
                <a:gd name="T8" fmla="*/ 341 w 644"/>
                <a:gd name="T9" fmla="*/ 429 h 527"/>
                <a:gd name="T10" fmla="*/ 390 w 644"/>
                <a:gd name="T11" fmla="*/ 507 h 527"/>
                <a:gd name="T12" fmla="*/ 439 w 644"/>
                <a:gd name="T13" fmla="*/ 527 h 527"/>
                <a:gd name="T14" fmla="*/ 458 w 644"/>
                <a:gd name="T15" fmla="*/ 507 h 527"/>
                <a:gd name="T16" fmla="*/ 488 w 644"/>
                <a:gd name="T17" fmla="*/ 488 h 527"/>
                <a:gd name="T18" fmla="*/ 517 w 644"/>
                <a:gd name="T19" fmla="*/ 507 h 527"/>
                <a:gd name="T20" fmla="*/ 556 w 644"/>
                <a:gd name="T21" fmla="*/ 488 h 527"/>
                <a:gd name="T22" fmla="*/ 595 w 644"/>
                <a:gd name="T23" fmla="*/ 488 h 527"/>
                <a:gd name="T24" fmla="*/ 614 w 644"/>
                <a:gd name="T25" fmla="*/ 458 h 527"/>
                <a:gd name="T26" fmla="*/ 634 w 644"/>
                <a:gd name="T27" fmla="*/ 439 h 527"/>
                <a:gd name="T28" fmla="*/ 624 w 644"/>
                <a:gd name="T29" fmla="*/ 410 h 527"/>
                <a:gd name="T30" fmla="*/ 644 w 644"/>
                <a:gd name="T31" fmla="*/ 371 h 527"/>
                <a:gd name="T32" fmla="*/ 644 w 644"/>
                <a:gd name="T33" fmla="*/ 351 h 527"/>
                <a:gd name="T34" fmla="*/ 634 w 644"/>
                <a:gd name="T35" fmla="*/ 322 h 527"/>
                <a:gd name="T36" fmla="*/ 614 w 644"/>
                <a:gd name="T37" fmla="*/ 293 h 527"/>
                <a:gd name="T38" fmla="*/ 575 w 644"/>
                <a:gd name="T39" fmla="*/ 312 h 527"/>
                <a:gd name="T40" fmla="*/ 556 w 644"/>
                <a:gd name="T41" fmla="*/ 302 h 527"/>
                <a:gd name="T42" fmla="*/ 556 w 644"/>
                <a:gd name="T43" fmla="*/ 244 h 527"/>
                <a:gd name="T44" fmla="*/ 556 w 644"/>
                <a:gd name="T45" fmla="*/ 224 h 527"/>
                <a:gd name="T46" fmla="*/ 536 w 644"/>
                <a:gd name="T47" fmla="*/ 234 h 527"/>
                <a:gd name="T48" fmla="*/ 478 w 644"/>
                <a:gd name="T49" fmla="*/ 224 h 527"/>
                <a:gd name="T50" fmla="*/ 449 w 644"/>
                <a:gd name="T51" fmla="*/ 185 h 527"/>
                <a:gd name="T52" fmla="*/ 410 w 644"/>
                <a:gd name="T53" fmla="*/ 176 h 527"/>
                <a:gd name="T54" fmla="*/ 371 w 644"/>
                <a:gd name="T55" fmla="*/ 146 h 527"/>
                <a:gd name="T56" fmla="*/ 302 w 644"/>
                <a:gd name="T57" fmla="*/ 78 h 527"/>
                <a:gd name="T58" fmla="*/ 244 w 644"/>
                <a:gd name="T59" fmla="*/ 49 h 527"/>
                <a:gd name="T60" fmla="*/ 185 w 644"/>
                <a:gd name="T61" fmla="*/ 19 h 527"/>
                <a:gd name="T62" fmla="*/ 146 w 644"/>
                <a:gd name="T63" fmla="*/ 39 h 527"/>
                <a:gd name="T64" fmla="*/ 127 w 644"/>
                <a:gd name="T65" fmla="*/ 78 h 527"/>
                <a:gd name="T66" fmla="*/ 127 w 644"/>
                <a:gd name="T67" fmla="*/ 117 h 527"/>
                <a:gd name="T68" fmla="*/ 107 w 644"/>
                <a:gd name="T69" fmla="*/ 127 h 527"/>
                <a:gd name="T70" fmla="*/ 58 w 644"/>
                <a:gd name="T71" fmla="*/ 127 h 527"/>
                <a:gd name="T72" fmla="*/ 39 w 644"/>
                <a:gd name="T73" fmla="*/ 156 h 527"/>
                <a:gd name="T74" fmla="*/ 19 w 644"/>
                <a:gd name="T75" fmla="*/ 176 h 527"/>
                <a:gd name="T76" fmla="*/ 19 w 644"/>
                <a:gd name="T77" fmla="*/ 234 h 527"/>
                <a:gd name="T78" fmla="*/ 29 w 644"/>
                <a:gd name="T79" fmla="*/ 273 h 527"/>
                <a:gd name="T80" fmla="*/ 10 w 644"/>
                <a:gd name="T81" fmla="*/ 293 h 527"/>
                <a:gd name="T82" fmla="*/ 0 w 644"/>
                <a:gd name="T83" fmla="*/ 332 h 527"/>
                <a:gd name="T84" fmla="*/ 39 w 644"/>
                <a:gd name="T85" fmla="*/ 322 h 527"/>
                <a:gd name="T86" fmla="*/ 88 w 644"/>
                <a:gd name="T87" fmla="*/ 322 h 527"/>
                <a:gd name="T88" fmla="*/ 88 w 644"/>
                <a:gd name="T89" fmla="*/ 341 h 527"/>
                <a:gd name="T90" fmla="*/ 49 w 644"/>
                <a:gd name="T91" fmla="*/ 351 h 527"/>
                <a:gd name="T92" fmla="*/ 88 w 644"/>
                <a:gd name="T93" fmla="*/ 419 h 5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44"/>
                <a:gd name="T142" fmla="*/ 0 h 527"/>
                <a:gd name="T143" fmla="*/ 644 w 644"/>
                <a:gd name="T144" fmla="*/ 527 h 5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44" h="527">
                  <a:moveTo>
                    <a:pt x="107" y="449"/>
                  </a:move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46" y="439"/>
                  </a:lnTo>
                  <a:lnTo>
                    <a:pt x="175" y="449"/>
                  </a:lnTo>
                  <a:lnTo>
                    <a:pt x="214" y="449"/>
                  </a:lnTo>
                  <a:lnTo>
                    <a:pt x="224" y="458"/>
                  </a:lnTo>
                  <a:lnTo>
                    <a:pt x="244" y="449"/>
                  </a:lnTo>
                  <a:lnTo>
                    <a:pt x="244" y="439"/>
                  </a:lnTo>
                  <a:lnTo>
                    <a:pt x="263" y="439"/>
                  </a:lnTo>
                  <a:lnTo>
                    <a:pt x="312" y="439"/>
                  </a:lnTo>
                  <a:lnTo>
                    <a:pt x="322" y="429"/>
                  </a:lnTo>
                  <a:lnTo>
                    <a:pt x="341" y="429"/>
                  </a:lnTo>
                  <a:lnTo>
                    <a:pt x="361" y="449"/>
                  </a:lnTo>
                  <a:lnTo>
                    <a:pt x="400" y="478"/>
                  </a:lnTo>
                  <a:lnTo>
                    <a:pt x="390" y="507"/>
                  </a:lnTo>
                  <a:lnTo>
                    <a:pt x="410" y="507"/>
                  </a:lnTo>
                  <a:lnTo>
                    <a:pt x="429" y="527"/>
                  </a:lnTo>
                  <a:lnTo>
                    <a:pt x="439" y="527"/>
                  </a:lnTo>
                  <a:lnTo>
                    <a:pt x="439" y="517"/>
                  </a:lnTo>
                  <a:lnTo>
                    <a:pt x="449" y="517"/>
                  </a:lnTo>
                  <a:lnTo>
                    <a:pt x="458" y="507"/>
                  </a:lnTo>
                  <a:lnTo>
                    <a:pt x="458" y="498"/>
                  </a:lnTo>
                  <a:lnTo>
                    <a:pt x="478" y="498"/>
                  </a:lnTo>
                  <a:lnTo>
                    <a:pt x="488" y="488"/>
                  </a:lnTo>
                  <a:lnTo>
                    <a:pt x="497" y="488"/>
                  </a:lnTo>
                  <a:lnTo>
                    <a:pt x="497" y="498"/>
                  </a:lnTo>
                  <a:lnTo>
                    <a:pt x="517" y="507"/>
                  </a:lnTo>
                  <a:lnTo>
                    <a:pt x="517" y="488"/>
                  </a:lnTo>
                  <a:lnTo>
                    <a:pt x="536" y="488"/>
                  </a:lnTo>
                  <a:lnTo>
                    <a:pt x="556" y="488"/>
                  </a:lnTo>
                  <a:lnTo>
                    <a:pt x="575" y="498"/>
                  </a:lnTo>
                  <a:lnTo>
                    <a:pt x="585" y="498"/>
                  </a:lnTo>
                  <a:lnTo>
                    <a:pt x="595" y="488"/>
                  </a:lnTo>
                  <a:lnTo>
                    <a:pt x="605" y="478"/>
                  </a:lnTo>
                  <a:lnTo>
                    <a:pt x="624" y="478"/>
                  </a:lnTo>
                  <a:lnTo>
                    <a:pt x="614" y="458"/>
                  </a:lnTo>
                  <a:lnTo>
                    <a:pt x="624" y="449"/>
                  </a:lnTo>
                  <a:lnTo>
                    <a:pt x="624" y="439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24" y="419"/>
                  </a:lnTo>
                  <a:lnTo>
                    <a:pt x="624" y="410"/>
                  </a:lnTo>
                  <a:lnTo>
                    <a:pt x="634" y="400"/>
                  </a:lnTo>
                  <a:lnTo>
                    <a:pt x="634" y="380"/>
                  </a:lnTo>
                  <a:lnTo>
                    <a:pt x="644" y="371"/>
                  </a:lnTo>
                  <a:lnTo>
                    <a:pt x="634" y="361"/>
                  </a:lnTo>
                  <a:lnTo>
                    <a:pt x="624" y="351"/>
                  </a:lnTo>
                  <a:lnTo>
                    <a:pt x="644" y="351"/>
                  </a:lnTo>
                  <a:lnTo>
                    <a:pt x="644" y="341"/>
                  </a:lnTo>
                  <a:lnTo>
                    <a:pt x="644" y="332"/>
                  </a:lnTo>
                  <a:lnTo>
                    <a:pt x="634" y="322"/>
                  </a:lnTo>
                  <a:lnTo>
                    <a:pt x="634" y="312"/>
                  </a:lnTo>
                  <a:lnTo>
                    <a:pt x="624" y="293"/>
                  </a:lnTo>
                  <a:lnTo>
                    <a:pt x="614" y="293"/>
                  </a:lnTo>
                  <a:lnTo>
                    <a:pt x="595" y="293"/>
                  </a:lnTo>
                  <a:lnTo>
                    <a:pt x="575" y="302"/>
                  </a:lnTo>
                  <a:lnTo>
                    <a:pt x="575" y="312"/>
                  </a:lnTo>
                  <a:lnTo>
                    <a:pt x="566" y="312"/>
                  </a:lnTo>
                  <a:lnTo>
                    <a:pt x="556" y="312"/>
                  </a:lnTo>
                  <a:lnTo>
                    <a:pt x="556" y="302"/>
                  </a:lnTo>
                  <a:lnTo>
                    <a:pt x="556" y="293"/>
                  </a:lnTo>
                  <a:lnTo>
                    <a:pt x="556" y="263"/>
                  </a:lnTo>
                  <a:lnTo>
                    <a:pt x="556" y="244"/>
                  </a:lnTo>
                  <a:lnTo>
                    <a:pt x="566" y="234"/>
                  </a:lnTo>
                  <a:lnTo>
                    <a:pt x="556" y="224"/>
                  </a:lnTo>
                  <a:lnTo>
                    <a:pt x="546" y="215"/>
                  </a:lnTo>
                  <a:lnTo>
                    <a:pt x="536" y="224"/>
                  </a:lnTo>
                  <a:lnTo>
                    <a:pt x="536" y="234"/>
                  </a:lnTo>
                  <a:lnTo>
                    <a:pt x="517" y="234"/>
                  </a:lnTo>
                  <a:lnTo>
                    <a:pt x="497" y="224"/>
                  </a:lnTo>
                  <a:lnTo>
                    <a:pt x="478" y="224"/>
                  </a:lnTo>
                  <a:lnTo>
                    <a:pt x="468" y="224"/>
                  </a:lnTo>
                  <a:lnTo>
                    <a:pt x="458" y="215"/>
                  </a:lnTo>
                  <a:lnTo>
                    <a:pt x="449" y="185"/>
                  </a:lnTo>
                  <a:lnTo>
                    <a:pt x="439" y="176"/>
                  </a:lnTo>
                  <a:lnTo>
                    <a:pt x="429" y="176"/>
                  </a:lnTo>
                  <a:lnTo>
                    <a:pt x="410" y="176"/>
                  </a:lnTo>
                  <a:lnTo>
                    <a:pt x="390" y="176"/>
                  </a:lnTo>
                  <a:lnTo>
                    <a:pt x="380" y="166"/>
                  </a:lnTo>
                  <a:lnTo>
                    <a:pt x="371" y="146"/>
                  </a:lnTo>
                  <a:lnTo>
                    <a:pt x="351" y="117"/>
                  </a:lnTo>
                  <a:lnTo>
                    <a:pt x="322" y="88"/>
                  </a:lnTo>
                  <a:lnTo>
                    <a:pt x="302" y="78"/>
                  </a:lnTo>
                  <a:lnTo>
                    <a:pt x="292" y="68"/>
                  </a:lnTo>
                  <a:lnTo>
                    <a:pt x="283" y="58"/>
                  </a:lnTo>
                  <a:lnTo>
                    <a:pt x="244" y="49"/>
                  </a:lnTo>
                  <a:lnTo>
                    <a:pt x="224" y="39"/>
                  </a:lnTo>
                  <a:lnTo>
                    <a:pt x="205" y="29"/>
                  </a:lnTo>
                  <a:lnTo>
                    <a:pt x="185" y="19"/>
                  </a:lnTo>
                  <a:lnTo>
                    <a:pt x="166" y="19"/>
                  </a:lnTo>
                  <a:lnTo>
                    <a:pt x="146" y="0"/>
                  </a:lnTo>
                  <a:lnTo>
                    <a:pt x="146" y="39"/>
                  </a:lnTo>
                  <a:lnTo>
                    <a:pt x="146" y="58"/>
                  </a:lnTo>
                  <a:lnTo>
                    <a:pt x="146" y="68"/>
                  </a:lnTo>
                  <a:lnTo>
                    <a:pt x="127" y="78"/>
                  </a:lnTo>
                  <a:lnTo>
                    <a:pt x="117" y="78"/>
                  </a:lnTo>
                  <a:lnTo>
                    <a:pt x="107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17" y="127"/>
                  </a:lnTo>
                  <a:lnTo>
                    <a:pt x="107" y="127"/>
                  </a:lnTo>
                  <a:lnTo>
                    <a:pt x="88" y="117"/>
                  </a:lnTo>
                  <a:lnTo>
                    <a:pt x="88" y="127"/>
                  </a:lnTo>
                  <a:lnTo>
                    <a:pt x="58" y="127"/>
                  </a:lnTo>
                  <a:lnTo>
                    <a:pt x="49" y="137"/>
                  </a:lnTo>
                  <a:lnTo>
                    <a:pt x="49" y="156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76"/>
                  </a:lnTo>
                  <a:lnTo>
                    <a:pt x="19" y="176"/>
                  </a:lnTo>
                  <a:lnTo>
                    <a:pt x="10" y="195"/>
                  </a:lnTo>
                  <a:lnTo>
                    <a:pt x="10" y="215"/>
                  </a:lnTo>
                  <a:lnTo>
                    <a:pt x="19" y="234"/>
                  </a:lnTo>
                  <a:lnTo>
                    <a:pt x="29" y="244"/>
                  </a:lnTo>
                  <a:lnTo>
                    <a:pt x="29" y="263"/>
                  </a:lnTo>
                  <a:lnTo>
                    <a:pt x="29" y="273"/>
                  </a:lnTo>
                  <a:lnTo>
                    <a:pt x="19" y="273"/>
                  </a:lnTo>
                  <a:lnTo>
                    <a:pt x="10" y="293"/>
                  </a:lnTo>
                  <a:lnTo>
                    <a:pt x="10" y="312"/>
                  </a:lnTo>
                  <a:lnTo>
                    <a:pt x="0" y="322"/>
                  </a:lnTo>
                  <a:lnTo>
                    <a:pt x="0" y="332"/>
                  </a:lnTo>
                  <a:lnTo>
                    <a:pt x="10" y="332"/>
                  </a:lnTo>
                  <a:lnTo>
                    <a:pt x="29" y="332"/>
                  </a:lnTo>
                  <a:lnTo>
                    <a:pt x="39" y="322"/>
                  </a:lnTo>
                  <a:lnTo>
                    <a:pt x="49" y="322"/>
                  </a:lnTo>
                  <a:lnTo>
                    <a:pt x="68" y="332"/>
                  </a:lnTo>
                  <a:lnTo>
                    <a:pt x="88" y="322"/>
                  </a:lnTo>
                  <a:lnTo>
                    <a:pt x="97" y="322"/>
                  </a:lnTo>
                  <a:lnTo>
                    <a:pt x="97" y="332"/>
                  </a:lnTo>
                  <a:lnTo>
                    <a:pt x="88" y="341"/>
                  </a:lnTo>
                  <a:lnTo>
                    <a:pt x="78" y="351"/>
                  </a:lnTo>
                  <a:lnTo>
                    <a:pt x="58" y="351"/>
                  </a:lnTo>
                  <a:lnTo>
                    <a:pt x="49" y="351"/>
                  </a:lnTo>
                  <a:lnTo>
                    <a:pt x="58" y="371"/>
                  </a:lnTo>
                  <a:lnTo>
                    <a:pt x="68" y="390"/>
                  </a:lnTo>
                  <a:lnTo>
                    <a:pt x="88" y="419"/>
                  </a:lnTo>
                  <a:lnTo>
                    <a:pt x="97" y="439"/>
                  </a:lnTo>
                  <a:lnTo>
                    <a:pt x="107" y="449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Freeform 390"/>
            <p:cNvSpPr>
              <a:spLocks/>
            </p:cNvSpPr>
            <p:nvPr/>
          </p:nvSpPr>
          <p:spPr bwMode="auto">
            <a:xfrm>
              <a:off x="2040" y="1786"/>
              <a:ext cx="476" cy="293"/>
            </a:xfrm>
            <a:custGeom>
              <a:avLst/>
              <a:gdLst>
                <a:gd name="T0" fmla="*/ 458 w 478"/>
                <a:gd name="T1" fmla="*/ 186 h 293"/>
                <a:gd name="T2" fmla="*/ 42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54 h 293"/>
                <a:gd name="T58" fmla="*/ 243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74 h 293"/>
                <a:gd name="T70" fmla="*/ 458 w 478"/>
                <a:gd name="T71" fmla="*/ 254 h 293"/>
                <a:gd name="T72" fmla="*/ 468 w 478"/>
                <a:gd name="T73" fmla="*/ 225 h 293"/>
                <a:gd name="T74" fmla="*/ 478 w 478"/>
                <a:gd name="T75" fmla="*/ 205 h 2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8"/>
                <a:gd name="T115" fmla="*/ 0 h 293"/>
                <a:gd name="T116" fmla="*/ 478 w 478"/>
                <a:gd name="T117" fmla="*/ 293 h 2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2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2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96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54"/>
                  </a:lnTo>
                  <a:lnTo>
                    <a:pt x="214" y="254"/>
                  </a:lnTo>
                  <a:lnTo>
                    <a:pt x="234" y="244"/>
                  </a:lnTo>
                  <a:lnTo>
                    <a:pt x="243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74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74"/>
                  </a:lnTo>
                  <a:lnTo>
                    <a:pt x="439" y="274"/>
                  </a:lnTo>
                  <a:lnTo>
                    <a:pt x="458" y="25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  <a:lnTo>
                    <a:pt x="478" y="20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Freeform 389"/>
            <p:cNvSpPr>
              <a:spLocks/>
            </p:cNvSpPr>
            <p:nvPr/>
          </p:nvSpPr>
          <p:spPr bwMode="auto">
            <a:xfrm>
              <a:off x="2040" y="1786"/>
              <a:ext cx="476" cy="293"/>
            </a:xfrm>
            <a:custGeom>
              <a:avLst/>
              <a:gdLst>
                <a:gd name="T0" fmla="*/ 458 w 478"/>
                <a:gd name="T1" fmla="*/ 186 h 293"/>
                <a:gd name="T2" fmla="*/ 43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64 h 293"/>
                <a:gd name="T58" fmla="*/ 234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83 h 293"/>
                <a:gd name="T70" fmla="*/ 458 w 478"/>
                <a:gd name="T71" fmla="*/ 264 h 293"/>
                <a:gd name="T72" fmla="*/ 468 w 478"/>
                <a:gd name="T73" fmla="*/ 225 h 2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8"/>
                <a:gd name="T112" fmla="*/ 0 h 293"/>
                <a:gd name="T113" fmla="*/ 478 w 478"/>
                <a:gd name="T114" fmla="*/ 293 h 2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3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3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205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64"/>
                  </a:lnTo>
                  <a:lnTo>
                    <a:pt x="214" y="264"/>
                  </a:lnTo>
                  <a:lnTo>
                    <a:pt x="234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83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83"/>
                  </a:lnTo>
                  <a:lnTo>
                    <a:pt x="439" y="283"/>
                  </a:lnTo>
                  <a:lnTo>
                    <a:pt x="458" y="26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</a:path>
              </a:pathLst>
            </a:custGeom>
            <a:noFill/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Freeform 388"/>
            <p:cNvSpPr>
              <a:spLocks/>
            </p:cNvSpPr>
            <p:nvPr/>
          </p:nvSpPr>
          <p:spPr bwMode="auto">
            <a:xfrm>
              <a:off x="2274" y="1873"/>
              <a:ext cx="566" cy="595"/>
            </a:xfrm>
            <a:custGeom>
              <a:avLst/>
              <a:gdLst>
                <a:gd name="T0" fmla="*/ 195 w 565"/>
                <a:gd name="T1" fmla="*/ 547 h 595"/>
                <a:gd name="T2" fmla="*/ 224 w 565"/>
                <a:gd name="T3" fmla="*/ 488 h 595"/>
                <a:gd name="T4" fmla="*/ 302 w 565"/>
                <a:gd name="T5" fmla="*/ 478 h 595"/>
                <a:gd name="T6" fmla="*/ 322 w 565"/>
                <a:gd name="T7" fmla="*/ 420 h 595"/>
                <a:gd name="T8" fmla="*/ 380 w 565"/>
                <a:gd name="T9" fmla="*/ 410 h 595"/>
                <a:gd name="T10" fmla="*/ 439 w 565"/>
                <a:gd name="T11" fmla="*/ 469 h 595"/>
                <a:gd name="T12" fmla="*/ 468 w 565"/>
                <a:gd name="T13" fmla="*/ 439 h 595"/>
                <a:gd name="T14" fmla="*/ 487 w 565"/>
                <a:gd name="T15" fmla="*/ 410 h 595"/>
                <a:gd name="T16" fmla="*/ 526 w 565"/>
                <a:gd name="T17" fmla="*/ 352 h 595"/>
                <a:gd name="T18" fmla="*/ 565 w 565"/>
                <a:gd name="T19" fmla="*/ 322 h 595"/>
                <a:gd name="T20" fmla="*/ 526 w 565"/>
                <a:gd name="T21" fmla="*/ 283 h 595"/>
                <a:gd name="T22" fmla="*/ 497 w 565"/>
                <a:gd name="T23" fmla="*/ 254 h 595"/>
                <a:gd name="T24" fmla="*/ 458 w 565"/>
                <a:gd name="T25" fmla="*/ 225 h 595"/>
                <a:gd name="T26" fmla="*/ 370 w 565"/>
                <a:gd name="T27" fmla="*/ 215 h 595"/>
                <a:gd name="T28" fmla="*/ 322 w 565"/>
                <a:gd name="T29" fmla="*/ 244 h 595"/>
                <a:gd name="T30" fmla="*/ 322 w 565"/>
                <a:gd name="T31" fmla="*/ 205 h 595"/>
                <a:gd name="T32" fmla="*/ 322 w 565"/>
                <a:gd name="T33" fmla="*/ 166 h 595"/>
                <a:gd name="T34" fmla="*/ 361 w 565"/>
                <a:gd name="T35" fmla="*/ 117 h 595"/>
                <a:gd name="T36" fmla="*/ 370 w 565"/>
                <a:gd name="T37" fmla="*/ 108 h 595"/>
                <a:gd name="T38" fmla="*/ 370 w 565"/>
                <a:gd name="T39" fmla="*/ 49 h 595"/>
                <a:gd name="T40" fmla="*/ 351 w 565"/>
                <a:gd name="T41" fmla="*/ 10 h 595"/>
                <a:gd name="T42" fmla="*/ 322 w 565"/>
                <a:gd name="T43" fmla="*/ 39 h 595"/>
                <a:gd name="T44" fmla="*/ 273 w 565"/>
                <a:gd name="T45" fmla="*/ 39 h 595"/>
                <a:gd name="T46" fmla="*/ 244 w 565"/>
                <a:gd name="T47" fmla="*/ 49 h 595"/>
                <a:gd name="T48" fmla="*/ 263 w 565"/>
                <a:gd name="T49" fmla="*/ 78 h 595"/>
                <a:gd name="T50" fmla="*/ 244 w 565"/>
                <a:gd name="T51" fmla="*/ 117 h 595"/>
                <a:gd name="T52" fmla="*/ 224 w 565"/>
                <a:gd name="T53" fmla="*/ 147 h 595"/>
                <a:gd name="T54" fmla="*/ 175 w 565"/>
                <a:gd name="T55" fmla="*/ 186 h 595"/>
                <a:gd name="T56" fmla="*/ 107 w 565"/>
                <a:gd name="T57" fmla="*/ 186 h 595"/>
                <a:gd name="T58" fmla="*/ 88 w 565"/>
                <a:gd name="T59" fmla="*/ 225 h 595"/>
                <a:gd name="T60" fmla="*/ 107 w 565"/>
                <a:gd name="T61" fmla="*/ 273 h 595"/>
                <a:gd name="T62" fmla="*/ 68 w 565"/>
                <a:gd name="T63" fmla="*/ 283 h 595"/>
                <a:gd name="T64" fmla="*/ 29 w 565"/>
                <a:gd name="T65" fmla="*/ 283 h 595"/>
                <a:gd name="T66" fmla="*/ 0 w 565"/>
                <a:gd name="T67" fmla="*/ 313 h 595"/>
                <a:gd name="T68" fmla="*/ 9 w 565"/>
                <a:gd name="T69" fmla="*/ 342 h 595"/>
                <a:gd name="T70" fmla="*/ 48 w 565"/>
                <a:gd name="T71" fmla="*/ 352 h 595"/>
                <a:gd name="T72" fmla="*/ 107 w 565"/>
                <a:gd name="T73" fmla="*/ 371 h 595"/>
                <a:gd name="T74" fmla="*/ 136 w 565"/>
                <a:gd name="T75" fmla="*/ 391 h 595"/>
                <a:gd name="T76" fmla="*/ 136 w 565"/>
                <a:gd name="T77" fmla="*/ 430 h 595"/>
                <a:gd name="T78" fmla="*/ 127 w 565"/>
                <a:gd name="T79" fmla="*/ 478 h 595"/>
                <a:gd name="T80" fmla="*/ 136 w 565"/>
                <a:gd name="T81" fmla="*/ 527 h 595"/>
                <a:gd name="T82" fmla="*/ 146 w 565"/>
                <a:gd name="T83" fmla="*/ 586 h 595"/>
                <a:gd name="T84" fmla="*/ 166 w 565"/>
                <a:gd name="T85" fmla="*/ 576 h 5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65"/>
                <a:gd name="T130" fmla="*/ 0 h 595"/>
                <a:gd name="T131" fmla="*/ 565 w 565"/>
                <a:gd name="T132" fmla="*/ 595 h 5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65" h="595">
                  <a:moveTo>
                    <a:pt x="166" y="547"/>
                  </a:moveTo>
                  <a:lnTo>
                    <a:pt x="185" y="537"/>
                  </a:lnTo>
                  <a:lnTo>
                    <a:pt x="195" y="547"/>
                  </a:lnTo>
                  <a:lnTo>
                    <a:pt x="214" y="537"/>
                  </a:lnTo>
                  <a:lnTo>
                    <a:pt x="214" y="508"/>
                  </a:lnTo>
                  <a:lnTo>
                    <a:pt x="224" y="488"/>
                  </a:lnTo>
                  <a:lnTo>
                    <a:pt x="244" y="469"/>
                  </a:lnTo>
                  <a:lnTo>
                    <a:pt x="273" y="488"/>
                  </a:lnTo>
                  <a:lnTo>
                    <a:pt x="302" y="478"/>
                  </a:lnTo>
                  <a:lnTo>
                    <a:pt x="312" y="449"/>
                  </a:lnTo>
                  <a:lnTo>
                    <a:pt x="331" y="439"/>
                  </a:lnTo>
                  <a:lnTo>
                    <a:pt x="322" y="420"/>
                  </a:lnTo>
                  <a:lnTo>
                    <a:pt x="341" y="410"/>
                  </a:lnTo>
                  <a:lnTo>
                    <a:pt x="361" y="410"/>
                  </a:lnTo>
                  <a:lnTo>
                    <a:pt x="380" y="410"/>
                  </a:lnTo>
                  <a:lnTo>
                    <a:pt x="400" y="430"/>
                  </a:lnTo>
                  <a:lnTo>
                    <a:pt x="419" y="439"/>
                  </a:lnTo>
                  <a:lnTo>
                    <a:pt x="439" y="469"/>
                  </a:lnTo>
                  <a:lnTo>
                    <a:pt x="458" y="469"/>
                  </a:lnTo>
                  <a:lnTo>
                    <a:pt x="468" y="469"/>
                  </a:lnTo>
                  <a:lnTo>
                    <a:pt x="468" y="439"/>
                  </a:lnTo>
                  <a:lnTo>
                    <a:pt x="478" y="420"/>
                  </a:lnTo>
                  <a:lnTo>
                    <a:pt x="497" y="410"/>
                  </a:lnTo>
                  <a:lnTo>
                    <a:pt x="487" y="410"/>
                  </a:lnTo>
                  <a:lnTo>
                    <a:pt x="487" y="391"/>
                  </a:lnTo>
                  <a:lnTo>
                    <a:pt x="487" y="381"/>
                  </a:lnTo>
                  <a:lnTo>
                    <a:pt x="526" y="352"/>
                  </a:lnTo>
                  <a:lnTo>
                    <a:pt x="536" y="361"/>
                  </a:lnTo>
                  <a:lnTo>
                    <a:pt x="565" y="342"/>
                  </a:lnTo>
                  <a:lnTo>
                    <a:pt x="565" y="322"/>
                  </a:lnTo>
                  <a:lnTo>
                    <a:pt x="565" y="303"/>
                  </a:lnTo>
                  <a:lnTo>
                    <a:pt x="556" y="303"/>
                  </a:lnTo>
                  <a:lnTo>
                    <a:pt x="526" y="283"/>
                  </a:lnTo>
                  <a:lnTo>
                    <a:pt x="517" y="273"/>
                  </a:lnTo>
                  <a:lnTo>
                    <a:pt x="507" y="244"/>
                  </a:lnTo>
                  <a:lnTo>
                    <a:pt x="497" y="254"/>
                  </a:lnTo>
                  <a:lnTo>
                    <a:pt x="468" y="264"/>
                  </a:lnTo>
                  <a:lnTo>
                    <a:pt x="468" y="244"/>
                  </a:lnTo>
                  <a:lnTo>
                    <a:pt x="458" y="225"/>
                  </a:lnTo>
                  <a:lnTo>
                    <a:pt x="429" y="234"/>
                  </a:lnTo>
                  <a:lnTo>
                    <a:pt x="400" y="225"/>
                  </a:lnTo>
                  <a:lnTo>
                    <a:pt x="370" y="215"/>
                  </a:lnTo>
                  <a:lnTo>
                    <a:pt x="341" y="234"/>
                  </a:lnTo>
                  <a:lnTo>
                    <a:pt x="331" y="254"/>
                  </a:lnTo>
                  <a:lnTo>
                    <a:pt x="322" y="244"/>
                  </a:lnTo>
                  <a:lnTo>
                    <a:pt x="322" y="234"/>
                  </a:lnTo>
                  <a:lnTo>
                    <a:pt x="331" y="225"/>
                  </a:lnTo>
                  <a:lnTo>
                    <a:pt x="322" y="205"/>
                  </a:lnTo>
                  <a:lnTo>
                    <a:pt x="341" y="186"/>
                  </a:lnTo>
                  <a:lnTo>
                    <a:pt x="322" y="166"/>
                  </a:lnTo>
                  <a:lnTo>
                    <a:pt x="322" y="156"/>
                  </a:lnTo>
                  <a:lnTo>
                    <a:pt x="331" y="147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0" y="117"/>
                  </a:lnTo>
                  <a:lnTo>
                    <a:pt x="370" y="108"/>
                  </a:lnTo>
                  <a:lnTo>
                    <a:pt x="380" y="88"/>
                  </a:lnTo>
                  <a:lnTo>
                    <a:pt x="400" y="59"/>
                  </a:lnTo>
                  <a:lnTo>
                    <a:pt x="370" y="49"/>
                  </a:lnTo>
                  <a:lnTo>
                    <a:pt x="400" y="30"/>
                  </a:lnTo>
                  <a:lnTo>
                    <a:pt x="370" y="0"/>
                  </a:lnTo>
                  <a:lnTo>
                    <a:pt x="351" y="10"/>
                  </a:lnTo>
                  <a:lnTo>
                    <a:pt x="341" y="30"/>
                  </a:lnTo>
                  <a:lnTo>
                    <a:pt x="331" y="39"/>
                  </a:lnTo>
                  <a:lnTo>
                    <a:pt x="322" y="39"/>
                  </a:lnTo>
                  <a:lnTo>
                    <a:pt x="302" y="39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63" y="30"/>
                  </a:lnTo>
                  <a:lnTo>
                    <a:pt x="253" y="39"/>
                  </a:lnTo>
                  <a:lnTo>
                    <a:pt x="244" y="49"/>
                  </a:lnTo>
                  <a:lnTo>
                    <a:pt x="263" y="59"/>
                  </a:lnTo>
                  <a:lnTo>
                    <a:pt x="273" y="69"/>
                  </a:lnTo>
                  <a:lnTo>
                    <a:pt x="263" y="78"/>
                  </a:lnTo>
                  <a:lnTo>
                    <a:pt x="263" y="98"/>
                  </a:lnTo>
                  <a:lnTo>
                    <a:pt x="253" y="108"/>
                  </a:lnTo>
                  <a:lnTo>
                    <a:pt x="244" y="117"/>
                  </a:lnTo>
                  <a:lnTo>
                    <a:pt x="244" y="127"/>
                  </a:lnTo>
                  <a:lnTo>
                    <a:pt x="234" y="127"/>
                  </a:lnTo>
                  <a:lnTo>
                    <a:pt x="224" y="147"/>
                  </a:lnTo>
                  <a:lnTo>
                    <a:pt x="224" y="166"/>
                  </a:lnTo>
                  <a:lnTo>
                    <a:pt x="205" y="186"/>
                  </a:lnTo>
                  <a:lnTo>
                    <a:pt x="175" y="186"/>
                  </a:lnTo>
                  <a:lnTo>
                    <a:pt x="146" y="186"/>
                  </a:lnTo>
                  <a:lnTo>
                    <a:pt x="127" y="176"/>
                  </a:lnTo>
                  <a:lnTo>
                    <a:pt x="107" y="186"/>
                  </a:lnTo>
                  <a:lnTo>
                    <a:pt x="97" y="195"/>
                  </a:lnTo>
                  <a:lnTo>
                    <a:pt x="78" y="205"/>
                  </a:lnTo>
                  <a:lnTo>
                    <a:pt x="88" y="225"/>
                  </a:lnTo>
                  <a:lnTo>
                    <a:pt x="107" y="244"/>
                  </a:lnTo>
                  <a:lnTo>
                    <a:pt x="117" y="254"/>
                  </a:lnTo>
                  <a:lnTo>
                    <a:pt x="107" y="273"/>
                  </a:lnTo>
                  <a:lnTo>
                    <a:pt x="97" y="283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73"/>
                  </a:lnTo>
                  <a:lnTo>
                    <a:pt x="39" y="273"/>
                  </a:lnTo>
                  <a:lnTo>
                    <a:pt x="29" y="283"/>
                  </a:lnTo>
                  <a:lnTo>
                    <a:pt x="29" y="293"/>
                  </a:lnTo>
                  <a:lnTo>
                    <a:pt x="9" y="303"/>
                  </a:lnTo>
                  <a:lnTo>
                    <a:pt x="0" y="313"/>
                  </a:lnTo>
                  <a:lnTo>
                    <a:pt x="9" y="322"/>
                  </a:lnTo>
                  <a:lnTo>
                    <a:pt x="9" y="332"/>
                  </a:lnTo>
                  <a:lnTo>
                    <a:pt x="9" y="342"/>
                  </a:lnTo>
                  <a:lnTo>
                    <a:pt x="9" y="352"/>
                  </a:lnTo>
                  <a:lnTo>
                    <a:pt x="29" y="352"/>
                  </a:lnTo>
                  <a:lnTo>
                    <a:pt x="48" y="352"/>
                  </a:lnTo>
                  <a:lnTo>
                    <a:pt x="58" y="361"/>
                  </a:lnTo>
                  <a:lnTo>
                    <a:pt x="88" y="361"/>
                  </a:lnTo>
                  <a:lnTo>
                    <a:pt x="107" y="371"/>
                  </a:lnTo>
                  <a:lnTo>
                    <a:pt x="107" y="391"/>
                  </a:lnTo>
                  <a:lnTo>
                    <a:pt x="127" y="381"/>
                  </a:lnTo>
                  <a:lnTo>
                    <a:pt x="136" y="391"/>
                  </a:lnTo>
                  <a:lnTo>
                    <a:pt x="127" y="410"/>
                  </a:lnTo>
                  <a:lnTo>
                    <a:pt x="146" y="420"/>
                  </a:lnTo>
                  <a:lnTo>
                    <a:pt x="136" y="430"/>
                  </a:lnTo>
                  <a:lnTo>
                    <a:pt x="136" y="439"/>
                  </a:lnTo>
                  <a:lnTo>
                    <a:pt x="136" y="459"/>
                  </a:lnTo>
                  <a:lnTo>
                    <a:pt x="127" y="478"/>
                  </a:lnTo>
                  <a:lnTo>
                    <a:pt x="136" y="488"/>
                  </a:lnTo>
                  <a:lnTo>
                    <a:pt x="136" y="527"/>
                  </a:lnTo>
                  <a:lnTo>
                    <a:pt x="146" y="537"/>
                  </a:lnTo>
                  <a:lnTo>
                    <a:pt x="136" y="556"/>
                  </a:lnTo>
                  <a:lnTo>
                    <a:pt x="146" y="586"/>
                  </a:lnTo>
                  <a:lnTo>
                    <a:pt x="146" y="595"/>
                  </a:lnTo>
                  <a:lnTo>
                    <a:pt x="166" y="586"/>
                  </a:lnTo>
                  <a:lnTo>
                    <a:pt x="166" y="576"/>
                  </a:lnTo>
                  <a:lnTo>
                    <a:pt x="175" y="556"/>
                  </a:lnTo>
                  <a:lnTo>
                    <a:pt x="166" y="54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Freeform 387"/>
            <p:cNvSpPr>
              <a:spLocks/>
            </p:cNvSpPr>
            <p:nvPr/>
          </p:nvSpPr>
          <p:spPr bwMode="auto">
            <a:xfrm>
              <a:off x="1365" y="1504"/>
              <a:ext cx="332" cy="253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9 w 331"/>
                <a:gd name="T23" fmla="*/ 175 h 253"/>
                <a:gd name="T24" fmla="*/ 9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87 h 253"/>
                <a:gd name="T68" fmla="*/ 224 w 331"/>
                <a:gd name="T69" fmla="*/ 107 h 253"/>
                <a:gd name="T70" fmla="*/ 24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146 w 331"/>
                <a:gd name="T111" fmla="*/ 214 h 2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1"/>
                <a:gd name="T169" fmla="*/ 0 h 253"/>
                <a:gd name="T170" fmla="*/ 331 w 331"/>
                <a:gd name="T171" fmla="*/ 253 h 2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9" y="175"/>
                  </a:lnTo>
                  <a:lnTo>
                    <a:pt x="9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87"/>
                  </a:lnTo>
                  <a:lnTo>
                    <a:pt x="224" y="107"/>
                  </a:lnTo>
                  <a:lnTo>
                    <a:pt x="24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  <a:lnTo>
                    <a:pt x="146" y="21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090" name="Group 384"/>
            <p:cNvGrpSpPr>
              <a:grpSpLocks/>
            </p:cNvGrpSpPr>
            <p:nvPr/>
          </p:nvGrpSpPr>
          <p:grpSpPr bwMode="auto">
            <a:xfrm>
              <a:off x="1366" y="1503"/>
              <a:ext cx="331" cy="253"/>
              <a:chOff x="1366" y="1503"/>
              <a:chExt cx="331" cy="253"/>
            </a:xfrm>
          </p:grpSpPr>
          <p:sp>
            <p:nvSpPr>
              <p:cNvPr id="395" name="Freeform 386"/>
              <p:cNvSpPr>
                <a:spLocks/>
              </p:cNvSpPr>
              <p:nvPr/>
            </p:nvSpPr>
            <p:spPr bwMode="auto">
              <a:xfrm>
                <a:off x="1365" y="1504"/>
                <a:ext cx="332" cy="253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146 w 331"/>
                  <a:gd name="T111" fmla="*/ 214 h 2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31"/>
                  <a:gd name="T169" fmla="*/ 0 h 253"/>
                  <a:gd name="T170" fmla="*/ 331 w 331"/>
                  <a:gd name="T171" fmla="*/ 253 h 25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  <a:lnTo>
                      <a:pt x="146" y="214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6" name="Freeform 385"/>
              <p:cNvSpPr>
                <a:spLocks/>
              </p:cNvSpPr>
              <p:nvPr/>
            </p:nvSpPr>
            <p:spPr bwMode="auto">
              <a:xfrm>
                <a:off x="1365" y="1504"/>
                <a:ext cx="332" cy="253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1"/>
                  <a:gd name="T166" fmla="*/ 0 h 253"/>
                  <a:gd name="T167" fmla="*/ 331 w 331"/>
                  <a:gd name="T168" fmla="*/ 253 h 25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2" name="Freeform 383"/>
            <p:cNvSpPr>
              <a:spLocks/>
            </p:cNvSpPr>
            <p:nvPr/>
          </p:nvSpPr>
          <p:spPr bwMode="auto">
            <a:xfrm>
              <a:off x="1199" y="1679"/>
              <a:ext cx="253" cy="244"/>
            </a:xfrm>
            <a:custGeom>
              <a:avLst/>
              <a:gdLst>
                <a:gd name="T0" fmla="*/ 127 w 253"/>
                <a:gd name="T1" fmla="*/ 244 h 244"/>
                <a:gd name="T2" fmla="*/ 107 w 253"/>
                <a:gd name="T3" fmla="*/ 244 h 244"/>
                <a:gd name="T4" fmla="*/ 78 w 253"/>
                <a:gd name="T5" fmla="*/ 225 h 244"/>
                <a:gd name="T6" fmla="*/ 97 w 253"/>
                <a:gd name="T7" fmla="*/ 195 h 244"/>
                <a:gd name="T8" fmla="*/ 88 w 253"/>
                <a:gd name="T9" fmla="*/ 166 h 244"/>
                <a:gd name="T10" fmla="*/ 68 w 253"/>
                <a:gd name="T11" fmla="*/ 166 h 244"/>
                <a:gd name="T12" fmla="*/ 58 w 253"/>
                <a:gd name="T13" fmla="*/ 147 h 244"/>
                <a:gd name="T14" fmla="*/ 39 w 253"/>
                <a:gd name="T15" fmla="*/ 107 h 244"/>
                <a:gd name="T16" fmla="*/ 19 w 253"/>
                <a:gd name="T17" fmla="*/ 107 h 244"/>
                <a:gd name="T18" fmla="*/ 0 w 253"/>
                <a:gd name="T19" fmla="*/ 88 h 244"/>
                <a:gd name="T20" fmla="*/ 10 w 253"/>
                <a:gd name="T21" fmla="*/ 59 h 244"/>
                <a:gd name="T22" fmla="*/ 29 w 253"/>
                <a:gd name="T23" fmla="*/ 49 h 244"/>
                <a:gd name="T24" fmla="*/ 49 w 253"/>
                <a:gd name="T25" fmla="*/ 29 h 244"/>
                <a:gd name="T26" fmla="*/ 58 w 253"/>
                <a:gd name="T27" fmla="*/ 10 h 244"/>
                <a:gd name="T28" fmla="*/ 78 w 253"/>
                <a:gd name="T29" fmla="*/ 0 h 244"/>
                <a:gd name="T30" fmla="*/ 97 w 253"/>
                <a:gd name="T31" fmla="*/ 10 h 244"/>
                <a:gd name="T32" fmla="*/ 97 w 253"/>
                <a:gd name="T33" fmla="*/ 39 h 244"/>
                <a:gd name="T34" fmla="*/ 117 w 253"/>
                <a:gd name="T35" fmla="*/ 59 h 244"/>
                <a:gd name="T36" fmla="*/ 146 w 253"/>
                <a:gd name="T37" fmla="*/ 59 h 244"/>
                <a:gd name="T38" fmla="*/ 166 w 253"/>
                <a:gd name="T39" fmla="*/ 39 h 244"/>
                <a:gd name="T40" fmla="*/ 185 w 253"/>
                <a:gd name="T41" fmla="*/ 59 h 244"/>
                <a:gd name="T42" fmla="*/ 244 w 253"/>
                <a:gd name="T43" fmla="*/ 59 h 244"/>
                <a:gd name="T44" fmla="*/ 253 w 253"/>
                <a:gd name="T45" fmla="*/ 59 h 244"/>
                <a:gd name="T46" fmla="*/ 253 w 253"/>
                <a:gd name="T47" fmla="*/ 88 h 244"/>
                <a:gd name="T48" fmla="*/ 253 w 253"/>
                <a:gd name="T49" fmla="*/ 107 h 244"/>
                <a:gd name="T50" fmla="*/ 253 w 253"/>
                <a:gd name="T51" fmla="*/ 137 h 244"/>
                <a:gd name="T52" fmla="*/ 234 w 253"/>
                <a:gd name="T53" fmla="*/ 156 h 244"/>
                <a:gd name="T54" fmla="*/ 234 w 253"/>
                <a:gd name="T55" fmla="*/ 186 h 244"/>
                <a:gd name="T56" fmla="*/ 214 w 253"/>
                <a:gd name="T57" fmla="*/ 205 h 244"/>
                <a:gd name="T58" fmla="*/ 185 w 253"/>
                <a:gd name="T59" fmla="*/ 195 h 244"/>
                <a:gd name="T60" fmla="*/ 166 w 253"/>
                <a:gd name="T61" fmla="*/ 205 h 244"/>
                <a:gd name="T62" fmla="*/ 166 w 253"/>
                <a:gd name="T63" fmla="*/ 225 h 244"/>
                <a:gd name="T64" fmla="*/ 146 w 253"/>
                <a:gd name="T65" fmla="*/ 225 h 244"/>
                <a:gd name="T66" fmla="*/ 127 w 253"/>
                <a:gd name="T67" fmla="*/ 234 h 24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3"/>
                <a:gd name="T103" fmla="*/ 0 h 244"/>
                <a:gd name="T104" fmla="*/ 253 w 253"/>
                <a:gd name="T105" fmla="*/ 244 h 24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3" h="244">
                  <a:moveTo>
                    <a:pt x="136" y="244"/>
                  </a:moveTo>
                  <a:lnTo>
                    <a:pt x="127" y="244"/>
                  </a:lnTo>
                  <a:lnTo>
                    <a:pt x="117" y="244"/>
                  </a:lnTo>
                  <a:lnTo>
                    <a:pt x="107" y="244"/>
                  </a:lnTo>
                  <a:lnTo>
                    <a:pt x="68" y="234"/>
                  </a:lnTo>
                  <a:lnTo>
                    <a:pt x="78" y="225"/>
                  </a:lnTo>
                  <a:lnTo>
                    <a:pt x="88" y="205"/>
                  </a:lnTo>
                  <a:lnTo>
                    <a:pt x="97" y="195"/>
                  </a:lnTo>
                  <a:lnTo>
                    <a:pt x="97" y="186"/>
                  </a:lnTo>
                  <a:lnTo>
                    <a:pt x="88" y="166"/>
                  </a:lnTo>
                  <a:lnTo>
                    <a:pt x="68" y="166"/>
                  </a:lnTo>
                  <a:lnTo>
                    <a:pt x="68" y="156"/>
                  </a:lnTo>
                  <a:lnTo>
                    <a:pt x="58" y="147"/>
                  </a:lnTo>
                  <a:lnTo>
                    <a:pt x="49" y="137"/>
                  </a:lnTo>
                  <a:lnTo>
                    <a:pt x="39" y="107"/>
                  </a:lnTo>
                  <a:lnTo>
                    <a:pt x="29" y="107"/>
                  </a:lnTo>
                  <a:lnTo>
                    <a:pt x="19" y="107"/>
                  </a:lnTo>
                  <a:lnTo>
                    <a:pt x="0" y="107"/>
                  </a:lnTo>
                  <a:lnTo>
                    <a:pt x="0" y="88"/>
                  </a:lnTo>
                  <a:lnTo>
                    <a:pt x="0" y="68"/>
                  </a:lnTo>
                  <a:lnTo>
                    <a:pt x="10" y="5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39" y="39"/>
                  </a:lnTo>
                  <a:lnTo>
                    <a:pt x="49" y="29"/>
                  </a:lnTo>
                  <a:lnTo>
                    <a:pt x="58" y="29"/>
                  </a:lnTo>
                  <a:lnTo>
                    <a:pt x="58" y="10"/>
                  </a:lnTo>
                  <a:lnTo>
                    <a:pt x="68" y="0"/>
                  </a:lnTo>
                  <a:lnTo>
                    <a:pt x="78" y="0"/>
                  </a:lnTo>
                  <a:lnTo>
                    <a:pt x="88" y="0"/>
                  </a:lnTo>
                  <a:lnTo>
                    <a:pt x="97" y="10"/>
                  </a:lnTo>
                  <a:lnTo>
                    <a:pt x="97" y="29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117" y="59"/>
                  </a:lnTo>
                  <a:lnTo>
                    <a:pt x="136" y="59"/>
                  </a:lnTo>
                  <a:lnTo>
                    <a:pt x="146" y="59"/>
                  </a:lnTo>
                  <a:lnTo>
                    <a:pt x="156" y="68"/>
                  </a:lnTo>
                  <a:lnTo>
                    <a:pt x="166" y="39"/>
                  </a:lnTo>
                  <a:lnTo>
                    <a:pt x="175" y="59"/>
                  </a:lnTo>
                  <a:lnTo>
                    <a:pt x="185" y="59"/>
                  </a:lnTo>
                  <a:lnTo>
                    <a:pt x="214" y="59"/>
                  </a:lnTo>
                  <a:lnTo>
                    <a:pt x="244" y="59"/>
                  </a:lnTo>
                  <a:lnTo>
                    <a:pt x="253" y="59"/>
                  </a:lnTo>
                  <a:lnTo>
                    <a:pt x="253" y="78"/>
                  </a:lnTo>
                  <a:lnTo>
                    <a:pt x="253" y="88"/>
                  </a:lnTo>
                  <a:lnTo>
                    <a:pt x="253" y="98"/>
                  </a:lnTo>
                  <a:lnTo>
                    <a:pt x="253" y="107"/>
                  </a:lnTo>
                  <a:lnTo>
                    <a:pt x="253" y="117"/>
                  </a:lnTo>
                  <a:lnTo>
                    <a:pt x="253" y="137"/>
                  </a:lnTo>
                  <a:lnTo>
                    <a:pt x="234" y="147"/>
                  </a:lnTo>
                  <a:lnTo>
                    <a:pt x="234" y="156"/>
                  </a:lnTo>
                  <a:lnTo>
                    <a:pt x="244" y="166"/>
                  </a:lnTo>
                  <a:lnTo>
                    <a:pt x="234" y="186"/>
                  </a:lnTo>
                  <a:lnTo>
                    <a:pt x="224" y="195"/>
                  </a:lnTo>
                  <a:lnTo>
                    <a:pt x="214" y="205"/>
                  </a:lnTo>
                  <a:lnTo>
                    <a:pt x="205" y="205"/>
                  </a:lnTo>
                  <a:lnTo>
                    <a:pt x="185" y="195"/>
                  </a:lnTo>
                  <a:lnTo>
                    <a:pt x="175" y="195"/>
                  </a:lnTo>
                  <a:lnTo>
                    <a:pt x="166" y="205"/>
                  </a:lnTo>
                  <a:lnTo>
                    <a:pt x="175" y="215"/>
                  </a:lnTo>
                  <a:lnTo>
                    <a:pt x="166" y="225"/>
                  </a:lnTo>
                  <a:lnTo>
                    <a:pt x="156" y="225"/>
                  </a:lnTo>
                  <a:lnTo>
                    <a:pt x="146" y="225"/>
                  </a:lnTo>
                  <a:lnTo>
                    <a:pt x="127" y="225"/>
                  </a:lnTo>
                  <a:lnTo>
                    <a:pt x="127" y="234"/>
                  </a:lnTo>
                  <a:lnTo>
                    <a:pt x="136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Freeform 382"/>
            <p:cNvSpPr>
              <a:spLocks/>
            </p:cNvSpPr>
            <p:nvPr/>
          </p:nvSpPr>
          <p:spPr bwMode="auto">
            <a:xfrm>
              <a:off x="1435" y="1716"/>
              <a:ext cx="262" cy="186"/>
            </a:xfrm>
            <a:custGeom>
              <a:avLst/>
              <a:gdLst>
                <a:gd name="T0" fmla="*/ 244 w 263"/>
                <a:gd name="T1" fmla="*/ 186 h 186"/>
                <a:gd name="T2" fmla="*/ 224 w 263"/>
                <a:gd name="T3" fmla="*/ 186 h 186"/>
                <a:gd name="T4" fmla="*/ 195 w 263"/>
                <a:gd name="T5" fmla="*/ 186 h 186"/>
                <a:gd name="T6" fmla="*/ 166 w 263"/>
                <a:gd name="T7" fmla="*/ 186 h 186"/>
                <a:gd name="T8" fmla="*/ 156 w 263"/>
                <a:gd name="T9" fmla="*/ 176 h 186"/>
                <a:gd name="T10" fmla="*/ 136 w 263"/>
                <a:gd name="T11" fmla="*/ 156 h 186"/>
                <a:gd name="T12" fmla="*/ 136 w 263"/>
                <a:gd name="T13" fmla="*/ 147 h 186"/>
                <a:gd name="T14" fmla="*/ 127 w 263"/>
                <a:gd name="T15" fmla="*/ 156 h 186"/>
                <a:gd name="T16" fmla="*/ 127 w 263"/>
                <a:gd name="T17" fmla="*/ 176 h 186"/>
                <a:gd name="T18" fmla="*/ 107 w 263"/>
                <a:gd name="T19" fmla="*/ 176 h 186"/>
                <a:gd name="T20" fmla="*/ 88 w 263"/>
                <a:gd name="T21" fmla="*/ 176 h 186"/>
                <a:gd name="T22" fmla="*/ 78 w 263"/>
                <a:gd name="T23" fmla="*/ 186 h 186"/>
                <a:gd name="T24" fmla="*/ 68 w 263"/>
                <a:gd name="T25" fmla="*/ 186 h 186"/>
                <a:gd name="T26" fmla="*/ 58 w 263"/>
                <a:gd name="T27" fmla="*/ 186 h 186"/>
                <a:gd name="T28" fmla="*/ 49 w 263"/>
                <a:gd name="T29" fmla="*/ 176 h 186"/>
                <a:gd name="T30" fmla="*/ 10 w 263"/>
                <a:gd name="T31" fmla="*/ 147 h 186"/>
                <a:gd name="T32" fmla="*/ 10 w 263"/>
                <a:gd name="T33" fmla="*/ 137 h 186"/>
                <a:gd name="T34" fmla="*/ 0 w 263"/>
                <a:gd name="T35" fmla="*/ 117 h 186"/>
                <a:gd name="T36" fmla="*/ 10 w 263"/>
                <a:gd name="T37" fmla="*/ 108 h 186"/>
                <a:gd name="T38" fmla="*/ 19 w 263"/>
                <a:gd name="T39" fmla="*/ 98 h 186"/>
                <a:gd name="T40" fmla="*/ 19 w 263"/>
                <a:gd name="T41" fmla="*/ 88 h 186"/>
                <a:gd name="T42" fmla="*/ 19 w 263"/>
                <a:gd name="T43" fmla="*/ 68 h 186"/>
                <a:gd name="T44" fmla="*/ 19 w 263"/>
                <a:gd name="T45" fmla="*/ 59 h 186"/>
                <a:gd name="T46" fmla="*/ 19 w 263"/>
                <a:gd name="T47" fmla="*/ 49 h 186"/>
                <a:gd name="T48" fmla="*/ 29 w 263"/>
                <a:gd name="T49" fmla="*/ 39 h 186"/>
                <a:gd name="T50" fmla="*/ 19 w 263"/>
                <a:gd name="T51" fmla="*/ 20 h 186"/>
                <a:gd name="T52" fmla="*/ 19 w 263"/>
                <a:gd name="T53" fmla="*/ 20 h 186"/>
                <a:gd name="T54" fmla="*/ 29 w 263"/>
                <a:gd name="T55" fmla="*/ 20 h 186"/>
                <a:gd name="T56" fmla="*/ 49 w 263"/>
                <a:gd name="T57" fmla="*/ 10 h 186"/>
                <a:gd name="T58" fmla="*/ 78 w 263"/>
                <a:gd name="T59" fmla="*/ 0 h 186"/>
                <a:gd name="T60" fmla="*/ 88 w 263"/>
                <a:gd name="T61" fmla="*/ 20 h 186"/>
                <a:gd name="T62" fmla="*/ 88 w 263"/>
                <a:gd name="T63" fmla="*/ 29 h 186"/>
                <a:gd name="T64" fmla="*/ 107 w 263"/>
                <a:gd name="T65" fmla="*/ 29 h 186"/>
                <a:gd name="T66" fmla="*/ 107 w 263"/>
                <a:gd name="T67" fmla="*/ 29 h 186"/>
                <a:gd name="T68" fmla="*/ 127 w 263"/>
                <a:gd name="T69" fmla="*/ 39 h 186"/>
                <a:gd name="T70" fmla="*/ 146 w 263"/>
                <a:gd name="T71" fmla="*/ 29 h 186"/>
                <a:gd name="T72" fmla="*/ 166 w 263"/>
                <a:gd name="T73" fmla="*/ 39 h 186"/>
                <a:gd name="T74" fmla="*/ 195 w 263"/>
                <a:gd name="T75" fmla="*/ 39 h 186"/>
                <a:gd name="T76" fmla="*/ 205 w 263"/>
                <a:gd name="T77" fmla="*/ 29 h 186"/>
                <a:gd name="T78" fmla="*/ 214 w 263"/>
                <a:gd name="T79" fmla="*/ 49 h 186"/>
                <a:gd name="T80" fmla="*/ 214 w 263"/>
                <a:gd name="T81" fmla="*/ 68 h 186"/>
                <a:gd name="T82" fmla="*/ 234 w 263"/>
                <a:gd name="T83" fmla="*/ 88 h 186"/>
                <a:gd name="T84" fmla="*/ 244 w 263"/>
                <a:gd name="T85" fmla="*/ 88 h 186"/>
                <a:gd name="T86" fmla="*/ 253 w 263"/>
                <a:gd name="T87" fmla="*/ 88 h 186"/>
                <a:gd name="T88" fmla="*/ 263 w 263"/>
                <a:gd name="T89" fmla="*/ 117 h 186"/>
                <a:gd name="T90" fmla="*/ 263 w 263"/>
                <a:gd name="T91" fmla="*/ 147 h 186"/>
                <a:gd name="T92" fmla="*/ 244 w 263"/>
                <a:gd name="T93" fmla="*/ 156 h 186"/>
                <a:gd name="T94" fmla="*/ 234 w 263"/>
                <a:gd name="T95" fmla="*/ 176 h 186"/>
                <a:gd name="T96" fmla="*/ 244 w 263"/>
                <a:gd name="T97" fmla="*/ 186 h 18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63"/>
                <a:gd name="T148" fmla="*/ 0 h 186"/>
                <a:gd name="T149" fmla="*/ 263 w 263"/>
                <a:gd name="T150" fmla="*/ 186 h 18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63" h="186">
                  <a:moveTo>
                    <a:pt x="244" y="186"/>
                  </a:moveTo>
                  <a:lnTo>
                    <a:pt x="224" y="186"/>
                  </a:lnTo>
                  <a:lnTo>
                    <a:pt x="195" y="186"/>
                  </a:lnTo>
                  <a:lnTo>
                    <a:pt x="166" y="186"/>
                  </a:lnTo>
                  <a:lnTo>
                    <a:pt x="156" y="176"/>
                  </a:lnTo>
                  <a:lnTo>
                    <a:pt x="136" y="156"/>
                  </a:lnTo>
                  <a:lnTo>
                    <a:pt x="136" y="147"/>
                  </a:lnTo>
                  <a:lnTo>
                    <a:pt x="127" y="156"/>
                  </a:lnTo>
                  <a:lnTo>
                    <a:pt x="127" y="176"/>
                  </a:lnTo>
                  <a:lnTo>
                    <a:pt x="107" y="17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68" y="186"/>
                  </a:lnTo>
                  <a:lnTo>
                    <a:pt x="58" y="186"/>
                  </a:lnTo>
                  <a:lnTo>
                    <a:pt x="49" y="176"/>
                  </a:lnTo>
                  <a:lnTo>
                    <a:pt x="10" y="147"/>
                  </a:lnTo>
                  <a:lnTo>
                    <a:pt x="10" y="13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9" y="98"/>
                  </a:lnTo>
                  <a:lnTo>
                    <a:pt x="19" y="88"/>
                  </a:lnTo>
                  <a:lnTo>
                    <a:pt x="19" y="68"/>
                  </a:lnTo>
                  <a:lnTo>
                    <a:pt x="19" y="59"/>
                  </a:lnTo>
                  <a:lnTo>
                    <a:pt x="19" y="49"/>
                  </a:lnTo>
                  <a:lnTo>
                    <a:pt x="29" y="39"/>
                  </a:lnTo>
                  <a:lnTo>
                    <a:pt x="19" y="20"/>
                  </a:lnTo>
                  <a:lnTo>
                    <a:pt x="29" y="20"/>
                  </a:lnTo>
                  <a:lnTo>
                    <a:pt x="49" y="10"/>
                  </a:lnTo>
                  <a:lnTo>
                    <a:pt x="78" y="0"/>
                  </a:lnTo>
                  <a:lnTo>
                    <a:pt x="88" y="20"/>
                  </a:lnTo>
                  <a:lnTo>
                    <a:pt x="88" y="29"/>
                  </a:lnTo>
                  <a:lnTo>
                    <a:pt x="107" y="29"/>
                  </a:lnTo>
                  <a:lnTo>
                    <a:pt x="127" y="39"/>
                  </a:lnTo>
                  <a:lnTo>
                    <a:pt x="146" y="29"/>
                  </a:lnTo>
                  <a:lnTo>
                    <a:pt x="166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49"/>
                  </a:lnTo>
                  <a:lnTo>
                    <a:pt x="214" y="68"/>
                  </a:lnTo>
                  <a:lnTo>
                    <a:pt x="234" y="88"/>
                  </a:lnTo>
                  <a:lnTo>
                    <a:pt x="244" y="88"/>
                  </a:lnTo>
                  <a:lnTo>
                    <a:pt x="253" y="88"/>
                  </a:lnTo>
                  <a:lnTo>
                    <a:pt x="263" y="117"/>
                  </a:lnTo>
                  <a:lnTo>
                    <a:pt x="263" y="147"/>
                  </a:lnTo>
                  <a:lnTo>
                    <a:pt x="244" y="156"/>
                  </a:lnTo>
                  <a:lnTo>
                    <a:pt x="234" y="176"/>
                  </a:lnTo>
                  <a:lnTo>
                    <a:pt x="244" y="18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Freeform 381"/>
            <p:cNvSpPr>
              <a:spLocks/>
            </p:cNvSpPr>
            <p:nvPr/>
          </p:nvSpPr>
          <p:spPr bwMode="auto">
            <a:xfrm>
              <a:off x="1638" y="1687"/>
              <a:ext cx="253" cy="322"/>
            </a:xfrm>
            <a:custGeom>
              <a:avLst/>
              <a:gdLst>
                <a:gd name="T0" fmla="*/ 48 w 253"/>
                <a:gd name="T1" fmla="*/ 234 h 322"/>
                <a:gd name="T2" fmla="*/ 48 w 253"/>
                <a:gd name="T3" fmla="*/ 244 h 322"/>
                <a:gd name="T4" fmla="*/ 48 w 253"/>
                <a:gd name="T5" fmla="*/ 273 h 322"/>
                <a:gd name="T6" fmla="*/ 39 w 253"/>
                <a:gd name="T7" fmla="*/ 302 h 322"/>
                <a:gd name="T8" fmla="*/ 48 w 253"/>
                <a:gd name="T9" fmla="*/ 302 h 322"/>
                <a:gd name="T10" fmla="*/ 68 w 253"/>
                <a:gd name="T11" fmla="*/ 302 h 322"/>
                <a:gd name="T12" fmla="*/ 87 w 253"/>
                <a:gd name="T13" fmla="*/ 293 h 322"/>
                <a:gd name="T14" fmla="*/ 97 w 253"/>
                <a:gd name="T15" fmla="*/ 302 h 322"/>
                <a:gd name="T16" fmla="*/ 146 w 253"/>
                <a:gd name="T17" fmla="*/ 322 h 322"/>
                <a:gd name="T18" fmla="*/ 185 w 253"/>
                <a:gd name="T19" fmla="*/ 322 h 322"/>
                <a:gd name="T20" fmla="*/ 205 w 253"/>
                <a:gd name="T21" fmla="*/ 312 h 322"/>
                <a:gd name="T22" fmla="*/ 224 w 253"/>
                <a:gd name="T23" fmla="*/ 302 h 322"/>
                <a:gd name="T24" fmla="*/ 224 w 253"/>
                <a:gd name="T25" fmla="*/ 273 h 322"/>
                <a:gd name="T26" fmla="*/ 214 w 253"/>
                <a:gd name="T27" fmla="*/ 244 h 322"/>
                <a:gd name="T28" fmla="*/ 214 w 253"/>
                <a:gd name="T29" fmla="*/ 205 h 322"/>
                <a:gd name="T30" fmla="*/ 205 w 253"/>
                <a:gd name="T31" fmla="*/ 176 h 322"/>
                <a:gd name="T32" fmla="*/ 253 w 253"/>
                <a:gd name="T33" fmla="*/ 127 h 322"/>
                <a:gd name="T34" fmla="*/ 253 w 253"/>
                <a:gd name="T35" fmla="*/ 97 h 322"/>
                <a:gd name="T36" fmla="*/ 244 w 253"/>
                <a:gd name="T37" fmla="*/ 88 h 322"/>
                <a:gd name="T38" fmla="*/ 224 w 253"/>
                <a:gd name="T39" fmla="*/ 68 h 322"/>
                <a:gd name="T40" fmla="*/ 205 w 253"/>
                <a:gd name="T41" fmla="*/ 78 h 322"/>
                <a:gd name="T42" fmla="*/ 185 w 253"/>
                <a:gd name="T43" fmla="*/ 78 h 322"/>
                <a:gd name="T44" fmla="*/ 166 w 253"/>
                <a:gd name="T45" fmla="*/ 49 h 322"/>
                <a:gd name="T46" fmla="*/ 127 w 253"/>
                <a:gd name="T47" fmla="*/ 19 h 322"/>
                <a:gd name="T48" fmla="*/ 107 w 253"/>
                <a:gd name="T49" fmla="*/ 0 h 322"/>
                <a:gd name="T50" fmla="*/ 68 w 253"/>
                <a:gd name="T51" fmla="*/ 0 h 322"/>
                <a:gd name="T52" fmla="*/ 58 w 253"/>
                <a:gd name="T53" fmla="*/ 19 h 322"/>
                <a:gd name="T54" fmla="*/ 19 w 253"/>
                <a:gd name="T55" fmla="*/ 49 h 322"/>
                <a:gd name="T56" fmla="*/ 9 w 253"/>
                <a:gd name="T57" fmla="*/ 78 h 322"/>
                <a:gd name="T58" fmla="*/ 29 w 253"/>
                <a:gd name="T59" fmla="*/ 107 h 322"/>
                <a:gd name="T60" fmla="*/ 48 w 253"/>
                <a:gd name="T61" fmla="*/ 117 h 322"/>
                <a:gd name="T62" fmla="*/ 58 w 253"/>
                <a:gd name="T63" fmla="*/ 176 h 322"/>
                <a:gd name="T64" fmla="*/ 97 w 253"/>
                <a:gd name="T65" fmla="*/ 156 h 322"/>
                <a:gd name="T66" fmla="*/ 97 w 253"/>
                <a:gd name="T67" fmla="*/ 146 h 322"/>
                <a:gd name="T68" fmla="*/ 117 w 253"/>
                <a:gd name="T69" fmla="*/ 127 h 322"/>
                <a:gd name="T70" fmla="*/ 146 w 253"/>
                <a:gd name="T71" fmla="*/ 127 h 322"/>
                <a:gd name="T72" fmla="*/ 166 w 253"/>
                <a:gd name="T73" fmla="*/ 127 h 322"/>
                <a:gd name="T74" fmla="*/ 175 w 253"/>
                <a:gd name="T75" fmla="*/ 146 h 322"/>
                <a:gd name="T76" fmla="*/ 175 w 253"/>
                <a:gd name="T77" fmla="*/ 166 h 322"/>
                <a:gd name="T78" fmla="*/ 166 w 253"/>
                <a:gd name="T79" fmla="*/ 185 h 322"/>
                <a:gd name="T80" fmla="*/ 136 w 253"/>
                <a:gd name="T81" fmla="*/ 185 h 322"/>
                <a:gd name="T82" fmla="*/ 117 w 253"/>
                <a:gd name="T83" fmla="*/ 185 h 322"/>
                <a:gd name="T84" fmla="*/ 97 w 253"/>
                <a:gd name="T85" fmla="*/ 176 h 322"/>
                <a:gd name="T86" fmla="*/ 58 w 253"/>
                <a:gd name="T87" fmla="*/ 176 h 322"/>
                <a:gd name="T88" fmla="*/ 29 w 253"/>
                <a:gd name="T89" fmla="*/ 205 h 322"/>
                <a:gd name="T90" fmla="*/ 39 w 253"/>
                <a:gd name="T91" fmla="*/ 224 h 3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3"/>
                <a:gd name="T139" fmla="*/ 0 h 322"/>
                <a:gd name="T140" fmla="*/ 253 w 253"/>
                <a:gd name="T141" fmla="*/ 322 h 3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3" h="322">
                  <a:moveTo>
                    <a:pt x="39" y="234"/>
                  </a:moveTo>
                  <a:lnTo>
                    <a:pt x="48" y="234"/>
                  </a:lnTo>
                  <a:lnTo>
                    <a:pt x="58" y="234"/>
                  </a:lnTo>
                  <a:lnTo>
                    <a:pt x="48" y="244"/>
                  </a:lnTo>
                  <a:lnTo>
                    <a:pt x="58" y="263"/>
                  </a:lnTo>
                  <a:lnTo>
                    <a:pt x="48" y="273"/>
                  </a:lnTo>
                  <a:lnTo>
                    <a:pt x="39" y="283"/>
                  </a:lnTo>
                  <a:lnTo>
                    <a:pt x="39" y="302"/>
                  </a:lnTo>
                  <a:lnTo>
                    <a:pt x="39" y="312"/>
                  </a:lnTo>
                  <a:lnTo>
                    <a:pt x="48" y="302"/>
                  </a:lnTo>
                  <a:lnTo>
                    <a:pt x="58" y="312"/>
                  </a:lnTo>
                  <a:lnTo>
                    <a:pt x="68" y="302"/>
                  </a:lnTo>
                  <a:lnTo>
                    <a:pt x="68" y="293"/>
                  </a:lnTo>
                  <a:lnTo>
                    <a:pt x="87" y="293"/>
                  </a:lnTo>
                  <a:lnTo>
                    <a:pt x="97" y="302"/>
                  </a:lnTo>
                  <a:lnTo>
                    <a:pt x="117" y="302"/>
                  </a:lnTo>
                  <a:lnTo>
                    <a:pt x="146" y="322"/>
                  </a:lnTo>
                  <a:lnTo>
                    <a:pt x="166" y="312"/>
                  </a:lnTo>
                  <a:lnTo>
                    <a:pt x="185" y="322"/>
                  </a:lnTo>
                  <a:lnTo>
                    <a:pt x="205" y="322"/>
                  </a:lnTo>
                  <a:lnTo>
                    <a:pt x="205" y="312"/>
                  </a:lnTo>
                  <a:lnTo>
                    <a:pt x="224" y="312"/>
                  </a:lnTo>
                  <a:lnTo>
                    <a:pt x="224" y="302"/>
                  </a:lnTo>
                  <a:lnTo>
                    <a:pt x="224" y="283"/>
                  </a:lnTo>
                  <a:lnTo>
                    <a:pt x="224" y="273"/>
                  </a:lnTo>
                  <a:lnTo>
                    <a:pt x="234" y="263"/>
                  </a:lnTo>
                  <a:lnTo>
                    <a:pt x="214" y="244"/>
                  </a:lnTo>
                  <a:lnTo>
                    <a:pt x="214" y="224"/>
                  </a:lnTo>
                  <a:lnTo>
                    <a:pt x="214" y="205"/>
                  </a:lnTo>
                  <a:lnTo>
                    <a:pt x="205" y="195"/>
                  </a:lnTo>
                  <a:lnTo>
                    <a:pt x="205" y="176"/>
                  </a:lnTo>
                  <a:lnTo>
                    <a:pt x="244" y="146"/>
                  </a:lnTo>
                  <a:lnTo>
                    <a:pt x="253" y="127"/>
                  </a:lnTo>
                  <a:lnTo>
                    <a:pt x="253" y="107"/>
                  </a:lnTo>
                  <a:lnTo>
                    <a:pt x="253" y="97"/>
                  </a:lnTo>
                  <a:lnTo>
                    <a:pt x="253" y="88"/>
                  </a:lnTo>
                  <a:lnTo>
                    <a:pt x="244" y="88"/>
                  </a:lnTo>
                  <a:lnTo>
                    <a:pt x="234" y="68"/>
                  </a:lnTo>
                  <a:lnTo>
                    <a:pt x="224" y="68"/>
                  </a:lnTo>
                  <a:lnTo>
                    <a:pt x="214" y="78"/>
                  </a:lnTo>
                  <a:lnTo>
                    <a:pt x="205" y="78"/>
                  </a:lnTo>
                  <a:lnTo>
                    <a:pt x="195" y="78"/>
                  </a:lnTo>
                  <a:lnTo>
                    <a:pt x="185" y="78"/>
                  </a:lnTo>
                  <a:lnTo>
                    <a:pt x="185" y="58"/>
                  </a:lnTo>
                  <a:lnTo>
                    <a:pt x="166" y="49"/>
                  </a:lnTo>
                  <a:lnTo>
                    <a:pt x="127" y="39"/>
                  </a:lnTo>
                  <a:lnTo>
                    <a:pt x="127" y="19"/>
                  </a:lnTo>
                  <a:lnTo>
                    <a:pt x="127" y="0"/>
                  </a:lnTo>
                  <a:lnTo>
                    <a:pt x="107" y="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58" y="10"/>
                  </a:lnTo>
                  <a:lnTo>
                    <a:pt x="58" y="19"/>
                  </a:lnTo>
                  <a:lnTo>
                    <a:pt x="48" y="29"/>
                  </a:lnTo>
                  <a:lnTo>
                    <a:pt x="19" y="49"/>
                  </a:lnTo>
                  <a:lnTo>
                    <a:pt x="0" y="58"/>
                  </a:lnTo>
                  <a:lnTo>
                    <a:pt x="9" y="78"/>
                  </a:lnTo>
                  <a:lnTo>
                    <a:pt x="9" y="97"/>
                  </a:lnTo>
                  <a:lnTo>
                    <a:pt x="29" y="107"/>
                  </a:lnTo>
                  <a:lnTo>
                    <a:pt x="39" y="117"/>
                  </a:lnTo>
                  <a:lnTo>
                    <a:pt x="48" y="117"/>
                  </a:lnTo>
                  <a:lnTo>
                    <a:pt x="58" y="146"/>
                  </a:lnTo>
                  <a:lnTo>
                    <a:pt x="58" y="176"/>
                  </a:lnTo>
                  <a:lnTo>
                    <a:pt x="97" y="166"/>
                  </a:lnTo>
                  <a:lnTo>
                    <a:pt x="97" y="156"/>
                  </a:lnTo>
                  <a:lnTo>
                    <a:pt x="97" y="146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27" y="127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66" y="127"/>
                  </a:lnTo>
                  <a:lnTo>
                    <a:pt x="175" y="137"/>
                  </a:lnTo>
                  <a:lnTo>
                    <a:pt x="175" y="146"/>
                  </a:lnTo>
                  <a:lnTo>
                    <a:pt x="175" y="156"/>
                  </a:lnTo>
                  <a:lnTo>
                    <a:pt x="175" y="166"/>
                  </a:lnTo>
                  <a:lnTo>
                    <a:pt x="175" y="176"/>
                  </a:lnTo>
                  <a:lnTo>
                    <a:pt x="166" y="185"/>
                  </a:lnTo>
                  <a:lnTo>
                    <a:pt x="156" y="185"/>
                  </a:lnTo>
                  <a:lnTo>
                    <a:pt x="136" y="185"/>
                  </a:lnTo>
                  <a:lnTo>
                    <a:pt x="127" y="185"/>
                  </a:lnTo>
                  <a:lnTo>
                    <a:pt x="117" y="185"/>
                  </a:lnTo>
                  <a:lnTo>
                    <a:pt x="107" y="18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58" y="176"/>
                  </a:lnTo>
                  <a:lnTo>
                    <a:pt x="48" y="185"/>
                  </a:lnTo>
                  <a:lnTo>
                    <a:pt x="29" y="205"/>
                  </a:lnTo>
                  <a:lnTo>
                    <a:pt x="39" y="215"/>
                  </a:lnTo>
                  <a:lnTo>
                    <a:pt x="39" y="224"/>
                  </a:lnTo>
                  <a:lnTo>
                    <a:pt x="39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Freeform 380"/>
            <p:cNvSpPr>
              <a:spLocks/>
            </p:cNvSpPr>
            <p:nvPr/>
          </p:nvSpPr>
          <p:spPr bwMode="auto">
            <a:xfrm>
              <a:off x="1942" y="1853"/>
              <a:ext cx="234" cy="197"/>
            </a:xfrm>
            <a:custGeom>
              <a:avLst/>
              <a:gdLst>
                <a:gd name="T0" fmla="*/ 0 w 234"/>
                <a:gd name="T1" fmla="*/ 10 h 195"/>
                <a:gd name="T2" fmla="*/ 10 w 234"/>
                <a:gd name="T3" fmla="*/ 29 h 195"/>
                <a:gd name="T4" fmla="*/ 10 w 234"/>
                <a:gd name="T5" fmla="*/ 39 h 195"/>
                <a:gd name="T6" fmla="*/ 0 w 234"/>
                <a:gd name="T7" fmla="*/ 58 h 195"/>
                <a:gd name="T8" fmla="*/ 10 w 234"/>
                <a:gd name="T9" fmla="*/ 68 h 195"/>
                <a:gd name="T10" fmla="*/ 20 w 234"/>
                <a:gd name="T11" fmla="*/ 68 h 195"/>
                <a:gd name="T12" fmla="*/ 39 w 234"/>
                <a:gd name="T13" fmla="*/ 78 h 195"/>
                <a:gd name="T14" fmla="*/ 49 w 234"/>
                <a:gd name="T15" fmla="*/ 88 h 195"/>
                <a:gd name="T16" fmla="*/ 39 w 234"/>
                <a:gd name="T17" fmla="*/ 107 h 195"/>
                <a:gd name="T18" fmla="*/ 59 w 234"/>
                <a:gd name="T19" fmla="*/ 107 h 195"/>
                <a:gd name="T20" fmla="*/ 59 w 234"/>
                <a:gd name="T21" fmla="*/ 136 h 195"/>
                <a:gd name="T22" fmla="*/ 78 w 234"/>
                <a:gd name="T23" fmla="*/ 156 h 195"/>
                <a:gd name="T24" fmla="*/ 88 w 234"/>
                <a:gd name="T25" fmla="*/ 175 h 195"/>
                <a:gd name="T26" fmla="*/ 107 w 234"/>
                <a:gd name="T27" fmla="*/ 185 h 195"/>
                <a:gd name="T28" fmla="*/ 127 w 234"/>
                <a:gd name="T29" fmla="*/ 195 h 195"/>
                <a:gd name="T30" fmla="*/ 137 w 234"/>
                <a:gd name="T31" fmla="*/ 195 h 195"/>
                <a:gd name="T32" fmla="*/ 137 w 234"/>
                <a:gd name="T33" fmla="*/ 175 h 195"/>
                <a:gd name="T34" fmla="*/ 146 w 234"/>
                <a:gd name="T35" fmla="*/ 175 h 195"/>
                <a:gd name="T36" fmla="*/ 166 w 234"/>
                <a:gd name="T37" fmla="*/ 185 h 195"/>
                <a:gd name="T38" fmla="*/ 185 w 234"/>
                <a:gd name="T39" fmla="*/ 195 h 195"/>
                <a:gd name="T40" fmla="*/ 195 w 234"/>
                <a:gd name="T41" fmla="*/ 195 h 195"/>
                <a:gd name="T42" fmla="*/ 205 w 234"/>
                <a:gd name="T43" fmla="*/ 175 h 195"/>
                <a:gd name="T44" fmla="*/ 215 w 234"/>
                <a:gd name="T45" fmla="*/ 185 h 195"/>
                <a:gd name="T46" fmla="*/ 224 w 234"/>
                <a:gd name="T47" fmla="*/ 175 h 195"/>
                <a:gd name="T48" fmla="*/ 234 w 234"/>
                <a:gd name="T49" fmla="*/ 175 h 195"/>
                <a:gd name="T50" fmla="*/ 234 w 234"/>
                <a:gd name="T51" fmla="*/ 146 h 195"/>
                <a:gd name="T52" fmla="*/ 224 w 234"/>
                <a:gd name="T53" fmla="*/ 156 h 195"/>
                <a:gd name="T54" fmla="*/ 215 w 234"/>
                <a:gd name="T55" fmla="*/ 146 h 195"/>
                <a:gd name="T56" fmla="*/ 195 w 234"/>
                <a:gd name="T57" fmla="*/ 136 h 195"/>
                <a:gd name="T58" fmla="*/ 205 w 234"/>
                <a:gd name="T59" fmla="*/ 127 h 195"/>
                <a:gd name="T60" fmla="*/ 215 w 234"/>
                <a:gd name="T61" fmla="*/ 117 h 195"/>
                <a:gd name="T62" fmla="*/ 215 w 234"/>
                <a:gd name="T63" fmla="*/ 97 h 195"/>
                <a:gd name="T64" fmla="*/ 205 w 234"/>
                <a:gd name="T65" fmla="*/ 97 h 195"/>
                <a:gd name="T66" fmla="*/ 185 w 234"/>
                <a:gd name="T67" fmla="*/ 88 h 195"/>
                <a:gd name="T68" fmla="*/ 176 w 234"/>
                <a:gd name="T69" fmla="*/ 68 h 195"/>
                <a:gd name="T70" fmla="*/ 176 w 234"/>
                <a:gd name="T71" fmla="*/ 58 h 195"/>
                <a:gd name="T72" fmla="*/ 156 w 234"/>
                <a:gd name="T73" fmla="*/ 58 h 195"/>
                <a:gd name="T74" fmla="*/ 146 w 234"/>
                <a:gd name="T75" fmla="*/ 68 h 195"/>
                <a:gd name="T76" fmla="*/ 137 w 234"/>
                <a:gd name="T77" fmla="*/ 68 h 195"/>
                <a:gd name="T78" fmla="*/ 127 w 234"/>
                <a:gd name="T79" fmla="*/ 49 h 195"/>
                <a:gd name="T80" fmla="*/ 98 w 234"/>
                <a:gd name="T81" fmla="*/ 29 h 195"/>
                <a:gd name="T82" fmla="*/ 98 w 234"/>
                <a:gd name="T83" fmla="*/ 19 h 195"/>
                <a:gd name="T84" fmla="*/ 88 w 234"/>
                <a:gd name="T85" fmla="*/ 29 h 195"/>
                <a:gd name="T86" fmla="*/ 78 w 234"/>
                <a:gd name="T87" fmla="*/ 29 h 195"/>
                <a:gd name="T88" fmla="*/ 88 w 234"/>
                <a:gd name="T89" fmla="*/ 10 h 195"/>
                <a:gd name="T90" fmla="*/ 59 w 234"/>
                <a:gd name="T91" fmla="*/ 10 h 195"/>
                <a:gd name="T92" fmla="*/ 49 w 234"/>
                <a:gd name="T93" fmla="*/ 0 h 195"/>
                <a:gd name="T94" fmla="*/ 39 w 234"/>
                <a:gd name="T95" fmla="*/ 10 h 195"/>
                <a:gd name="T96" fmla="*/ 29 w 234"/>
                <a:gd name="T97" fmla="*/ 10 h 195"/>
                <a:gd name="T98" fmla="*/ 10 w 234"/>
                <a:gd name="T99" fmla="*/ 10 h 195"/>
                <a:gd name="T100" fmla="*/ 0 w 234"/>
                <a:gd name="T101" fmla="*/ 10 h 19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34"/>
                <a:gd name="T154" fmla="*/ 0 h 195"/>
                <a:gd name="T155" fmla="*/ 234 w 234"/>
                <a:gd name="T156" fmla="*/ 195 h 19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34" h="195">
                  <a:moveTo>
                    <a:pt x="0" y="10"/>
                  </a:moveTo>
                  <a:lnTo>
                    <a:pt x="10" y="29"/>
                  </a:lnTo>
                  <a:lnTo>
                    <a:pt x="10" y="39"/>
                  </a:lnTo>
                  <a:lnTo>
                    <a:pt x="0" y="58"/>
                  </a:lnTo>
                  <a:lnTo>
                    <a:pt x="10" y="68"/>
                  </a:lnTo>
                  <a:lnTo>
                    <a:pt x="20" y="68"/>
                  </a:lnTo>
                  <a:lnTo>
                    <a:pt x="39" y="78"/>
                  </a:lnTo>
                  <a:lnTo>
                    <a:pt x="4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59" y="136"/>
                  </a:lnTo>
                  <a:lnTo>
                    <a:pt x="78" y="156"/>
                  </a:lnTo>
                  <a:lnTo>
                    <a:pt x="88" y="175"/>
                  </a:lnTo>
                  <a:lnTo>
                    <a:pt x="107" y="185"/>
                  </a:lnTo>
                  <a:lnTo>
                    <a:pt x="127" y="195"/>
                  </a:lnTo>
                  <a:lnTo>
                    <a:pt x="137" y="195"/>
                  </a:lnTo>
                  <a:lnTo>
                    <a:pt x="137" y="175"/>
                  </a:lnTo>
                  <a:lnTo>
                    <a:pt x="146" y="175"/>
                  </a:lnTo>
                  <a:lnTo>
                    <a:pt x="166" y="185"/>
                  </a:lnTo>
                  <a:lnTo>
                    <a:pt x="185" y="195"/>
                  </a:lnTo>
                  <a:lnTo>
                    <a:pt x="195" y="195"/>
                  </a:lnTo>
                  <a:lnTo>
                    <a:pt x="205" y="175"/>
                  </a:lnTo>
                  <a:lnTo>
                    <a:pt x="215" y="185"/>
                  </a:lnTo>
                  <a:lnTo>
                    <a:pt x="224" y="175"/>
                  </a:lnTo>
                  <a:lnTo>
                    <a:pt x="234" y="175"/>
                  </a:lnTo>
                  <a:lnTo>
                    <a:pt x="234" y="146"/>
                  </a:lnTo>
                  <a:lnTo>
                    <a:pt x="224" y="156"/>
                  </a:lnTo>
                  <a:lnTo>
                    <a:pt x="215" y="146"/>
                  </a:lnTo>
                  <a:lnTo>
                    <a:pt x="195" y="136"/>
                  </a:lnTo>
                  <a:lnTo>
                    <a:pt x="205" y="127"/>
                  </a:lnTo>
                  <a:lnTo>
                    <a:pt x="215" y="117"/>
                  </a:lnTo>
                  <a:lnTo>
                    <a:pt x="215" y="97"/>
                  </a:lnTo>
                  <a:lnTo>
                    <a:pt x="205" y="97"/>
                  </a:lnTo>
                  <a:lnTo>
                    <a:pt x="185" y="88"/>
                  </a:lnTo>
                  <a:lnTo>
                    <a:pt x="176" y="68"/>
                  </a:lnTo>
                  <a:lnTo>
                    <a:pt x="176" y="58"/>
                  </a:lnTo>
                  <a:lnTo>
                    <a:pt x="156" y="58"/>
                  </a:lnTo>
                  <a:lnTo>
                    <a:pt x="146" y="68"/>
                  </a:lnTo>
                  <a:lnTo>
                    <a:pt x="137" y="68"/>
                  </a:lnTo>
                  <a:lnTo>
                    <a:pt x="127" y="49"/>
                  </a:lnTo>
                  <a:lnTo>
                    <a:pt x="98" y="29"/>
                  </a:lnTo>
                  <a:lnTo>
                    <a:pt x="98" y="19"/>
                  </a:lnTo>
                  <a:lnTo>
                    <a:pt x="88" y="29"/>
                  </a:lnTo>
                  <a:lnTo>
                    <a:pt x="78" y="29"/>
                  </a:lnTo>
                  <a:lnTo>
                    <a:pt x="88" y="10"/>
                  </a:lnTo>
                  <a:lnTo>
                    <a:pt x="59" y="10"/>
                  </a:lnTo>
                  <a:lnTo>
                    <a:pt x="49" y="0"/>
                  </a:lnTo>
                  <a:lnTo>
                    <a:pt x="39" y="10"/>
                  </a:lnTo>
                  <a:lnTo>
                    <a:pt x="29" y="10"/>
                  </a:lnTo>
                  <a:lnTo>
                    <a:pt x="1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Freeform 379"/>
            <p:cNvSpPr>
              <a:spLocks/>
            </p:cNvSpPr>
            <p:nvPr/>
          </p:nvSpPr>
          <p:spPr bwMode="auto">
            <a:xfrm>
              <a:off x="1835" y="1815"/>
              <a:ext cx="222" cy="290"/>
            </a:xfrm>
            <a:custGeom>
              <a:avLst/>
              <a:gdLst>
                <a:gd name="T0" fmla="*/ 10 w 224"/>
                <a:gd name="T1" fmla="*/ 195 h 292"/>
                <a:gd name="T2" fmla="*/ 19 w 224"/>
                <a:gd name="T3" fmla="*/ 205 h 292"/>
                <a:gd name="T4" fmla="*/ 19 w 224"/>
                <a:gd name="T5" fmla="*/ 224 h 292"/>
                <a:gd name="T6" fmla="*/ 29 w 224"/>
                <a:gd name="T7" fmla="*/ 224 h 292"/>
                <a:gd name="T8" fmla="*/ 39 w 224"/>
                <a:gd name="T9" fmla="*/ 234 h 292"/>
                <a:gd name="T10" fmla="*/ 39 w 224"/>
                <a:gd name="T11" fmla="*/ 244 h 292"/>
                <a:gd name="T12" fmla="*/ 49 w 224"/>
                <a:gd name="T13" fmla="*/ 253 h 292"/>
                <a:gd name="T14" fmla="*/ 58 w 224"/>
                <a:gd name="T15" fmla="*/ 273 h 292"/>
                <a:gd name="T16" fmla="*/ 58 w 224"/>
                <a:gd name="T17" fmla="*/ 292 h 292"/>
                <a:gd name="T18" fmla="*/ 88 w 224"/>
                <a:gd name="T19" fmla="*/ 283 h 292"/>
                <a:gd name="T20" fmla="*/ 107 w 224"/>
                <a:gd name="T21" fmla="*/ 273 h 292"/>
                <a:gd name="T22" fmla="*/ 127 w 224"/>
                <a:gd name="T23" fmla="*/ 273 h 292"/>
                <a:gd name="T24" fmla="*/ 146 w 224"/>
                <a:gd name="T25" fmla="*/ 273 h 292"/>
                <a:gd name="T26" fmla="*/ 156 w 224"/>
                <a:gd name="T27" fmla="*/ 253 h 292"/>
                <a:gd name="T28" fmla="*/ 166 w 224"/>
                <a:gd name="T29" fmla="*/ 253 h 292"/>
                <a:gd name="T30" fmla="*/ 195 w 224"/>
                <a:gd name="T31" fmla="*/ 263 h 292"/>
                <a:gd name="T32" fmla="*/ 205 w 224"/>
                <a:gd name="T33" fmla="*/ 253 h 292"/>
                <a:gd name="T34" fmla="*/ 205 w 224"/>
                <a:gd name="T35" fmla="*/ 244 h 292"/>
                <a:gd name="T36" fmla="*/ 224 w 224"/>
                <a:gd name="T37" fmla="*/ 234 h 292"/>
                <a:gd name="T38" fmla="*/ 214 w 224"/>
                <a:gd name="T39" fmla="*/ 224 h 292"/>
                <a:gd name="T40" fmla="*/ 195 w 224"/>
                <a:gd name="T41" fmla="*/ 214 h 292"/>
                <a:gd name="T42" fmla="*/ 175 w 224"/>
                <a:gd name="T43" fmla="*/ 195 h 292"/>
                <a:gd name="T44" fmla="*/ 156 w 224"/>
                <a:gd name="T45" fmla="*/ 175 h 292"/>
                <a:gd name="T46" fmla="*/ 156 w 224"/>
                <a:gd name="T47" fmla="*/ 146 h 292"/>
                <a:gd name="T48" fmla="*/ 136 w 224"/>
                <a:gd name="T49" fmla="*/ 146 h 292"/>
                <a:gd name="T50" fmla="*/ 146 w 224"/>
                <a:gd name="T51" fmla="*/ 127 h 292"/>
                <a:gd name="T52" fmla="*/ 136 w 224"/>
                <a:gd name="T53" fmla="*/ 117 h 292"/>
                <a:gd name="T54" fmla="*/ 127 w 224"/>
                <a:gd name="T55" fmla="*/ 107 h 292"/>
                <a:gd name="T56" fmla="*/ 107 w 224"/>
                <a:gd name="T57" fmla="*/ 107 h 292"/>
                <a:gd name="T58" fmla="*/ 107 w 224"/>
                <a:gd name="T59" fmla="*/ 97 h 292"/>
                <a:gd name="T60" fmla="*/ 117 w 224"/>
                <a:gd name="T61" fmla="*/ 78 h 292"/>
                <a:gd name="T62" fmla="*/ 117 w 224"/>
                <a:gd name="T63" fmla="*/ 68 h 292"/>
                <a:gd name="T64" fmla="*/ 107 w 224"/>
                <a:gd name="T65" fmla="*/ 49 h 292"/>
                <a:gd name="T66" fmla="*/ 88 w 224"/>
                <a:gd name="T67" fmla="*/ 49 h 292"/>
                <a:gd name="T68" fmla="*/ 58 w 224"/>
                <a:gd name="T69" fmla="*/ 19 h 292"/>
                <a:gd name="T70" fmla="*/ 58 w 224"/>
                <a:gd name="T71" fmla="*/ 10 h 292"/>
                <a:gd name="T72" fmla="*/ 58 w 224"/>
                <a:gd name="T73" fmla="*/ 0 h 292"/>
                <a:gd name="T74" fmla="*/ 39 w 224"/>
                <a:gd name="T75" fmla="*/ 19 h 292"/>
                <a:gd name="T76" fmla="*/ 10 w 224"/>
                <a:gd name="T77" fmla="*/ 49 h 292"/>
                <a:gd name="T78" fmla="*/ 0 w 224"/>
                <a:gd name="T79" fmla="*/ 68 h 292"/>
                <a:gd name="T80" fmla="*/ 19 w 224"/>
                <a:gd name="T81" fmla="*/ 78 h 292"/>
                <a:gd name="T82" fmla="*/ 19 w 224"/>
                <a:gd name="T83" fmla="*/ 97 h 292"/>
                <a:gd name="T84" fmla="*/ 19 w 224"/>
                <a:gd name="T85" fmla="*/ 117 h 292"/>
                <a:gd name="T86" fmla="*/ 39 w 224"/>
                <a:gd name="T87" fmla="*/ 136 h 292"/>
                <a:gd name="T88" fmla="*/ 29 w 224"/>
                <a:gd name="T89" fmla="*/ 146 h 292"/>
                <a:gd name="T90" fmla="*/ 29 w 224"/>
                <a:gd name="T91" fmla="*/ 156 h 292"/>
                <a:gd name="T92" fmla="*/ 29 w 224"/>
                <a:gd name="T93" fmla="*/ 175 h 292"/>
                <a:gd name="T94" fmla="*/ 29 w 224"/>
                <a:gd name="T95" fmla="*/ 185 h 292"/>
                <a:gd name="T96" fmla="*/ 10 w 224"/>
                <a:gd name="T97" fmla="*/ 185 h 292"/>
                <a:gd name="T98" fmla="*/ 10 w 224"/>
                <a:gd name="T99" fmla="*/ 195 h 2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4"/>
                <a:gd name="T151" fmla="*/ 0 h 292"/>
                <a:gd name="T152" fmla="*/ 224 w 224"/>
                <a:gd name="T153" fmla="*/ 292 h 29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4" h="292">
                  <a:moveTo>
                    <a:pt x="10" y="195"/>
                  </a:moveTo>
                  <a:lnTo>
                    <a:pt x="19" y="205"/>
                  </a:lnTo>
                  <a:lnTo>
                    <a:pt x="19" y="224"/>
                  </a:lnTo>
                  <a:lnTo>
                    <a:pt x="29" y="224"/>
                  </a:lnTo>
                  <a:lnTo>
                    <a:pt x="39" y="234"/>
                  </a:lnTo>
                  <a:lnTo>
                    <a:pt x="39" y="244"/>
                  </a:lnTo>
                  <a:lnTo>
                    <a:pt x="49" y="253"/>
                  </a:lnTo>
                  <a:lnTo>
                    <a:pt x="58" y="273"/>
                  </a:lnTo>
                  <a:lnTo>
                    <a:pt x="58" y="292"/>
                  </a:lnTo>
                  <a:lnTo>
                    <a:pt x="88" y="283"/>
                  </a:lnTo>
                  <a:lnTo>
                    <a:pt x="107" y="27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53"/>
                  </a:lnTo>
                  <a:lnTo>
                    <a:pt x="166" y="253"/>
                  </a:lnTo>
                  <a:lnTo>
                    <a:pt x="195" y="263"/>
                  </a:lnTo>
                  <a:lnTo>
                    <a:pt x="205" y="253"/>
                  </a:lnTo>
                  <a:lnTo>
                    <a:pt x="205" y="244"/>
                  </a:lnTo>
                  <a:lnTo>
                    <a:pt x="224" y="234"/>
                  </a:lnTo>
                  <a:lnTo>
                    <a:pt x="214" y="224"/>
                  </a:lnTo>
                  <a:lnTo>
                    <a:pt x="195" y="214"/>
                  </a:lnTo>
                  <a:lnTo>
                    <a:pt x="175" y="195"/>
                  </a:lnTo>
                  <a:lnTo>
                    <a:pt x="156" y="175"/>
                  </a:lnTo>
                  <a:lnTo>
                    <a:pt x="156" y="146"/>
                  </a:lnTo>
                  <a:lnTo>
                    <a:pt x="136" y="146"/>
                  </a:lnTo>
                  <a:lnTo>
                    <a:pt x="146" y="127"/>
                  </a:lnTo>
                  <a:lnTo>
                    <a:pt x="136" y="117"/>
                  </a:lnTo>
                  <a:lnTo>
                    <a:pt x="127" y="107"/>
                  </a:lnTo>
                  <a:lnTo>
                    <a:pt x="107" y="107"/>
                  </a:lnTo>
                  <a:lnTo>
                    <a:pt x="107" y="97"/>
                  </a:lnTo>
                  <a:lnTo>
                    <a:pt x="117" y="78"/>
                  </a:lnTo>
                  <a:lnTo>
                    <a:pt x="117" y="68"/>
                  </a:lnTo>
                  <a:lnTo>
                    <a:pt x="107" y="49"/>
                  </a:lnTo>
                  <a:lnTo>
                    <a:pt x="88" y="49"/>
                  </a:lnTo>
                  <a:lnTo>
                    <a:pt x="58" y="19"/>
                  </a:lnTo>
                  <a:lnTo>
                    <a:pt x="58" y="10"/>
                  </a:lnTo>
                  <a:lnTo>
                    <a:pt x="58" y="0"/>
                  </a:lnTo>
                  <a:lnTo>
                    <a:pt x="39" y="19"/>
                  </a:lnTo>
                  <a:lnTo>
                    <a:pt x="10" y="49"/>
                  </a:lnTo>
                  <a:lnTo>
                    <a:pt x="0" y="68"/>
                  </a:lnTo>
                  <a:lnTo>
                    <a:pt x="19" y="78"/>
                  </a:lnTo>
                  <a:lnTo>
                    <a:pt x="19" y="97"/>
                  </a:lnTo>
                  <a:lnTo>
                    <a:pt x="19" y="117"/>
                  </a:lnTo>
                  <a:lnTo>
                    <a:pt x="39" y="136"/>
                  </a:lnTo>
                  <a:lnTo>
                    <a:pt x="29" y="146"/>
                  </a:lnTo>
                  <a:lnTo>
                    <a:pt x="29" y="156"/>
                  </a:lnTo>
                  <a:lnTo>
                    <a:pt x="29" y="175"/>
                  </a:lnTo>
                  <a:lnTo>
                    <a:pt x="29" y="185"/>
                  </a:lnTo>
                  <a:lnTo>
                    <a:pt x="10" y="185"/>
                  </a:lnTo>
                  <a:lnTo>
                    <a:pt x="10" y="19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Freeform 378"/>
            <p:cNvSpPr>
              <a:spLocks/>
            </p:cNvSpPr>
            <p:nvPr/>
          </p:nvSpPr>
          <p:spPr bwMode="auto">
            <a:xfrm>
              <a:off x="1891" y="2030"/>
              <a:ext cx="498" cy="273"/>
            </a:xfrm>
            <a:custGeom>
              <a:avLst/>
              <a:gdLst>
                <a:gd name="T0" fmla="*/ 10 w 498"/>
                <a:gd name="T1" fmla="*/ 108 h 274"/>
                <a:gd name="T2" fmla="*/ 0 w 498"/>
                <a:gd name="T3" fmla="*/ 78 h 274"/>
                <a:gd name="T4" fmla="*/ 49 w 498"/>
                <a:gd name="T5" fmla="*/ 59 h 274"/>
                <a:gd name="T6" fmla="*/ 88 w 498"/>
                <a:gd name="T7" fmla="*/ 59 h 274"/>
                <a:gd name="T8" fmla="*/ 117 w 498"/>
                <a:gd name="T9" fmla="*/ 39 h 274"/>
                <a:gd name="T10" fmla="*/ 147 w 498"/>
                <a:gd name="T11" fmla="*/ 39 h 274"/>
                <a:gd name="T12" fmla="*/ 176 w 498"/>
                <a:gd name="T13" fmla="*/ 20 h 274"/>
                <a:gd name="T14" fmla="*/ 186 w 498"/>
                <a:gd name="T15" fmla="*/ 0 h 274"/>
                <a:gd name="T16" fmla="*/ 215 w 498"/>
                <a:gd name="T17" fmla="*/ 10 h 274"/>
                <a:gd name="T18" fmla="*/ 254 w 498"/>
                <a:gd name="T19" fmla="*/ 20 h 274"/>
                <a:gd name="T20" fmla="*/ 264 w 498"/>
                <a:gd name="T21" fmla="*/ 10 h 274"/>
                <a:gd name="T22" fmla="*/ 293 w 498"/>
                <a:gd name="T23" fmla="*/ 0 h 274"/>
                <a:gd name="T24" fmla="*/ 312 w 498"/>
                <a:gd name="T25" fmla="*/ 20 h 274"/>
                <a:gd name="T26" fmla="*/ 381 w 498"/>
                <a:gd name="T27" fmla="*/ 0 h 274"/>
                <a:gd name="T28" fmla="*/ 410 w 498"/>
                <a:gd name="T29" fmla="*/ 0 h 274"/>
                <a:gd name="T30" fmla="*/ 429 w 498"/>
                <a:gd name="T31" fmla="*/ 30 h 274"/>
                <a:gd name="T32" fmla="*/ 459 w 498"/>
                <a:gd name="T33" fmla="*/ 49 h 274"/>
                <a:gd name="T34" fmla="*/ 488 w 498"/>
                <a:gd name="T35" fmla="*/ 88 h 274"/>
                <a:gd name="T36" fmla="*/ 498 w 498"/>
                <a:gd name="T37" fmla="*/ 117 h 274"/>
                <a:gd name="T38" fmla="*/ 459 w 498"/>
                <a:gd name="T39" fmla="*/ 137 h 274"/>
                <a:gd name="T40" fmla="*/ 429 w 498"/>
                <a:gd name="T41" fmla="*/ 117 h 274"/>
                <a:gd name="T42" fmla="*/ 410 w 498"/>
                <a:gd name="T43" fmla="*/ 127 h 274"/>
                <a:gd name="T44" fmla="*/ 400 w 498"/>
                <a:gd name="T45" fmla="*/ 147 h 274"/>
                <a:gd name="T46" fmla="*/ 351 w 498"/>
                <a:gd name="T47" fmla="*/ 137 h 274"/>
                <a:gd name="T48" fmla="*/ 332 w 498"/>
                <a:gd name="T49" fmla="*/ 147 h 274"/>
                <a:gd name="T50" fmla="*/ 312 w 498"/>
                <a:gd name="T51" fmla="*/ 157 h 274"/>
                <a:gd name="T52" fmla="*/ 283 w 498"/>
                <a:gd name="T53" fmla="*/ 157 h 274"/>
                <a:gd name="T54" fmla="*/ 293 w 498"/>
                <a:gd name="T55" fmla="*/ 176 h 274"/>
                <a:gd name="T56" fmla="*/ 273 w 498"/>
                <a:gd name="T57" fmla="*/ 196 h 274"/>
                <a:gd name="T58" fmla="*/ 264 w 498"/>
                <a:gd name="T59" fmla="*/ 205 h 274"/>
                <a:gd name="T60" fmla="*/ 234 w 498"/>
                <a:gd name="T61" fmla="*/ 225 h 274"/>
                <a:gd name="T62" fmla="*/ 234 w 498"/>
                <a:gd name="T63" fmla="*/ 264 h 274"/>
                <a:gd name="T64" fmla="*/ 215 w 498"/>
                <a:gd name="T65" fmla="*/ 274 h 274"/>
                <a:gd name="T66" fmla="*/ 195 w 498"/>
                <a:gd name="T67" fmla="*/ 274 h 274"/>
                <a:gd name="T68" fmla="*/ 176 w 498"/>
                <a:gd name="T69" fmla="*/ 264 h 274"/>
                <a:gd name="T70" fmla="*/ 166 w 498"/>
                <a:gd name="T71" fmla="*/ 244 h 274"/>
                <a:gd name="T72" fmla="*/ 108 w 498"/>
                <a:gd name="T73" fmla="*/ 254 h 274"/>
                <a:gd name="T74" fmla="*/ 98 w 498"/>
                <a:gd name="T75" fmla="*/ 274 h 274"/>
                <a:gd name="T76" fmla="*/ 78 w 498"/>
                <a:gd name="T77" fmla="*/ 254 h 274"/>
                <a:gd name="T78" fmla="*/ 59 w 498"/>
                <a:gd name="T79" fmla="*/ 244 h 274"/>
                <a:gd name="T80" fmla="*/ 69 w 498"/>
                <a:gd name="T81" fmla="*/ 215 h 274"/>
                <a:gd name="T82" fmla="*/ 59 w 498"/>
                <a:gd name="T83" fmla="*/ 186 h 274"/>
                <a:gd name="T84" fmla="*/ 49 w 498"/>
                <a:gd name="T85" fmla="*/ 157 h 274"/>
                <a:gd name="T86" fmla="*/ 20 w 498"/>
                <a:gd name="T87" fmla="*/ 137 h 27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98"/>
                <a:gd name="T133" fmla="*/ 0 h 274"/>
                <a:gd name="T134" fmla="*/ 498 w 498"/>
                <a:gd name="T135" fmla="*/ 274 h 27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98" h="274">
                  <a:moveTo>
                    <a:pt x="10" y="127"/>
                  </a:moveTo>
                  <a:lnTo>
                    <a:pt x="10" y="108"/>
                  </a:lnTo>
                  <a:lnTo>
                    <a:pt x="0" y="98"/>
                  </a:lnTo>
                  <a:lnTo>
                    <a:pt x="0" y="78"/>
                  </a:lnTo>
                  <a:lnTo>
                    <a:pt x="30" y="69"/>
                  </a:lnTo>
                  <a:lnTo>
                    <a:pt x="49" y="59"/>
                  </a:lnTo>
                  <a:lnTo>
                    <a:pt x="69" y="59"/>
                  </a:lnTo>
                  <a:lnTo>
                    <a:pt x="88" y="59"/>
                  </a:lnTo>
                  <a:lnTo>
                    <a:pt x="108" y="39"/>
                  </a:lnTo>
                  <a:lnTo>
                    <a:pt x="117" y="39"/>
                  </a:lnTo>
                  <a:lnTo>
                    <a:pt x="137" y="49"/>
                  </a:lnTo>
                  <a:lnTo>
                    <a:pt x="147" y="39"/>
                  </a:lnTo>
                  <a:lnTo>
                    <a:pt x="147" y="30"/>
                  </a:lnTo>
                  <a:lnTo>
                    <a:pt x="176" y="20"/>
                  </a:lnTo>
                  <a:lnTo>
                    <a:pt x="186" y="20"/>
                  </a:lnTo>
                  <a:lnTo>
                    <a:pt x="186" y="0"/>
                  </a:lnTo>
                  <a:lnTo>
                    <a:pt x="205" y="0"/>
                  </a:lnTo>
                  <a:lnTo>
                    <a:pt x="215" y="10"/>
                  </a:lnTo>
                  <a:lnTo>
                    <a:pt x="234" y="20"/>
                  </a:lnTo>
                  <a:lnTo>
                    <a:pt x="254" y="20"/>
                  </a:lnTo>
                  <a:lnTo>
                    <a:pt x="254" y="0"/>
                  </a:lnTo>
                  <a:lnTo>
                    <a:pt x="264" y="10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293" y="10"/>
                  </a:lnTo>
                  <a:lnTo>
                    <a:pt x="312" y="20"/>
                  </a:lnTo>
                  <a:lnTo>
                    <a:pt x="361" y="20"/>
                  </a:lnTo>
                  <a:lnTo>
                    <a:pt x="381" y="0"/>
                  </a:lnTo>
                  <a:lnTo>
                    <a:pt x="390" y="0"/>
                  </a:lnTo>
                  <a:lnTo>
                    <a:pt x="410" y="0"/>
                  </a:lnTo>
                  <a:lnTo>
                    <a:pt x="410" y="20"/>
                  </a:lnTo>
                  <a:lnTo>
                    <a:pt x="429" y="30"/>
                  </a:lnTo>
                  <a:lnTo>
                    <a:pt x="449" y="39"/>
                  </a:lnTo>
                  <a:lnTo>
                    <a:pt x="459" y="49"/>
                  </a:lnTo>
                  <a:lnTo>
                    <a:pt x="469" y="69"/>
                  </a:lnTo>
                  <a:lnTo>
                    <a:pt x="488" y="88"/>
                  </a:lnTo>
                  <a:lnTo>
                    <a:pt x="498" y="98"/>
                  </a:lnTo>
                  <a:lnTo>
                    <a:pt x="498" y="117"/>
                  </a:lnTo>
                  <a:lnTo>
                    <a:pt x="478" y="127"/>
                  </a:lnTo>
                  <a:lnTo>
                    <a:pt x="459" y="137"/>
                  </a:lnTo>
                  <a:lnTo>
                    <a:pt x="449" y="127"/>
                  </a:lnTo>
                  <a:lnTo>
                    <a:pt x="429" y="117"/>
                  </a:lnTo>
                  <a:lnTo>
                    <a:pt x="420" y="117"/>
                  </a:lnTo>
                  <a:lnTo>
                    <a:pt x="410" y="127"/>
                  </a:lnTo>
                  <a:lnTo>
                    <a:pt x="410" y="137"/>
                  </a:lnTo>
                  <a:lnTo>
                    <a:pt x="400" y="147"/>
                  </a:lnTo>
                  <a:lnTo>
                    <a:pt x="381" y="166"/>
                  </a:lnTo>
                  <a:lnTo>
                    <a:pt x="351" y="137"/>
                  </a:lnTo>
                  <a:lnTo>
                    <a:pt x="342" y="137"/>
                  </a:lnTo>
                  <a:lnTo>
                    <a:pt x="332" y="147"/>
                  </a:lnTo>
                  <a:lnTo>
                    <a:pt x="312" y="147"/>
                  </a:lnTo>
                  <a:lnTo>
                    <a:pt x="312" y="157"/>
                  </a:lnTo>
                  <a:lnTo>
                    <a:pt x="293" y="137"/>
                  </a:lnTo>
                  <a:lnTo>
                    <a:pt x="283" y="157"/>
                  </a:lnTo>
                  <a:lnTo>
                    <a:pt x="293" y="166"/>
                  </a:lnTo>
                  <a:lnTo>
                    <a:pt x="293" y="176"/>
                  </a:lnTo>
                  <a:lnTo>
                    <a:pt x="283" y="176"/>
                  </a:lnTo>
                  <a:lnTo>
                    <a:pt x="273" y="196"/>
                  </a:lnTo>
                  <a:lnTo>
                    <a:pt x="273" y="205"/>
                  </a:lnTo>
                  <a:lnTo>
                    <a:pt x="264" y="205"/>
                  </a:lnTo>
                  <a:lnTo>
                    <a:pt x="254" y="225"/>
                  </a:lnTo>
                  <a:lnTo>
                    <a:pt x="234" y="225"/>
                  </a:lnTo>
                  <a:lnTo>
                    <a:pt x="234" y="235"/>
                  </a:lnTo>
                  <a:lnTo>
                    <a:pt x="234" y="264"/>
                  </a:lnTo>
                  <a:lnTo>
                    <a:pt x="215" y="27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76" y="274"/>
                  </a:lnTo>
                  <a:lnTo>
                    <a:pt x="176" y="264"/>
                  </a:lnTo>
                  <a:lnTo>
                    <a:pt x="176" y="254"/>
                  </a:lnTo>
                  <a:lnTo>
                    <a:pt x="166" y="244"/>
                  </a:lnTo>
                  <a:lnTo>
                    <a:pt x="137" y="264"/>
                  </a:lnTo>
                  <a:lnTo>
                    <a:pt x="108" y="254"/>
                  </a:lnTo>
                  <a:lnTo>
                    <a:pt x="108" y="264"/>
                  </a:lnTo>
                  <a:lnTo>
                    <a:pt x="98" y="274"/>
                  </a:lnTo>
                  <a:lnTo>
                    <a:pt x="88" y="274"/>
                  </a:lnTo>
                  <a:lnTo>
                    <a:pt x="78" y="254"/>
                  </a:lnTo>
                  <a:lnTo>
                    <a:pt x="78" y="244"/>
                  </a:lnTo>
                  <a:lnTo>
                    <a:pt x="59" y="244"/>
                  </a:lnTo>
                  <a:lnTo>
                    <a:pt x="59" y="225"/>
                  </a:lnTo>
                  <a:lnTo>
                    <a:pt x="69" y="215"/>
                  </a:lnTo>
                  <a:lnTo>
                    <a:pt x="69" y="196"/>
                  </a:lnTo>
                  <a:lnTo>
                    <a:pt x="59" y="186"/>
                  </a:lnTo>
                  <a:lnTo>
                    <a:pt x="59" y="166"/>
                  </a:lnTo>
                  <a:lnTo>
                    <a:pt x="49" y="157"/>
                  </a:lnTo>
                  <a:lnTo>
                    <a:pt x="39" y="147"/>
                  </a:lnTo>
                  <a:lnTo>
                    <a:pt x="20" y="137"/>
                  </a:lnTo>
                  <a:lnTo>
                    <a:pt x="10" y="12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" name="Freeform 377"/>
            <p:cNvSpPr>
              <a:spLocks/>
            </p:cNvSpPr>
            <p:nvPr/>
          </p:nvSpPr>
          <p:spPr bwMode="auto">
            <a:xfrm>
              <a:off x="2164" y="2167"/>
              <a:ext cx="256" cy="203"/>
            </a:xfrm>
            <a:custGeom>
              <a:avLst/>
              <a:gdLst>
                <a:gd name="T0" fmla="*/ 0 w 254"/>
                <a:gd name="T1" fmla="*/ 68 h 205"/>
                <a:gd name="T2" fmla="*/ 0 w 254"/>
                <a:gd name="T3" fmla="*/ 59 h 205"/>
                <a:gd name="T4" fmla="*/ 0 w 254"/>
                <a:gd name="T5" fmla="*/ 39 h 205"/>
                <a:gd name="T6" fmla="*/ 10 w 254"/>
                <a:gd name="T7" fmla="*/ 39 h 205"/>
                <a:gd name="T8" fmla="*/ 20 w 254"/>
                <a:gd name="T9" fmla="*/ 29 h 205"/>
                <a:gd name="T10" fmla="*/ 10 w 254"/>
                <a:gd name="T11" fmla="*/ 20 h 205"/>
                <a:gd name="T12" fmla="*/ 20 w 254"/>
                <a:gd name="T13" fmla="*/ 10 h 205"/>
                <a:gd name="T14" fmla="*/ 39 w 254"/>
                <a:gd name="T15" fmla="*/ 20 h 205"/>
                <a:gd name="T16" fmla="*/ 39 w 254"/>
                <a:gd name="T17" fmla="*/ 10 h 205"/>
                <a:gd name="T18" fmla="*/ 49 w 254"/>
                <a:gd name="T19" fmla="*/ 10 h 205"/>
                <a:gd name="T20" fmla="*/ 69 w 254"/>
                <a:gd name="T21" fmla="*/ 0 h 205"/>
                <a:gd name="T22" fmla="*/ 78 w 254"/>
                <a:gd name="T23" fmla="*/ 10 h 205"/>
                <a:gd name="T24" fmla="*/ 108 w 254"/>
                <a:gd name="T25" fmla="*/ 29 h 205"/>
                <a:gd name="T26" fmla="*/ 117 w 254"/>
                <a:gd name="T27" fmla="*/ 29 h 205"/>
                <a:gd name="T28" fmla="*/ 117 w 254"/>
                <a:gd name="T29" fmla="*/ 39 h 205"/>
                <a:gd name="T30" fmla="*/ 117 w 254"/>
                <a:gd name="T31" fmla="*/ 49 h 205"/>
                <a:gd name="T32" fmla="*/ 117 w 254"/>
                <a:gd name="T33" fmla="*/ 59 h 205"/>
                <a:gd name="T34" fmla="*/ 137 w 254"/>
                <a:gd name="T35" fmla="*/ 59 h 205"/>
                <a:gd name="T36" fmla="*/ 156 w 254"/>
                <a:gd name="T37" fmla="*/ 59 h 205"/>
                <a:gd name="T38" fmla="*/ 166 w 254"/>
                <a:gd name="T39" fmla="*/ 68 h 205"/>
                <a:gd name="T40" fmla="*/ 196 w 254"/>
                <a:gd name="T41" fmla="*/ 78 h 205"/>
                <a:gd name="T42" fmla="*/ 215 w 254"/>
                <a:gd name="T43" fmla="*/ 78 h 205"/>
                <a:gd name="T44" fmla="*/ 225 w 254"/>
                <a:gd name="T45" fmla="*/ 98 h 205"/>
                <a:gd name="T46" fmla="*/ 235 w 254"/>
                <a:gd name="T47" fmla="*/ 88 h 205"/>
                <a:gd name="T48" fmla="*/ 244 w 254"/>
                <a:gd name="T49" fmla="*/ 98 h 205"/>
                <a:gd name="T50" fmla="*/ 235 w 254"/>
                <a:gd name="T51" fmla="*/ 117 h 205"/>
                <a:gd name="T52" fmla="*/ 254 w 254"/>
                <a:gd name="T53" fmla="*/ 127 h 205"/>
                <a:gd name="T54" fmla="*/ 244 w 254"/>
                <a:gd name="T55" fmla="*/ 137 h 205"/>
                <a:gd name="T56" fmla="*/ 244 w 254"/>
                <a:gd name="T57" fmla="*/ 156 h 205"/>
                <a:gd name="T58" fmla="*/ 244 w 254"/>
                <a:gd name="T59" fmla="*/ 166 h 205"/>
                <a:gd name="T60" fmla="*/ 235 w 254"/>
                <a:gd name="T61" fmla="*/ 185 h 205"/>
                <a:gd name="T62" fmla="*/ 244 w 254"/>
                <a:gd name="T63" fmla="*/ 195 h 205"/>
                <a:gd name="T64" fmla="*/ 225 w 254"/>
                <a:gd name="T65" fmla="*/ 205 h 205"/>
                <a:gd name="T66" fmla="*/ 215 w 254"/>
                <a:gd name="T67" fmla="*/ 185 h 205"/>
                <a:gd name="T68" fmla="*/ 205 w 254"/>
                <a:gd name="T69" fmla="*/ 176 h 205"/>
                <a:gd name="T70" fmla="*/ 186 w 254"/>
                <a:gd name="T71" fmla="*/ 176 h 205"/>
                <a:gd name="T72" fmla="*/ 176 w 254"/>
                <a:gd name="T73" fmla="*/ 176 h 205"/>
                <a:gd name="T74" fmla="*/ 147 w 254"/>
                <a:gd name="T75" fmla="*/ 176 h 205"/>
                <a:gd name="T76" fmla="*/ 117 w 254"/>
                <a:gd name="T77" fmla="*/ 176 h 205"/>
                <a:gd name="T78" fmla="*/ 108 w 254"/>
                <a:gd name="T79" fmla="*/ 176 h 205"/>
                <a:gd name="T80" fmla="*/ 88 w 254"/>
                <a:gd name="T81" fmla="*/ 176 h 205"/>
                <a:gd name="T82" fmla="*/ 78 w 254"/>
                <a:gd name="T83" fmla="*/ 156 h 205"/>
                <a:gd name="T84" fmla="*/ 88 w 254"/>
                <a:gd name="T85" fmla="*/ 137 h 205"/>
                <a:gd name="T86" fmla="*/ 69 w 254"/>
                <a:gd name="T87" fmla="*/ 127 h 205"/>
                <a:gd name="T88" fmla="*/ 59 w 254"/>
                <a:gd name="T89" fmla="*/ 117 h 205"/>
                <a:gd name="T90" fmla="*/ 69 w 254"/>
                <a:gd name="T91" fmla="*/ 107 h 205"/>
                <a:gd name="T92" fmla="*/ 69 w 254"/>
                <a:gd name="T93" fmla="*/ 88 h 205"/>
                <a:gd name="T94" fmla="*/ 59 w 254"/>
                <a:gd name="T95" fmla="*/ 88 h 205"/>
                <a:gd name="T96" fmla="*/ 49 w 254"/>
                <a:gd name="T97" fmla="*/ 88 h 205"/>
                <a:gd name="T98" fmla="*/ 20 w 254"/>
                <a:gd name="T99" fmla="*/ 78 h 205"/>
                <a:gd name="T100" fmla="*/ 0 w 254"/>
                <a:gd name="T101" fmla="*/ 68 h 2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205"/>
                <a:gd name="T155" fmla="*/ 254 w 254"/>
                <a:gd name="T156" fmla="*/ 205 h 2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205">
                  <a:moveTo>
                    <a:pt x="0" y="68"/>
                  </a:moveTo>
                  <a:lnTo>
                    <a:pt x="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29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39" y="2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117" y="59"/>
                  </a:lnTo>
                  <a:lnTo>
                    <a:pt x="137" y="59"/>
                  </a:lnTo>
                  <a:lnTo>
                    <a:pt x="156" y="59"/>
                  </a:lnTo>
                  <a:lnTo>
                    <a:pt x="166" y="68"/>
                  </a:lnTo>
                  <a:lnTo>
                    <a:pt x="196" y="78"/>
                  </a:lnTo>
                  <a:lnTo>
                    <a:pt x="215" y="78"/>
                  </a:lnTo>
                  <a:lnTo>
                    <a:pt x="225" y="98"/>
                  </a:lnTo>
                  <a:lnTo>
                    <a:pt x="235" y="88"/>
                  </a:lnTo>
                  <a:lnTo>
                    <a:pt x="244" y="98"/>
                  </a:lnTo>
                  <a:lnTo>
                    <a:pt x="235" y="117"/>
                  </a:lnTo>
                  <a:lnTo>
                    <a:pt x="254" y="127"/>
                  </a:lnTo>
                  <a:lnTo>
                    <a:pt x="244" y="137"/>
                  </a:lnTo>
                  <a:lnTo>
                    <a:pt x="244" y="156"/>
                  </a:lnTo>
                  <a:lnTo>
                    <a:pt x="244" y="166"/>
                  </a:lnTo>
                  <a:lnTo>
                    <a:pt x="235" y="185"/>
                  </a:lnTo>
                  <a:lnTo>
                    <a:pt x="244" y="195"/>
                  </a:lnTo>
                  <a:lnTo>
                    <a:pt x="225" y="205"/>
                  </a:lnTo>
                  <a:lnTo>
                    <a:pt x="215" y="185"/>
                  </a:lnTo>
                  <a:lnTo>
                    <a:pt x="205" y="176"/>
                  </a:lnTo>
                  <a:lnTo>
                    <a:pt x="186" y="176"/>
                  </a:lnTo>
                  <a:lnTo>
                    <a:pt x="176" y="176"/>
                  </a:lnTo>
                  <a:lnTo>
                    <a:pt x="147" y="176"/>
                  </a:lnTo>
                  <a:lnTo>
                    <a:pt x="117" y="176"/>
                  </a:lnTo>
                  <a:lnTo>
                    <a:pt x="108" y="176"/>
                  </a:lnTo>
                  <a:lnTo>
                    <a:pt x="88" y="176"/>
                  </a:lnTo>
                  <a:lnTo>
                    <a:pt x="78" y="156"/>
                  </a:lnTo>
                  <a:lnTo>
                    <a:pt x="88" y="137"/>
                  </a:lnTo>
                  <a:lnTo>
                    <a:pt x="69" y="127"/>
                  </a:lnTo>
                  <a:lnTo>
                    <a:pt x="59" y="117"/>
                  </a:lnTo>
                  <a:lnTo>
                    <a:pt x="69" y="107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49" y="88"/>
                  </a:lnTo>
                  <a:lnTo>
                    <a:pt x="20" y="7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" name="Freeform 376"/>
            <p:cNvSpPr>
              <a:spLocks/>
            </p:cNvSpPr>
            <p:nvPr/>
          </p:nvSpPr>
          <p:spPr bwMode="auto">
            <a:xfrm>
              <a:off x="2603" y="633"/>
              <a:ext cx="422" cy="595"/>
            </a:xfrm>
            <a:custGeom>
              <a:avLst/>
              <a:gdLst>
                <a:gd name="T0" fmla="*/ 30 w 420"/>
                <a:gd name="T1" fmla="*/ 137 h 595"/>
                <a:gd name="T2" fmla="*/ 117 w 420"/>
                <a:gd name="T3" fmla="*/ 137 h 595"/>
                <a:gd name="T4" fmla="*/ 147 w 420"/>
                <a:gd name="T5" fmla="*/ 98 h 595"/>
                <a:gd name="T6" fmla="*/ 147 w 420"/>
                <a:gd name="T7" fmla="*/ 49 h 595"/>
                <a:gd name="T8" fmla="*/ 215 w 420"/>
                <a:gd name="T9" fmla="*/ 20 h 595"/>
                <a:gd name="T10" fmla="*/ 254 w 420"/>
                <a:gd name="T11" fmla="*/ 10 h 595"/>
                <a:gd name="T12" fmla="*/ 313 w 420"/>
                <a:gd name="T13" fmla="*/ 29 h 595"/>
                <a:gd name="T14" fmla="*/ 322 w 420"/>
                <a:gd name="T15" fmla="*/ 49 h 595"/>
                <a:gd name="T16" fmla="*/ 361 w 420"/>
                <a:gd name="T17" fmla="*/ 49 h 595"/>
                <a:gd name="T18" fmla="*/ 381 w 420"/>
                <a:gd name="T19" fmla="*/ 68 h 595"/>
                <a:gd name="T20" fmla="*/ 400 w 420"/>
                <a:gd name="T21" fmla="*/ 78 h 595"/>
                <a:gd name="T22" fmla="*/ 391 w 420"/>
                <a:gd name="T23" fmla="*/ 127 h 595"/>
                <a:gd name="T24" fmla="*/ 381 w 420"/>
                <a:gd name="T25" fmla="*/ 98 h 595"/>
                <a:gd name="T26" fmla="*/ 371 w 420"/>
                <a:gd name="T27" fmla="*/ 108 h 595"/>
                <a:gd name="T28" fmla="*/ 371 w 420"/>
                <a:gd name="T29" fmla="*/ 137 h 595"/>
                <a:gd name="T30" fmla="*/ 381 w 420"/>
                <a:gd name="T31" fmla="*/ 147 h 595"/>
                <a:gd name="T32" fmla="*/ 361 w 420"/>
                <a:gd name="T33" fmla="*/ 156 h 595"/>
                <a:gd name="T34" fmla="*/ 332 w 420"/>
                <a:gd name="T35" fmla="*/ 156 h 595"/>
                <a:gd name="T36" fmla="*/ 371 w 420"/>
                <a:gd name="T37" fmla="*/ 166 h 595"/>
                <a:gd name="T38" fmla="*/ 391 w 420"/>
                <a:gd name="T39" fmla="*/ 215 h 595"/>
                <a:gd name="T40" fmla="*/ 420 w 420"/>
                <a:gd name="T41" fmla="*/ 234 h 595"/>
                <a:gd name="T42" fmla="*/ 420 w 420"/>
                <a:gd name="T43" fmla="*/ 312 h 595"/>
                <a:gd name="T44" fmla="*/ 400 w 420"/>
                <a:gd name="T45" fmla="*/ 381 h 595"/>
                <a:gd name="T46" fmla="*/ 410 w 420"/>
                <a:gd name="T47" fmla="*/ 459 h 595"/>
                <a:gd name="T48" fmla="*/ 410 w 420"/>
                <a:gd name="T49" fmla="*/ 478 h 595"/>
                <a:gd name="T50" fmla="*/ 400 w 420"/>
                <a:gd name="T51" fmla="*/ 498 h 595"/>
                <a:gd name="T52" fmla="*/ 391 w 420"/>
                <a:gd name="T53" fmla="*/ 537 h 595"/>
                <a:gd name="T54" fmla="*/ 371 w 420"/>
                <a:gd name="T55" fmla="*/ 566 h 595"/>
                <a:gd name="T56" fmla="*/ 352 w 420"/>
                <a:gd name="T57" fmla="*/ 576 h 595"/>
                <a:gd name="T58" fmla="*/ 293 w 420"/>
                <a:gd name="T59" fmla="*/ 586 h 595"/>
                <a:gd name="T60" fmla="*/ 244 w 420"/>
                <a:gd name="T61" fmla="*/ 586 h 595"/>
                <a:gd name="T62" fmla="*/ 176 w 420"/>
                <a:gd name="T63" fmla="*/ 537 h 595"/>
                <a:gd name="T64" fmla="*/ 147 w 420"/>
                <a:gd name="T65" fmla="*/ 439 h 595"/>
                <a:gd name="T66" fmla="*/ 137 w 420"/>
                <a:gd name="T67" fmla="*/ 381 h 595"/>
                <a:gd name="T68" fmla="*/ 127 w 420"/>
                <a:gd name="T69" fmla="*/ 351 h 595"/>
                <a:gd name="T70" fmla="*/ 127 w 420"/>
                <a:gd name="T71" fmla="*/ 322 h 595"/>
                <a:gd name="T72" fmla="*/ 117 w 420"/>
                <a:gd name="T73" fmla="*/ 293 h 595"/>
                <a:gd name="T74" fmla="*/ 127 w 420"/>
                <a:gd name="T75" fmla="*/ 264 h 595"/>
                <a:gd name="T76" fmla="*/ 117 w 420"/>
                <a:gd name="T77" fmla="*/ 244 h 595"/>
                <a:gd name="T78" fmla="*/ 98 w 420"/>
                <a:gd name="T79" fmla="*/ 293 h 595"/>
                <a:gd name="T80" fmla="*/ 78 w 420"/>
                <a:gd name="T81" fmla="*/ 293 h 595"/>
                <a:gd name="T82" fmla="*/ 30 w 420"/>
                <a:gd name="T83" fmla="*/ 273 h 595"/>
                <a:gd name="T84" fmla="*/ 0 w 420"/>
                <a:gd name="T85" fmla="*/ 156 h 5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0"/>
                <a:gd name="T130" fmla="*/ 0 h 595"/>
                <a:gd name="T131" fmla="*/ 420 w 420"/>
                <a:gd name="T132" fmla="*/ 595 h 5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0" h="595">
                  <a:moveTo>
                    <a:pt x="0" y="156"/>
                  </a:moveTo>
                  <a:lnTo>
                    <a:pt x="10" y="147"/>
                  </a:lnTo>
                  <a:lnTo>
                    <a:pt x="30" y="137"/>
                  </a:lnTo>
                  <a:lnTo>
                    <a:pt x="39" y="137"/>
                  </a:lnTo>
                  <a:lnTo>
                    <a:pt x="88" y="137"/>
                  </a:lnTo>
                  <a:lnTo>
                    <a:pt x="117" y="137"/>
                  </a:lnTo>
                  <a:lnTo>
                    <a:pt x="117" y="127"/>
                  </a:lnTo>
                  <a:lnTo>
                    <a:pt x="127" y="117"/>
                  </a:lnTo>
                  <a:lnTo>
                    <a:pt x="147" y="98"/>
                  </a:lnTo>
                  <a:lnTo>
                    <a:pt x="147" y="88"/>
                  </a:lnTo>
                  <a:lnTo>
                    <a:pt x="147" y="59"/>
                  </a:lnTo>
                  <a:lnTo>
                    <a:pt x="147" y="49"/>
                  </a:lnTo>
                  <a:lnTo>
                    <a:pt x="176" y="29"/>
                  </a:lnTo>
                  <a:lnTo>
                    <a:pt x="186" y="20"/>
                  </a:lnTo>
                  <a:lnTo>
                    <a:pt x="215" y="20"/>
                  </a:lnTo>
                  <a:lnTo>
                    <a:pt x="215" y="10"/>
                  </a:lnTo>
                  <a:lnTo>
                    <a:pt x="225" y="0"/>
                  </a:lnTo>
                  <a:lnTo>
                    <a:pt x="254" y="10"/>
                  </a:lnTo>
                  <a:lnTo>
                    <a:pt x="264" y="20"/>
                  </a:lnTo>
                  <a:lnTo>
                    <a:pt x="273" y="20"/>
                  </a:lnTo>
                  <a:lnTo>
                    <a:pt x="313" y="29"/>
                  </a:lnTo>
                  <a:lnTo>
                    <a:pt x="322" y="29"/>
                  </a:lnTo>
                  <a:lnTo>
                    <a:pt x="332" y="39"/>
                  </a:lnTo>
                  <a:lnTo>
                    <a:pt x="322" y="49"/>
                  </a:lnTo>
                  <a:lnTo>
                    <a:pt x="332" y="59"/>
                  </a:lnTo>
                  <a:lnTo>
                    <a:pt x="342" y="49"/>
                  </a:lnTo>
                  <a:lnTo>
                    <a:pt x="361" y="49"/>
                  </a:lnTo>
                  <a:lnTo>
                    <a:pt x="361" y="68"/>
                  </a:lnTo>
                  <a:lnTo>
                    <a:pt x="371" y="78"/>
                  </a:lnTo>
                  <a:lnTo>
                    <a:pt x="381" y="68"/>
                  </a:lnTo>
                  <a:lnTo>
                    <a:pt x="391" y="78"/>
                  </a:lnTo>
                  <a:lnTo>
                    <a:pt x="400" y="68"/>
                  </a:lnTo>
                  <a:lnTo>
                    <a:pt x="400" y="78"/>
                  </a:lnTo>
                  <a:lnTo>
                    <a:pt x="400" y="98"/>
                  </a:lnTo>
                  <a:lnTo>
                    <a:pt x="400" y="108"/>
                  </a:lnTo>
                  <a:lnTo>
                    <a:pt x="391" y="127"/>
                  </a:lnTo>
                  <a:lnTo>
                    <a:pt x="391" y="117"/>
                  </a:lnTo>
                  <a:lnTo>
                    <a:pt x="381" y="108"/>
                  </a:lnTo>
                  <a:lnTo>
                    <a:pt x="381" y="98"/>
                  </a:lnTo>
                  <a:lnTo>
                    <a:pt x="381" y="88"/>
                  </a:lnTo>
                  <a:lnTo>
                    <a:pt x="371" y="88"/>
                  </a:lnTo>
                  <a:lnTo>
                    <a:pt x="371" y="108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1" y="137"/>
                  </a:lnTo>
                  <a:lnTo>
                    <a:pt x="361" y="137"/>
                  </a:lnTo>
                  <a:lnTo>
                    <a:pt x="371" y="147"/>
                  </a:lnTo>
                  <a:lnTo>
                    <a:pt x="381" y="147"/>
                  </a:lnTo>
                  <a:lnTo>
                    <a:pt x="381" y="156"/>
                  </a:lnTo>
                  <a:lnTo>
                    <a:pt x="371" y="156"/>
                  </a:lnTo>
                  <a:lnTo>
                    <a:pt x="361" y="156"/>
                  </a:lnTo>
                  <a:lnTo>
                    <a:pt x="342" y="156"/>
                  </a:lnTo>
                  <a:lnTo>
                    <a:pt x="332" y="156"/>
                  </a:lnTo>
                  <a:lnTo>
                    <a:pt x="342" y="166"/>
                  </a:lnTo>
                  <a:lnTo>
                    <a:pt x="361" y="176"/>
                  </a:lnTo>
                  <a:lnTo>
                    <a:pt x="371" y="166"/>
                  </a:lnTo>
                  <a:lnTo>
                    <a:pt x="381" y="176"/>
                  </a:lnTo>
                  <a:lnTo>
                    <a:pt x="391" y="195"/>
                  </a:lnTo>
                  <a:lnTo>
                    <a:pt x="391" y="215"/>
                  </a:lnTo>
                  <a:lnTo>
                    <a:pt x="400" y="225"/>
                  </a:lnTo>
                  <a:lnTo>
                    <a:pt x="410" y="225"/>
                  </a:lnTo>
                  <a:lnTo>
                    <a:pt x="420" y="234"/>
                  </a:lnTo>
                  <a:lnTo>
                    <a:pt x="420" y="254"/>
                  </a:lnTo>
                  <a:lnTo>
                    <a:pt x="420" y="283"/>
                  </a:lnTo>
                  <a:lnTo>
                    <a:pt x="420" y="312"/>
                  </a:lnTo>
                  <a:lnTo>
                    <a:pt x="420" y="342"/>
                  </a:lnTo>
                  <a:lnTo>
                    <a:pt x="410" y="361"/>
                  </a:lnTo>
                  <a:lnTo>
                    <a:pt x="400" y="381"/>
                  </a:lnTo>
                  <a:lnTo>
                    <a:pt x="410" y="400"/>
                  </a:lnTo>
                  <a:lnTo>
                    <a:pt x="410" y="429"/>
                  </a:lnTo>
                  <a:lnTo>
                    <a:pt x="410" y="459"/>
                  </a:lnTo>
                  <a:lnTo>
                    <a:pt x="420" y="459"/>
                  </a:lnTo>
                  <a:lnTo>
                    <a:pt x="420" y="469"/>
                  </a:lnTo>
                  <a:lnTo>
                    <a:pt x="410" y="478"/>
                  </a:lnTo>
                  <a:lnTo>
                    <a:pt x="410" y="488"/>
                  </a:lnTo>
                  <a:lnTo>
                    <a:pt x="400" y="498"/>
                  </a:lnTo>
                  <a:lnTo>
                    <a:pt x="410" y="508"/>
                  </a:lnTo>
                  <a:lnTo>
                    <a:pt x="410" y="527"/>
                  </a:lnTo>
                  <a:lnTo>
                    <a:pt x="391" y="537"/>
                  </a:lnTo>
                  <a:lnTo>
                    <a:pt x="391" y="547"/>
                  </a:lnTo>
                  <a:lnTo>
                    <a:pt x="391" y="556"/>
                  </a:lnTo>
                  <a:lnTo>
                    <a:pt x="371" y="566"/>
                  </a:lnTo>
                  <a:lnTo>
                    <a:pt x="371" y="576"/>
                  </a:lnTo>
                  <a:lnTo>
                    <a:pt x="361" y="576"/>
                  </a:lnTo>
                  <a:lnTo>
                    <a:pt x="352" y="576"/>
                  </a:lnTo>
                  <a:lnTo>
                    <a:pt x="332" y="586"/>
                  </a:lnTo>
                  <a:lnTo>
                    <a:pt x="313" y="586"/>
                  </a:lnTo>
                  <a:lnTo>
                    <a:pt x="293" y="586"/>
                  </a:lnTo>
                  <a:lnTo>
                    <a:pt x="273" y="595"/>
                  </a:lnTo>
                  <a:lnTo>
                    <a:pt x="254" y="586"/>
                  </a:lnTo>
                  <a:lnTo>
                    <a:pt x="244" y="586"/>
                  </a:lnTo>
                  <a:lnTo>
                    <a:pt x="225" y="576"/>
                  </a:lnTo>
                  <a:lnTo>
                    <a:pt x="205" y="576"/>
                  </a:lnTo>
                  <a:lnTo>
                    <a:pt x="176" y="537"/>
                  </a:lnTo>
                  <a:lnTo>
                    <a:pt x="176" y="517"/>
                  </a:lnTo>
                  <a:lnTo>
                    <a:pt x="156" y="469"/>
                  </a:lnTo>
                  <a:lnTo>
                    <a:pt x="147" y="439"/>
                  </a:lnTo>
                  <a:lnTo>
                    <a:pt x="137" y="410"/>
                  </a:lnTo>
                  <a:lnTo>
                    <a:pt x="137" y="390"/>
                  </a:lnTo>
                  <a:lnTo>
                    <a:pt x="137" y="381"/>
                  </a:lnTo>
                  <a:lnTo>
                    <a:pt x="117" y="371"/>
                  </a:lnTo>
                  <a:lnTo>
                    <a:pt x="127" y="361"/>
                  </a:lnTo>
                  <a:lnTo>
                    <a:pt x="127" y="351"/>
                  </a:lnTo>
                  <a:lnTo>
                    <a:pt x="127" y="342"/>
                  </a:lnTo>
                  <a:lnTo>
                    <a:pt x="117" y="332"/>
                  </a:lnTo>
                  <a:lnTo>
                    <a:pt x="127" y="322"/>
                  </a:lnTo>
                  <a:lnTo>
                    <a:pt x="108" y="322"/>
                  </a:lnTo>
                  <a:lnTo>
                    <a:pt x="108" y="303"/>
                  </a:lnTo>
                  <a:lnTo>
                    <a:pt x="117" y="293"/>
                  </a:lnTo>
                  <a:lnTo>
                    <a:pt x="117" y="283"/>
                  </a:lnTo>
                  <a:lnTo>
                    <a:pt x="127" y="273"/>
                  </a:lnTo>
                  <a:lnTo>
                    <a:pt x="127" y="264"/>
                  </a:lnTo>
                  <a:lnTo>
                    <a:pt x="127" y="254"/>
                  </a:lnTo>
                  <a:lnTo>
                    <a:pt x="117" y="244"/>
                  </a:lnTo>
                  <a:lnTo>
                    <a:pt x="117" y="264"/>
                  </a:lnTo>
                  <a:lnTo>
                    <a:pt x="108" y="273"/>
                  </a:lnTo>
                  <a:lnTo>
                    <a:pt x="98" y="293"/>
                  </a:lnTo>
                  <a:lnTo>
                    <a:pt x="88" y="293"/>
                  </a:lnTo>
                  <a:lnTo>
                    <a:pt x="88" y="312"/>
                  </a:lnTo>
                  <a:lnTo>
                    <a:pt x="78" y="293"/>
                  </a:lnTo>
                  <a:lnTo>
                    <a:pt x="59" y="293"/>
                  </a:lnTo>
                  <a:lnTo>
                    <a:pt x="39" y="293"/>
                  </a:lnTo>
                  <a:lnTo>
                    <a:pt x="30" y="273"/>
                  </a:lnTo>
                  <a:lnTo>
                    <a:pt x="39" y="254"/>
                  </a:lnTo>
                  <a:lnTo>
                    <a:pt x="49" y="244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Freeform 375"/>
            <p:cNvSpPr>
              <a:spLocks/>
            </p:cNvSpPr>
            <p:nvPr/>
          </p:nvSpPr>
          <p:spPr bwMode="auto">
            <a:xfrm>
              <a:off x="2068" y="2233"/>
              <a:ext cx="186" cy="177"/>
            </a:xfrm>
            <a:custGeom>
              <a:avLst/>
              <a:gdLst>
                <a:gd name="T0" fmla="*/ 0 w 185"/>
                <a:gd name="T1" fmla="*/ 117 h 176"/>
                <a:gd name="T2" fmla="*/ 0 w 185"/>
                <a:gd name="T3" fmla="*/ 98 h 176"/>
                <a:gd name="T4" fmla="*/ 10 w 185"/>
                <a:gd name="T5" fmla="*/ 88 h 176"/>
                <a:gd name="T6" fmla="*/ 10 w 185"/>
                <a:gd name="T7" fmla="*/ 69 h 176"/>
                <a:gd name="T8" fmla="*/ 29 w 185"/>
                <a:gd name="T9" fmla="*/ 59 h 176"/>
                <a:gd name="T10" fmla="*/ 39 w 185"/>
                <a:gd name="T11" fmla="*/ 69 h 176"/>
                <a:gd name="T12" fmla="*/ 58 w 185"/>
                <a:gd name="T13" fmla="*/ 59 h 176"/>
                <a:gd name="T14" fmla="*/ 58 w 185"/>
                <a:gd name="T15" fmla="*/ 59 h 176"/>
                <a:gd name="T16" fmla="*/ 58 w 185"/>
                <a:gd name="T17" fmla="*/ 30 h 176"/>
                <a:gd name="T18" fmla="*/ 58 w 185"/>
                <a:gd name="T19" fmla="*/ 20 h 176"/>
                <a:gd name="T20" fmla="*/ 78 w 185"/>
                <a:gd name="T21" fmla="*/ 10 h 176"/>
                <a:gd name="T22" fmla="*/ 88 w 185"/>
                <a:gd name="T23" fmla="*/ 0 h 176"/>
                <a:gd name="T24" fmla="*/ 97 w 185"/>
                <a:gd name="T25" fmla="*/ 0 h 176"/>
                <a:gd name="T26" fmla="*/ 117 w 185"/>
                <a:gd name="T27" fmla="*/ 10 h 176"/>
                <a:gd name="T28" fmla="*/ 146 w 185"/>
                <a:gd name="T29" fmla="*/ 20 h 176"/>
                <a:gd name="T30" fmla="*/ 166 w 185"/>
                <a:gd name="T31" fmla="*/ 20 h 176"/>
                <a:gd name="T32" fmla="*/ 175 w 185"/>
                <a:gd name="T33" fmla="*/ 20 h 176"/>
                <a:gd name="T34" fmla="*/ 175 w 185"/>
                <a:gd name="T35" fmla="*/ 39 h 176"/>
                <a:gd name="T36" fmla="*/ 166 w 185"/>
                <a:gd name="T37" fmla="*/ 49 h 176"/>
                <a:gd name="T38" fmla="*/ 175 w 185"/>
                <a:gd name="T39" fmla="*/ 59 h 176"/>
                <a:gd name="T40" fmla="*/ 185 w 185"/>
                <a:gd name="T41" fmla="*/ 69 h 176"/>
                <a:gd name="T42" fmla="*/ 175 w 185"/>
                <a:gd name="T43" fmla="*/ 88 h 176"/>
                <a:gd name="T44" fmla="*/ 185 w 185"/>
                <a:gd name="T45" fmla="*/ 108 h 176"/>
                <a:gd name="T46" fmla="*/ 156 w 185"/>
                <a:gd name="T47" fmla="*/ 117 h 176"/>
                <a:gd name="T48" fmla="*/ 127 w 185"/>
                <a:gd name="T49" fmla="*/ 117 h 176"/>
                <a:gd name="T50" fmla="*/ 117 w 185"/>
                <a:gd name="T51" fmla="*/ 108 h 176"/>
                <a:gd name="T52" fmla="*/ 107 w 185"/>
                <a:gd name="T53" fmla="*/ 127 h 176"/>
                <a:gd name="T54" fmla="*/ 117 w 185"/>
                <a:gd name="T55" fmla="*/ 127 h 176"/>
                <a:gd name="T56" fmla="*/ 117 w 185"/>
                <a:gd name="T57" fmla="*/ 137 h 176"/>
                <a:gd name="T58" fmla="*/ 107 w 185"/>
                <a:gd name="T59" fmla="*/ 147 h 176"/>
                <a:gd name="T60" fmla="*/ 107 w 185"/>
                <a:gd name="T61" fmla="*/ 147 h 176"/>
                <a:gd name="T62" fmla="*/ 97 w 185"/>
                <a:gd name="T63" fmla="*/ 156 h 176"/>
                <a:gd name="T64" fmla="*/ 78 w 185"/>
                <a:gd name="T65" fmla="*/ 176 h 176"/>
                <a:gd name="T66" fmla="*/ 58 w 185"/>
                <a:gd name="T67" fmla="*/ 176 h 176"/>
                <a:gd name="T68" fmla="*/ 58 w 185"/>
                <a:gd name="T69" fmla="*/ 166 h 176"/>
                <a:gd name="T70" fmla="*/ 49 w 185"/>
                <a:gd name="T71" fmla="*/ 156 h 176"/>
                <a:gd name="T72" fmla="*/ 29 w 185"/>
                <a:gd name="T73" fmla="*/ 156 h 176"/>
                <a:gd name="T74" fmla="*/ 29 w 185"/>
                <a:gd name="T75" fmla="*/ 147 h 176"/>
                <a:gd name="T76" fmla="*/ 19 w 185"/>
                <a:gd name="T77" fmla="*/ 137 h 176"/>
                <a:gd name="T78" fmla="*/ 10 w 185"/>
                <a:gd name="T79" fmla="*/ 127 h 176"/>
                <a:gd name="T80" fmla="*/ 0 w 185"/>
                <a:gd name="T81" fmla="*/ 117 h 17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5"/>
                <a:gd name="T124" fmla="*/ 0 h 176"/>
                <a:gd name="T125" fmla="*/ 185 w 185"/>
                <a:gd name="T126" fmla="*/ 176 h 17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5" h="176">
                  <a:moveTo>
                    <a:pt x="0" y="117"/>
                  </a:moveTo>
                  <a:lnTo>
                    <a:pt x="0" y="98"/>
                  </a:lnTo>
                  <a:lnTo>
                    <a:pt x="10" y="88"/>
                  </a:lnTo>
                  <a:lnTo>
                    <a:pt x="10" y="69"/>
                  </a:lnTo>
                  <a:lnTo>
                    <a:pt x="29" y="59"/>
                  </a:lnTo>
                  <a:lnTo>
                    <a:pt x="39" y="69"/>
                  </a:lnTo>
                  <a:lnTo>
                    <a:pt x="58" y="59"/>
                  </a:lnTo>
                  <a:lnTo>
                    <a:pt x="58" y="30"/>
                  </a:lnTo>
                  <a:lnTo>
                    <a:pt x="58" y="20"/>
                  </a:lnTo>
                  <a:lnTo>
                    <a:pt x="78" y="10"/>
                  </a:lnTo>
                  <a:lnTo>
                    <a:pt x="88" y="0"/>
                  </a:lnTo>
                  <a:lnTo>
                    <a:pt x="97" y="0"/>
                  </a:lnTo>
                  <a:lnTo>
                    <a:pt x="117" y="10"/>
                  </a:lnTo>
                  <a:lnTo>
                    <a:pt x="146" y="20"/>
                  </a:lnTo>
                  <a:lnTo>
                    <a:pt x="166" y="20"/>
                  </a:lnTo>
                  <a:lnTo>
                    <a:pt x="175" y="2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75" y="59"/>
                  </a:lnTo>
                  <a:lnTo>
                    <a:pt x="185" y="69"/>
                  </a:lnTo>
                  <a:lnTo>
                    <a:pt x="175" y="88"/>
                  </a:lnTo>
                  <a:lnTo>
                    <a:pt x="185" y="108"/>
                  </a:lnTo>
                  <a:lnTo>
                    <a:pt x="156" y="117"/>
                  </a:lnTo>
                  <a:lnTo>
                    <a:pt x="127" y="117"/>
                  </a:lnTo>
                  <a:lnTo>
                    <a:pt x="117" y="108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17" y="137"/>
                  </a:lnTo>
                  <a:lnTo>
                    <a:pt x="107" y="147"/>
                  </a:lnTo>
                  <a:lnTo>
                    <a:pt x="97" y="156"/>
                  </a:lnTo>
                  <a:lnTo>
                    <a:pt x="78" y="176"/>
                  </a:lnTo>
                  <a:lnTo>
                    <a:pt x="58" y="176"/>
                  </a:lnTo>
                  <a:lnTo>
                    <a:pt x="58" y="166"/>
                  </a:lnTo>
                  <a:lnTo>
                    <a:pt x="49" y="156"/>
                  </a:lnTo>
                  <a:lnTo>
                    <a:pt x="29" y="156"/>
                  </a:lnTo>
                  <a:lnTo>
                    <a:pt x="29" y="147"/>
                  </a:lnTo>
                  <a:lnTo>
                    <a:pt x="19" y="137"/>
                  </a:lnTo>
                  <a:lnTo>
                    <a:pt x="10" y="12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Freeform 374"/>
            <p:cNvSpPr>
              <a:spLocks/>
            </p:cNvSpPr>
            <p:nvPr/>
          </p:nvSpPr>
          <p:spPr bwMode="auto">
            <a:xfrm>
              <a:off x="1795" y="2155"/>
              <a:ext cx="281" cy="244"/>
            </a:xfrm>
            <a:custGeom>
              <a:avLst/>
              <a:gdLst>
                <a:gd name="T0" fmla="*/ 0 w 283"/>
                <a:gd name="T1" fmla="*/ 69 h 244"/>
                <a:gd name="T2" fmla="*/ 19 w 283"/>
                <a:gd name="T3" fmla="*/ 69 h 244"/>
                <a:gd name="T4" fmla="*/ 19 w 283"/>
                <a:gd name="T5" fmla="*/ 59 h 244"/>
                <a:gd name="T6" fmla="*/ 29 w 283"/>
                <a:gd name="T7" fmla="*/ 49 h 244"/>
                <a:gd name="T8" fmla="*/ 29 w 283"/>
                <a:gd name="T9" fmla="*/ 49 h 244"/>
                <a:gd name="T10" fmla="*/ 29 w 283"/>
                <a:gd name="T11" fmla="*/ 69 h 244"/>
                <a:gd name="T12" fmla="*/ 49 w 283"/>
                <a:gd name="T13" fmla="*/ 49 h 244"/>
                <a:gd name="T14" fmla="*/ 39 w 283"/>
                <a:gd name="T15" fmla="*/ 49 h 244"/>
                <a:gd name="T16" fmla="*/ 39 w 283"/>
                <a:gd name="T17" fmla="*/ 39 h 244"/>
                <a:gd name="T18" fmla="*/ 49 w 283"/>
                <a:gd name="T19" fmla="*/ 39 h 244"/>
                <a:gd name="T20" fmla="*/ 68 w 283"/>
                <a:gd name="T21" fmla="*/ 49 h 244"/>
                <a:gd name="T22" fmla="*/ 78 w 283"/>
                <a:gd name="T23" fmla="*/ 39 h 244"/>
                <a:gd name="T24" fmla="*/ 78 w 283"/>
                <a:gd name="T25" fmla="*/ 30 h 244"/>
                <a:gd name="T26" fmla="*/ 88 w 283"/>
                <a:gd name="T27" fmla="*/ 20 h 244"/>
                <a:gd name="T28" fmla="*/ 88 w 283"/>
                <a:gd name="T29" fmla="*/ 10 h 244"/>
                <a:gd name="T30" fmla="*/ 97 w 283"/>
                <a:gd name="T31" fmla="*/ 0 h 244"/>
                <a:gd name="T32" fmla="*/ 107 w 283"/>
                <a:gd name="T33" fmla="*/ 0 h 244"/>
                <a:gd name="T34" fmla="*/ 117 w 283"/>
                <a:gd name="T35" fmla="*/ 10 h 244"/>
                <a:gd name="T36" fmla="*/ 136 w 283"/>
                <a:gd name="T37" fmla="*/ 20 h 244"/>
                <a:gd name="T38" fmla="*/ 146 w 283"/>
                <a:gd name="T39" fmla="*/ 30 h 244"/>
                <a:gd name="T40" fmla="*/ 156 w 283"/>
                <a:gd name="T41" fmla="*/ 39 h 244"/>
                <a:gd name="T42" fmla="*/ 156 w 283"/>
                <a:gd name="T43" fmla="*/ 59 h 244"/>
                <a:gd name="T44" fmla="*/ 166 w 283"/>
                <a:gd name="T45" fmla="*/ 69 h 244"/>
                <a:gd name="T46" fmla="*/ 166 w 283"/>
                <a:gd name="T47" fmla="*/ 88 h 244"/>
                <a:gd name="T48" fmla="*/ 156 w 283"/>
                <a:gd name="T49" fmla="*/ 98 h 244"/>
                <a:gd name="T50" fmla="*/ 156 w 283"/>
                <a:gd name="T51" fmla="*/ 117 h 244"/>
                <a:gd name="T52" fmla="*/ 175 w 283"/>
                <a:gd name="T53" fmla="*/ 117 h 244"/>
                <a:gd name="T54" fmla="*/ 175 w 283"/>
                <a:gd name="T55" fmla="*/ 127 h 244"/>
                <a:gd name="T56" fmla="*/ 185 w 283"/>
                <a:gd name="T57" fmla="*/ 147 h 244"/>
                <a:gd name="T58" fmla="*/ 185 w 283"/>
                <a:gd name="T59" fmla="*/ 147 h 244"/>
                <a:gd name="T60" fmla="*/ 195 w 283"/>
                <a:gd name="T61" fmla="*/ 137 h 244"/>
                <a:gd name="T62" fmla="*/ 205 w 283"/>
                <a:gd name="T63" fmla="*/ 127 h 244"/>
                <a:gd name="T64" fmla="*/ 234 w 283"/>
                <a:gd name="T65" fmla="*/ 137 h 244"/>
                <a:gd name="T66" fmla="*/ 263 w 283"/>
                <a:gd name="T67" fmla="*/ 117 h 244"/>
                <a:gd name="T68" fmla="*/ 273 w 283"/>
                <a:gd name="T69" fmla="*/ 127 h 244"/>
                <a:gd name="T70" fmla="*/ 273 w 283"/>
                <a:gd name="T71" fmla="*/ 137 h 244"/>
                <a:gd name="T72" fmla="*/ 273 w 283"/>
                <a:gd name="T73" fmla="*/ 147 h 244"/>
                <a:gd name="T74" fmla="*/ 283 w 283"/>
                <a:gd name="T75" fmla="*/ 147 h 244"/>
                <a:gd name="T76" fmla="*/ 283 w 283"/>
                <a:gd name="T77" fmla="*/ 166 h 244"/>
                <a:gd name="T78" fmla="*/ 273 w 283"/>
                <a:gd name="T79" fmla="*/ 186 h 244"/>
                <a:gd name="T80" fmla="*/ 273 w 283"/>
                <a:gd name="T81" fmla="*/ 195 h 244"/>
                <a:gd name="T82" fmla="*/ 273 w 283"/>
                <a:gd name="T83" fmla="*/ 225 h 244"/>
                <a:gd name="T84" fmla="*/ 253 w 283"/>
                <a:gd name="T85" fmla="*/ 244 h 244"/>
                <a:gd name="T86" fmla="*/ 234 w 283"/>
                <a:gd name="T87" fmla="*/ 244 h 244"/>
                <a:gd name="T88" fmla="*/ 214 w 283"/>
                <a:gd name="T89" fmla="*/ 234 h 244"/>
                <a:gd name="T90" fmla="*/ 185 w 283"/>
                <a:gd name="T91" fmla="*/ 234 h 244"/>
                <a:gd name="T92" fmla="*/ 166 w 283"/>
                <a:gd name="T93" fmla="*/ 234 h 244"/>
                <a:gd name="T94" fmla="*/ 156 w 283"/>
                <a:gd name="T95" fmla="*/ 215 h 244"/>
                <a:gd name="T96" fmla="*/ 146 w 283"/>
                <a:gd name="T97" fmla="*/ 195 h 244"/>
                <a:gd name="T98" fmla="*/ 136 w 283"/>
                <a:gd name="T99" fmla="*/ 186 h 244"/>
                <a:gd name="T100" fmla="*/ 127 w 283"/>
                <a:gd name="T101" fmla="*/ 176 h 244"/>
                <a:gd name="T102" fmla="*/ 117 w 283"/>
                <a:gd name="T103" fmla="*/ 186 h 244"/>
                <a:gd name="T104" fmla="*/ 107 w 283"/>
                <a:gd name="T105" fmla="*/ 186 h 244"/>
                <a:gd name="T106" fmla="*/ 97 w 283"/>
                <a:gd name="T107" fmla="*/ 186 h 244"/>
                <a:gd name="T108" fmla="*/ 78 w 283"/>
                <a:gd name="T109" fmla="*/ 156 h 244"/>
                <a:gd name="T110" fmla="*/ 78 w 283"/>
                <a:gd name="T111" fmla="*/ 137 h 244"/>
                <a:gd name="T112" fmla="*/ 78 w 283"/>
                <a:gd name="T113" fmla="*/ 127 h 244"/>
                <a:gd name="T114" fmla="*/ 68 w 283"/>
                <a:gd name="T115" fmla="*/ 108 h 244"/>
                <a:gd name="T116" fmla="*/ 49 w 283"/>
                <a:gd name="T117" fmla="*/ 98 h 244"/>
                <a:gd name="T118" fmla="*/ 29 w 283"/>
                <a:gd name="T119" fmla="*/ 98 h 244"/>
                <a:gd name="T120" fmla="*/ 0 w 283"/>
                <a:gd name="T121" fmla="*/ 69 h 24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3"/>
                <a:gd name="T184" fmla="*/ 0 h 244"/>
                <a:gd name="T185" fmla="*/ 283 w 283"/>
                <a:gd name="T186" fmla="*/ 244 h 24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3" h="244">
                  <a:moveTo>
                    <a:pt x="0" y="69"/>
                  </a:moveTo>
                  <a:lnTo>
                    <a:pt x="19" y="6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29" y="69"/>
                  </a:lnTo>
                  <a:lnTo>
                    <a:pt x="49" y="49"/>
                  </a:lnTo>
                  <a:lnTo>
                    <a:pt x="39" y="49"/>
                  </a:lnTo>
                  <a:lnTo>
                    <a:pt x="39" y="39"/>
                  </a:lnTo>
                  <a:lnTo>
                    <a:pt x="49" y="39"/>
                  </a:lnTo>
                  <a:lnTo>
                    <a:pt x="68" y="49"/>
                  </a:lnTo>
                  <a:lnTo>
                    <a:pt x="78" y="39"/>
                  </a:lnTo>
                  <a:lnTo>
                    <a:pt x="7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7" y="0"/>
                  </a:lnTo>
                  <a:lnTo>
                    <a:pt x="107" y="0"/>
                  </a:lnTo>
                  <a:lnTo>
                    <a:pt x="117" y="10"/>
                  </a:lnTo>
                  <a:lnTo>
                    <a:pt x="136" y="20"/>
                  </a:lnTo>
                  <a:lnTo>
                    <a:pt x="146" y="30"/>
                  </a:lnTo>
                  <a:lnTo>
                    <a:pt x="156" y="39"/>
                  </a:lnTo>
                  <a:lnTo>
                    <a:pt x="156" y="59"/>
                  </a:lnTo>
                  <a:lnTo>
                    <a:pt x="166" y="69"/>
                  </a:lnTo>
                  <a:lnTo>
                    <a:pt x="166" y="88"/>
                  </a:lnTo>
                  <a:lnTo>
                    <a:pt x="156" y="98"/>
                  </a:lnTo>
                  <a:lnTo>
                    <a:pt x="156" y="117"/>
                  </a:lnTo>
                  <a:lnTo>
                    <a:pt x="175" y="117"/>
                  </a:lnTo>
                  <a:lnTo>
                    <a:pt x="175" y="127"/>
                  </a:lnTo>
                  <a:lnTo>
                    <a:pt x="185" y="147"/>
                  </a:lnTo>
                  <a:lnTo>
                    <a:pt x="195" y="137"/>
                  </a:lnTo>
                  <a:lnTo>
                    <a:pt x="205" y="127"/>
                  </a:lnTo>
                  <a:lnTo>
                    <a:pt x="234" y="137"/>
                  </a:lnTo>
                  <a:lnTo>
                    <a:pt x="263" y="117"/>
                  </a:lnTo>
                  <a:lnTo>
                    <a:pt x="273" y="127"/>
                  </a:lnTo>
                  <a:lnTo>
                    <a:pt x="273" y="137"/>
                  </a:lnTo>
                  <a:lnTo>
                    <a:pt x="273" y="147"/>
                  </a:lnTo>
                  <a:lnTo>
                    <a:pt x="283" y="147"/>
                  </a:lnTo>
                  <a:lnTo>
                    <a:pt x="283" y="166"/>
                  </a:lnTo>
                  <a:lnTo>
                    <a:pt x="273" y="186"/>
                  </a:lnTo>
                  <a:lnTo>
                    <a:pt x="273" y="195"/>
                  </a:lnTo>
                  <a:lnTo>
                    <a:pt x="273" y="225"/>
                  </a:lnTo>
                  <a:lnTo>
                    <a:pt x="253" y="244"/>
                  </a:lnTo>
                  <a:lnTo>
                    <a:pt x="234" y="244"/>
                  </a:lnTo>
                  <a:lnTo>
                    <a:pt x="214" y="234"/>
                  </a:lnTo>
                  <a:lnTo>
                    <a:pt x="185" y="234"/>
                  </a:lnTo>
                  <a:lnTo>
                    <a:pt x="166" y="234"/>
                  </a:lnTo>
                  <a:lnTo>
                    <a:pt x="156" y="215"/>
                  </a:lnTo>
                  <a:lnTo>
                    <a:pt x="146" y="195"/>
                  </a:lnTo>
                  <a:lnTo>
                    <a:pt x="136" y="186"/>
                  </a:lnTo>
                  <a:lnTo>
                    <a:pt x="127" y="17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86"/>
                  </a:lnTo>
                  <a:lnTo>
                    <a:pt x="78" y="156"/>
                  </a:lnTo>
                  <a:lnTo>
                    <a:pt x="78" y="137"/>
                  </a:lnTo>
                  <a:lnTo>
                    <a:pt x="78" y="127"/>
                  </a:lnTo>
                  <a:lnTo>
                    <a:pt x="68" y="108"/>
                  </a:lnTo>
                  <a:lnTo>
                    <a:pt x="49" y="98"/>
                  </a:lnTo>
                  <a:lnTo>
                    <a:pt x="29" y="98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Freeform 373"/>
            <p:cNvSpPr>
              <a:spLocks/>
            </p:cNvSpPr>
            <p:nvPr/>
          </p:nvSpPr>
          <p:spPr bwMode="auto">
            <a:xfrm>
              <a:off x="2088" y="2332"/>
              <a:ext cx="459" cy="389"/>
            </a:xfrm>
            <a:custGeom>
              <a:avLst/>
              <a:gdLst>
                <a:gd name="T0" fmla="*/ 156 w 459"/>
                <a:gd name="T1" fmla="*/ 234 h 390"/>
                <a:gd name="T2" fmla="*/ 176 w 459"/>
                <a:gd name="T3" fmla="*/ 254 h 390"/>
                <a:gd name="T4" fmla="*/ 195 w 459"/>
                <a:gd name="T5" fmla="*/ 234 h 390"/>
                <a:gd name="T6" fmla="*/ 225 w 459"/>
                <a:gd name="T7" fmla="*/ 254 h 390"/>
                <a:gd name="T8" fmla="*/ 225 w 459"/>
                <a:gd name="T9" fmla="*/ 312 h 390"/>
                <a:gd name="T10" fmla="*/ 254 w 459"/>
                <a:gd name="T11" fmla="*/ 312 h 390"/>
                <a:gd name="T12" fmla="*/ 264 w 459"/>
                <a:gd name="T13" fmla="*/ 341 h 390"/>
                <a:gd name="T14" fmla="*/ 293 w 459"/>
                <a:gd name="T15" fmla="*/ 351 h 390"/>
                <a:gd name="T16" fmla="*/ 274 w 459"/>
                <a:gd name="T17" fmla="*/ 361 h 390"/>
                <a:gd name="T18" fmla="*/ 293 w 459"/>
                <a:gd name="T19" fmla="*/ 380 h 390"/>
                <a:gd name="T20" fmla="*/ 332 w 459"/>
                <a:gd name="T21" fmla="*/ 351 h 390"/>
                <a:gd name="T22" fmla="*/ 361 w 459"/>
                <a:gd name="T23" fmla="*/ 322 h 390"/>
                <a:gd name="T24" fmla="*/ 352 w 459"/>
                <a:gd name="T25" fmla="*/ 293 h 390"/>
                <a:gd name="T26" fmla="*/ 371 w 459"/>
                <a:gd name="T27" fmla="*/ 302 h 390"/>
                <a:gd name="T28" fmla="*/ 439 w 459"/>
                <a:gd name="T29" fmla="*/ 293 h 390"/>
                <a:gd name="T30" fmla="*/ 439 w 459"/>
                <a:gd name="T31" fmla="*/ 254 h 390"/>
                <a:gd name="T32" fmla="*/ 430 w 459"/>
                <a:gd name="T33" fmla="*/ 234 h 390"/>
                <a:gd name="T34" fmla="*/ 449 w 459"/>
                <a:gd name="T35" fmla="*/ 205 h 390"/>
                <a:gd name="T36" fmla="*/ 459 w 459"/>
                <a:gd name="T37" fmla="*/ 185 h 390"/>
                <a:gd name="T38" fmla="*/ 430 w 459"/>
                <a:gd name="T39" fmla="*/ 185 h 390"/>
                <a:gd name="T40" fmla="*/ 449 w 459"/>
                <a:gd name="T41" fmla="*/ 166 h 390"/>
                <a:gd name="T42" fmla="*/ 459 w 459"/>
                <a:gd name="T43" fmla="*/ 146 h 390"/>
                <a:gd name="T44" fmla="*/ 410 w 459"/>
                <a:gd name="T45" fmla="*/ 156 h 390"/>
                <a:gd name="T46" fmla="*/ 400 w 459"/>
                <a:gd name="T47" fmla="*/ 175 h 390"/>
                <a:gd name="T48" fmla="*/ 361 w 459"/>
                <a:gd name="T49" fmla="*/ 166 h 390"/>
                <a:gd name="T50" fmla="*/ 322 w 459"/>
                <a:gd name="T51" fmla="*/ 136 h 390"/>
                <a:gd name="T52" fmla="*/ 322 w 459"/>
                <a:gd name="T53" fmla="*/ 97 h 390"/>
                <a:gd name="T54" fmla="*/ 322 w 459"/>
                <a:gd name="T55" fmla="*/ 68 h 390"/>
                <a:gd name="T56" fmla="*/ 322 w 459"/>
                <a:gd name="T57" fmla="*/ 29 h 390"/>
                <a:gd name="T58" fmla="*/ 293 w 459"/>
                <a:gd name="T59" fmla="*/ 19 h 390"/>
                <a:gd name="T60" fmla="*/ 264 w 459"/>
                <a:gd name="T61" fmla="*/ 10 h 390"/>
                <a:gd name="T62" fmla="*/ 225 w 459"/>
                <a:gd name="T63" fmla="*/ 10 h 390"/>
                <a:gd name="T64" fmla="*/ 186 w 459"/>
                <a:gd name="T65" fmla="*/ 10 h 390"/>
                <a:gd name="T66" fmla="*/ 137 w 459"/>
                <a:gd name="T67" fmla="*/ 10 h 390"/>
                <a:gd name="T68" fmla="*/ 98 w 459"/>
                <a:gd name="T69" fmla="*/ 10 h 390"/>
                <a:gd name="T70" fmla="*/ 98 w 459"/>
                <a:gd name="T71" fmla="*/ 29 h 390"/>
                <a:gd name="T72" fmla="*/ 88 w 459"/>
                <a:gd name="T73" fmla="*/ 49 h 390"/>
                <a:gd name="T74" fmla="*/ 78 w 459"/>
                <a:gd name="T75" fmla="*/ 58 h 390"/>
                <a:gd name="T76" fmla="*/ 49 w 459"/>
                <a:gd name="T77" fmla="*/ 78 h 390"/>
                <a:gd name="T78" fmla="*/ 30 w 459"/>
                <a:gd name="T79" fmla="*/ 58 h 390"/>
                <a:gd name="T80" fmla="*/ 0 w 459"/>
                <a:gd name="T81" fmla="*/ 78 h 390"/>
                <a:gd name="T82" fmla="*/ 39 w 459"/>
                <a:gd name="T83" fmla="*/ 88 h 390"/>
                <a:gd name="T84" fmla="*/ 59 w 459"/>
                <a:gd name="T85" fmla="*/ 107 h 390"/>
                <a:gd name="T86" fmla="*/ 78 w 459"/>
                <a:gd name="T87" fmla="*/ 136 h 390"/>
                <a:gd name="T88" fmla="*/ 98 w 459"/>
                <a:gd name="T89" fmla="*/ 127 h 390"/>
                <a:gd name="T90" fmla="*/ 137 w 459"/>
                <a:gd name="T91" fmla="*/ 136 h 390"/>
                <a:gd name="T92" fmla="*/ 137 w 459"/>
                <a:gd name="T93" fmla="*/ 175 h 390"/>
                <a:gd name="T94" fmla="*/ 147 w 459"/>
                <a:gd name="T95" fmla="*/ 215 h 39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9"/>
                <a:gd name="T145" fmla="*/ 0 h 390"/>
                <a:gd name="T146" fmla="*/ 459 w 459"/>
                <a:gd name="T147" fmla="*/ 390 h 39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9" h="390">
                  <a:moveTo>
                    <a:pt x="147" y="215"/>
                  </a:moveTo>
                  <a:lnTo>
                    <a:pt x="156" y="234"/>
                  </a:lnTo>
                  <a:lnTo>
                    <a:pt x="176" y="234"/>
                  </a:lnTo>
                  <a:lnTo>
                    <a:pt x="176" y="254"/>
                  </a:lnTo>
                  <a:lnTo>
                    <a:pt x="195" y="254"/>
                  </a:lnTo>
                  <a:lnTo>
                    <a:pt x="195" y="234"/>
                  </a:lnTo>
                  <a:lnTo>
                    <a:pt x="215" y="244"/>
                  </a:lnTo>
                  <a:lnTo>
                    <a:pt x="225" y="254"/>
                  </a:lnTo>
                  <a:lnTo>
                    <a:pt x="225" y="283"/>
                  </a:lnTo>
                  <a:lnTo>
                    <a:pt x="225" y="312"/>
                  </a:lnTo>
                  <a:lnTo>
                    <a:pt x="244" y="302"/>
                  </a:lnTo>
                  <a:lnTo>
                    <a:pt x="254" y="312"/>
                  </a:lnTo>
                  <a:lnTo>
                    <a:pt x="254" y="322"/>
                  </a:lnTo>
                  <a:lnTo>
                    <a:pt x="264" y="341"/>
                  </a:lnTo>
                  <a:lnTo>
                    <a:pt x="274" y="351"/>
                  </a:lnTo>
                  <a:lnTo>
                    <a:pt x="293" y="351"/>
                  </a:lnTo>
                  <a:lnTo>
                    <a:pt x="293" y="361"/>
                  </a:lnTo>
                  <a:lnTo>
                    <a:pt x="274" y="361"/>
                  </a:lnTo>
                  <a:lnTo>
                    <a:pt x="283" y="390"/>
                  </a:lnTo>
                  <a:lnTo>
                    <a:pt x="293" y="380"/>
                  </a:lnTo>
                  <a:lnTo>
                    <a:pt x="313" y="351"/>
                  </a:lnTo>
                  <a:lnTo>
                    <a:pt x="332" y="351"/>
                  </a:lnTo>
                  <a:lnTo>
                    <a:pt x="352" y="351"/>
                  </a:lnTo>
                  <a:lnTo>
                    <a:pt x="361" y="322"/>
                  </a:lnTo>
                  <a:lnTo>
                    <a:pt x="352" y="302"/>
                  </a:lnTo>
                  <a:lnTo>
                    <a:pt x="352" y="293"/>
                  </a:lnTo>
                  <a:lnTo>
                    <a:pt x="361" y="293"/>
                  </a:lnTo>
                  <a:lnTo>
                    <a:pt x="371" y="302"/>
                  </a:lnTo>
                  <a:lnTo>
                    <a:pt x="420" y="293"/>
                  </a:lnTo>
                  <a:lnTo>
                    <a:pt x="439" y="293"/>
                  </a:lnTo>
                  <a:lnTo>
                    <a:pt x="449" y="273"/>
                  </a:lnTo>
                  <a:lnTo>
                    <a:pt x="439" y="254"/>
                  </a:lnTo>
                  <a:lnTo>
                    <a:pt x="430" y="234"/>
                  </a:lnTo>
                  <a:lnTo>
                    <a:pt x="430" y="224"/>
                  </a:lnTo>
                  <a:lnTo>
                    <a:pt x="449" y="205"/>
                  </a:lnTo>
                  <a:lnTo>
                    <a:pt x="459" y="195"/>
                  </a:lnTo>
                  <a:lnTo>
                    <a:pt x="459" y="185"/>
                  </a:lnTo>
                  <a:lnTo>
                    <a:pt x="439" y="195"/>
                  </a:lnTo>
                  <a:lnTo>
                    <a:pt x="430" y="185"/>
                  </a:lnTo>
                  <a:lnTo>
                    <a:pt x="430" y="166"/>
                  </a:lnTo>
                  <a:lnTo>
                    <a:pt x="449" y="166"/>
                  </a:lnTo>
                  <a:lnTo>
                    <a:pt x="459" y="156"/>
                  </a:lnTo>
                  <a:lnTo>
                    <a:pt x="459" y="146"/>
                  </a:lnTo>
                  <a:lnTo>
                    <a:pt x="439" y="146"/>
                  </a:lnTo>
                  <a:lnTo>
                    <a:pt x="410" y="156"/>
                  </a:lnTo>
                  <a:lnTo>
                    <a:pt x="410" y="175"/>
                  </a:lnTo>
                  <a:lnTo>
                    <a:pt x="400" y="175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56"/>
                  </a:lnTo>
                  <a:lnTo>
                    <a:pt x="322" y="136"/>
                  </a:lnTo>
                  <a:lnTo>
                    <a:pt x="332" y="117"/>
                  </a:lnTo>
                  <a:lnTo>
                    <a:pt x="322" y="97"/>
                  </a:lnTo>
                  <a:lnTo>
                    <a:pt x="332" y="78"/>
                  </a:lnTo>
                  <a:lnTo>
                    <a:pt x="322" y="68"/>
                  </a:lnTo>
                  <a:lnTo>
                    <a:pt x="322" y="29"/>
                  </a:lnTo>
                  <a:lnTo>
                    <a:pt x="303" y="39"/>
                  </a:lnTo>
                  <a:lnTo>
                    <a:pt x="293" y="19"/>
                  </a:lnTo>
                  <a:lnTo>
                    <a:pt x="283" y="10"/>
                  </a:lnTo>
                  <a:lnTo>
                    <a:pt x="264" y="10"/>
                  </a:lnTo>
                  <a:lnTo>
                    <a:pt x="254" y="0"/>
                  </a:lnTo>
                  <a:lnTo>
                    <a:pt x="225" y="10"/>
                  </a:lnTo>
                  <a:lnTo>
                    <a:pt x="205" y="10"/>
                  </a:lnTo>
                  <a:lnTo>
                    <a:pt x="186" y="10"/>
                  </a:lnTo>
                  <a:lnTo>
                    <a:pt x="166" y="10"/>
                  </a:lnTo>
                  <a:lnTo>
                    <a:pt x="137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88" y="19"/>
                  </a:lnTo>
                  <a:lnTo>
                    <a:pt x="98" y="29"/>
                  </a:lnTo>
                  <a:lnTo>
                    <a:pt x="98" y="39"/>
                  </a:lnTo>
                  <a:lnTo>
                    <a:pt x="88" y="49"/>
                  </a:lnTo>
                  <a:lnTo>
                    <a:pt x="78" y="58"/>
                  </a:lnTo>
                  <a:lnTo>
                    <a:pt x="59" y="78"/>
                  </a:lnTo>
                  <a:lnTo>
                    <a:pt x="49" y="78"/>
                  </a:lnTo>
                  <a:lnTo>
                    <a:pt x="39" y="68"/>
                  </a:lnTo>
                  <a:lnTo>
                    <a:pt x="30" y="58"/>
                  </a:lnTo>
                  <a:lnTo>
                    <a:pt x="10" y="58"/>
                  </a:lnTo>
                  <a:lnTo>
                    <a:pt x="0" y="78"/>
                  </a:lnTo>
                  <a:lnTo>
                    <a:pt x="20" y="88"/>
                  </a:lnTo>
                  <a:lnTo>
                    <a:pt x="3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69" y="127"/>
                  </a:lnTo>
                  <a:lnTo>
                    <a:pt x="78" y="136"/>
                  </a:lnTo>
                  <a:lnTo>
                    <a:pt x="88" y="136"/>
                  </a:lnTo>
                  <a:lnTo>
                    <a:pt x="98" y="127"/>
                  </a:lnTo>
                  <a:lnTo>
                    <a:pt x="117" y="136"/>
                  </a:lnTo>
                  <a:lnTo>
                    <a:pt x="137" y="136"/>
                  </a:lnTo>
                  <a:lnTo>
                    <a:pt x="147" y="156"/>
                  </a:lnTo>
                  <a:lnTo>
                    <a:pt x="137" y="175"/>
                  </a:lnTo>
                  <a:lnTo>
                    <a:pt x="147" y="195"/>
                  </a:lnTo>
                  <a:lnTo>
                    <a:pt x="147" y="215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" name="Freeform 372"/>
            <p:cNvSpPr>
              <a:spLocks/>
            </p:cNvSpPr>
            <p:nvPr/>
          </p:nvSpPr>
          <p:spPr bwMode="auto">
            <a:xfrm>
              <a:off x="2350" y="2567"/>
              <a:ext cx="470" cy="575"/>
            </a:xfrm>
            <a:custGeom>
              <a:avLst/>
              <a:gdLst>
                <a:gd name="T0" fmla="*/ 68 w 468"/>
                <a:gd name="T1" fmla="*/ 117 h 576"/>
                <a:gd name="T2" fmla="*/ 88 w 468"/>
                <a:gd name="T3" fmla="*/ 88 h 576"/>
                <a:gd name="T4" fmla="*/ 88 w 468"/>
                <a:gd name="T5" fmla="*/ 59 h 576"/>
                <a:gd name="T6" fmla="*/ 107 w 468"/>
                <a:gd name="T7" fmla="*/ 68 h 576"/>
                <a:gd name="T8" fmla="*/ 175 w 468"/>
                <a:gd name="T9" fmla="*/ 59 h 576"/>
                <a:gd name="T10" fmla="*/ 175 w 468"/>
                <a:gd name="T11" fmla="*/ 20 h 576"/>
                <a:gd name="T12" fmla="*/ 166 w 468"/>
                <a:gd name="T13" fmla="*/ 0 h 576"/>
                <a:gd name="T14" fmla="*/ 205 w 468"/>
                <a:gd name="T15" fmla="*/ 0 h 576"/>
                <a:gd name="T16" fmla="*/ 253 w 468"/>
                <a:gd name="T17" fmla="*/ 0 h 576"/>
                <a:gd name="T18" fmla="*/ 283 w 468"/>
                <a:gd name="T19" fmla="*/ 29 h 576"/>
                <a:gd name="T20" fmla="*/ 331 w 468"/>
                <a:gd name="T21" fmla="*/ 39 h 576"/>
                <a:gd name="T22" fmla="*/ 331 w 468"/>
                <a:gd name="T23" fmla="*/ 49 h 576"/>
                <a:gd name="T24" fmla="*/ 331 w 468"/>
                <a:gd name="T25" fmla="*/ 68 h 576"/>
                <a:gd name="T26" fmla="*/ 361 w 468"/>
                <a:gd name="T27" fmla="*/ 117 h 576"/>
                <a:gd name="T28" fmla="*/ 390 w 468"/>
                <a:gd name="T29" fmla="*/ 137 h 576"/>
                <a:gd name="T30" fmla="*/ 419 w 468"/>
                <a:gd name="T31" fmla="*/ 156 h 576"/>
                <a:gd name="T32" fmla="*/ 439 w 468"/>
                <a:gd name="T33" fmla="*/ 176 h 576"/>
                <a:gd name="T34" fmla="*/ 458 w 468"/>
                <a:gd name="T35" fmla="*/ 195 h 576"/>
                <a:gd name="T36" fmla="*/ 468 w 468"/>
                <a:gd name="T37" fmla="*/ 215 h 576"/>
                <a:gd name="T38" fmla="*/ 448 w 468"/>
                <a:gd name="T39" fmla="*/ 234 h 576"/>
                <a:gd name="T40" fmla="*/ 448 w 468"/>
                <a:gd name="T41" fmla="*/ 254 h 576"/>
                <a:gd name="T42" fmla="*/ 419 w 468"/>
                <a:gd name="T43" fmla="*/ 254 h 576"/>
                <a:gd name="T44" fmla="*/ 409 w 468"/>
                <a:gd name="T45" fmla="*/ 273 h 576"/>
                <a:gd name="T46" fmla="*/ 380 w 468"/>
                <a:gd name="T47" fmla="*/ 263 h 576"/>
                <a:gd name="T48" fmla="*/ 361 w 468"/>
                <a:gd name="T49" fmla="*/ 273 h 576"/>
                <a:gd name="T50" fmla="*/ 341 w 468"/>
                <a:gd name="T51" fmla="*/ 254 h 576"/>
                <a:gd name="T52" fmla="*/ 361 w 468"/>
                <a:gd name="T53" fmla="*/ 234 h 576"/>
                <a:gd name="T54" fmla="*/ 331 w 468"/>
                <a:gd name="T55" fmla="*/ 205 h 576"/>
                <a:gd name="T56" fmla="*/ 283 w 468"/>
                <a:gd name="T57" fmla="*/ 244 h 576"/>
                <a:gd name="T58" fmla="*/ 273 w 468"/>
                <a:gd name="T59" fmla="*/ 273 h 576"/>
                <a:gd name="T60" fmla="*/ 322 w 468"/>
                <a:gd name="T61" fmla="*/ 302 h 576"/>
                <a:gd name="T62" fmla="*/ 351 w 468"/>
                <a:gd name="T63" fmla="*/ 322 h 576"/>
                <a:gd name="T64" fmla="*/ 390 w 468"/>
                <a:gd name="T65" fmla="*/ 332 h 576"/>
                <a:gd name="T66" fmla="*/ 429 w 468"/>
                <a:gd name="T67" fmla="*/ 332 h 576"/>
                <a:gd name="T68" fmla="*/ 419 w 468"/>
                <a:gd name="T69" fmla="*/ 361 h 576"/>
                <a:gd name="T70" fmla="*/ 390 w 468"/>
                <a:gd name="T71" fmla="*/ 381 h 576"/>
                <a:gd name="T72" fmla="*/ 361 w 468"/>
                <a:gd name="T73" fmla="*/ 381 h 576"/>
                <a:gd name="T74" fmla="*/ 322 w 468"/>
                <a:gd name="T75" fmla="*/ 381 h 576"/>
                <a:gd name="T76" fmla="*/ 283 w 468"/>
                <a:gd name="T77" fmla="*/ 410 h 576"/>
                <a:gd name="T78" fmla="*/ 263 w 468"/>
                <a:gd name="T79" fmla="*/ 439 h 576"/>
                <a:gd name="T80" fmla="*/ 253 w 468"/>
                <a:gd name="T81" fmla="*/ 468 h 576"/>
                <a:gd name="T82" fmla="*/ 234 w 468"/>
                <a:gd name="T83" fmla="*/ 478 h 576"/>
                <a:gd name="T84" fmla="*/ 214 w 468"/>
                <a:gd name="T85" fmla="*/ 517 h 576"/>
                <a:gd name="T86" fmla="*/ 185 w 468"/>
                <a:gd name="T87" fmla="*/ 537 h 576"/>
                <a:gd name="T88" fmla="*/ 166 w 468"/>
                <a:gd name="T89" fmla="*/ 546 h 576"/>
                <a:gd name="T90" fmla="*/ 127 w 468"/>
                <a:gd name="T91" fmla="*/ 576 h 576"/>
                <a:gd name="T92" fmla="*/ 107 w 468"/>
                <a:gd name="T93" fmla="*/ 546 h 576"/>
                <a:gd name="T94" fmla="*/ 68 w 468"/>
                <a:gd name="T95" fmla="*/ 537 h 576"/>
                <a:gd name="T96" fmla="*/ 49 w 468"/>
                <a:gd name="T97" fmla="*/ 517 h 576"/>
                <a:gd name="T98" fmla="*/ 29 w 468"/>
                <a:gd name="T99" fmla="*/ 517 h 576"/>
                <a:gd name="T100" fmla="*/ 39 w 468"/>
                <a:gd name="T101" fmla="*/ 488 h 576"/>
                <a:gd name="T102" fmla="*/ 29 w 468"/>
                <a:gd name="T103" fmla="*/ 449 h 576"/>
                <a:gd name="T104" fmla="*/ 49 w 468"/>
                <a:gd name="T105" fmla="*/ 429 h 576"/>
                <a:gd name="T106" fmla="*/ 58 w 468"/>
                <a:gd name="T107" fmla="*/ 400 h 576"/>
                <a:gd name="T108" fmla="*/ 19 w 468"/>
                <a:gd name="T109" fmla="*/ 410 h 576"/>
                <a:gd name="T110" fmla="*/ 10 w 468"/>
                <a:gd name="T111" fmla="*/ 371 h 576"/>
                <a:gd name="T112" fmla="*/ 29 w 468"/>
                <a:gd name="T113" fmla="*/ 361 h 576"/>
                <a:gd name="T114" fmla="*/ 10 w 468"/>
                <a:gd name="T115" fmla="*/ 342 h 576"/>
                <a:gd name="T116" fmla="*/ 29 w 468"/>
                <a:gd name="T117" fmla="*/ 273 h 576"/>
                <a:gd name="T118" fmla="*/ 29 w 468"/>
                <a:gd name="T119" fmla="*/ 254 h 576"/>
                <a:gd name="T120" fmla="*/ 10 w 468"/>
                <a:gd name="T121" fmla="*/ 224 h 576"/>
                <a:gd name="T122" fmla="*/ 19 w 468"/>
                <a:gd name="T123" fmla="*/ 176 h 576"/>
                <a:gd name="T124" fmla="*/ 49 w 468"/>
                <a:gd name="T125" fmla="*/ 117 h 57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576"/>
                <a:gd name="T191" fmla="*/ 468 w 468"/>
                <a:gd name="T192" fmla="*/ 576 h 57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576">
                  <a:moveTo>
                    <a:pt x="49" y="117"/>
                  </a:moveTo>
                  <a:lnTo>
                    <a:pt x="68" y="117"/>
                  </a:lnTo>
                  <a:lnTo>
                    <a:pt x="88" y="117"/>
                  </a:lnTo>
                  <a:lnTo>
                    <a:pt x="88" y="88"/>
                  </a:lnTo>
                  <a:lnTo>
                    <a:pt x="88" y="68"/>
                  </a:lnTo>
                  <a:lnTo>
                    <a:pt x="88" y="59"/>
                  </a:lnTo>
                  <a:lnTo>
                    <a:pt x="107" y="68"/>
                  </a:lnTo>
                  <a:lnTo>
                    <a:pt x="156" y="59"/>
                  </a:lnTo>
                  <a:lnTo>
                    <a:pt x="175" y="59"/>
                  </a:lnTo>
                  <a:lnTo>
                    <a:pt x="185" y="49"/>
                  </a:lnTo>
                  <a:lnTo>
                    <a:pt x="175" y="20"/>
                  </a:lnTo>
                  <a:lnTo>
                    <a:pt x="166" y="0"/>
                  </a:lnTo>
                  <a:lnTo>
                    <a:pt x="175" y="0"/>
                  </a:lnTo>
                  <a:lnTo>
                    <a:pt x="205" y="0"/>
                  </a:lnTo>
                  <a:lnTo>
                    <a:pt x="234" y="0"/>
                  </a:lnTo>
                  <a:lnTo>
                    <a:pt x="253" y="0"/>
                  </a:lnTo>
                  <a:lnTo>
                    <a:pt x="263" y="20"/>
                  </a:lnTo>
                  <a:lnTo>
                    <a:pt x="283" y="29"/>
                  </a:lnTo>
                  <a:lnTo>
                    <a:pt x="302" y="39"/>
                  </a:lnTo>
                  <a:lnTo>
                    <a:pt x="331" y="39"/>
                  </a:lnTo>
                  <a:lnTo>
                    <a:pt x="341" y="49"/>
                  </a:lnTo>
                  <a:lnTo>
                    <a:pt x="331" y="49"/>
                  </a:lnTo>
                  <a:lnTo>
                    <a:pt x="331" y="59"/>
                  </a:lnTo>
                  <a:lnTo>
                    <a:pt x="331" y="68"/>
                  </a:lnTo>
                  <a:lnTo>
                    <a:pt x="351" y="78"/>
                  </a:lnTo>
                  <a:lnTo>
                    <a:pt x="361" y="117"/>
                  </a:lnTo>
                  <a:lnTo>
                    <a:pt x="380" y="117"/>
                  </a:lnTo>
                  <a:lnTo>
                    <a:pt x="390" y="137"/>
                  </a:lnTo>
                  <a:lnTo>
                    <a:pt x="400" y="137"/>
                  </a:lnTo>
                  <a:lnTo>
                    <a:pt x="419" y="156"/>
                  </a:lnTo>
                  <a:lnTo>
                    <a:pt x="419" y="166"/>
                  </a:lnTo>
                  <a:lnTo>
                    <a:pt x="439" y="176"/>
                  </a:lnTo>
                  <a:lnTo>
                    <a:pt x="458" y="185"/>
                  </a:lnTo>
                  <a:lnTo>
                    <a:pt x="458" y="195"/>
                  </a:lnTo>
                  <a:lnTo>
                    <a:pt x="468" y="195"/>
                  </a:lnTo>
                  <a:lnTo>
                    <a:pt x="468" y="215"/>
                  </a:lnTo>
                  <a:lnTo>
                    <a:pt x="448" y="224"/>
                  </a:lnTo>
                  <a:lnTo>
                    <a:pt x="448" y="234"/>
                  </a:lnTo>
                  <a:lnTo>
                    <a:pt x="439" y="244"/>
                  </a:lnTo>
                  <a:lnTo>
                    <a:pt x="448" y="254"/>
                  </a:lnTo>
                  <a:lnTo>
                    <a:pt x="448" y="263"/>
                  </a:lnTo>
                  <a:lnTo>
                    <a:pt x="419" y="254"/>
                  </a:lnTo>
                  <a:lnTo>
                    <a:pt x="419" y="273"/>
                  </a:lnTo>
                  <a:lnTo>
                    <a:pt x="409" y="273"/>
                  </a:lnTo>
                  <a:lnTo>
                    <a:pt x="400" y="263"/>
                  </a:lnTo>
                  <a:lnTo>
                    <a:pt x="380" y="263"/>
                  </a:lnTo>
                  <a:lnTo>
                    <a:pt x="380" y="273"/>
                  </a:lnTo>
                  <a:lnTo>
                    <a:pt x="361" y="273"/>
                  </a:lnTo>
                  <a:lnTo>
                    <a:pt x="361" y="254"/>
                  </a:lnTo>
                  <a:lnTo>
                    <a:pt x="341" y="254"/>
                  </a:lnTo>
                  <a:lnTo>
                    <a:pt x="331" y="244"/>
                  </a:lnTo>
                  <a:lnTo>
                    <a:pt x="361" y="234"/>
                  </a:lnTo>
                  <a:lnTo>
                    <a:pt x="351" y="215"/>
                  </a:lnTo>
                  <a:lnTo>
                    <a:pt x="331" y="205"/>
                  </a:lnTo>
                  <a:lnTo>
                    <a:pt x="292" y="215"/>
                  </a:lnTo>
                  <a:lnTo>
                    <a:pt x="283" y="244"/>
                  </a:lnTo>
                  <a:lnTo>
                    <a:pt x="273" y="254"/>
                  </a:lnTo>
                  <a:lnTo>
                    <a:pt x="273" y="273"/>
                  </a:lnTo>
                  <a:lnTo>
                    <a:pt x="292" y="302"/>
                  </a:lnTo>
                  <a:lnTo>
                    <a:pt x="322" y="302"/>
                  </a:lnTo>
                  <a:lnTo>
                    <a:pt x="341" y="332"/>
                  </a:lnTo>
                  <a:lnTo>
                    <a:pt x="351" y="322"/>
                  </a:lnTo>
                  <a:lnTo>
                    <a:pt x="370" y="332"/>
                  </a:lnTo>
                  <a:lnTo>
                    <a:pt x="390" y="332"/>
                  </a:lnTo>
                  <a:lnTo>
                    <a:pt x="419" y="332"/>
                  </a:lnTo>
                  <a:lnTo>
                    <a:pt x="429" y="332"/>
                  </a:lnTo>
                  <a:lnTo>
                    <a:pt x="429" y="342"/>
                  </a:lnTo>
                  <a:lnTo>
                    <a:pt x="419" y="361"/>
                  </a:lnTo>
                  <a:lnTo>
                    <a:pt x="400" y="361"/>
                  </a:lnTo>
                  <a:lnTo>
                    <a:pt x="390" y="381"/>
                  </a:lnTo>
                  <a:lnTo>
                    <a:pt x="370" y="390"/>
                  </a:lnTo>
                  <a:lnTo>
                    <a:pt x="361" y="381"/>
                  </a:lnTo>
                  <a:lnTo>
                    <a:pt x="341" y="381"/>
                  </a:lnTo>
                  <a:lnTo>
                    <a:pt x="322" y="381"/>
                  </a:lnTo>
                  <a:lnTo>
                    <a:pt x="302" y="400"/>
                  </a:lnTo>
                  <a:lnTo>
                    <a:pt x="283" y="410"/>
                  </a:lnTo>
                  <a:lnTo>
                    <a:pt x="273" y="420"/>
                  </a:lnTo>
                  <a:lnTo>
                    <a:pt x="263" y="439"/>
                  </a:lnTo>
                  <a:lnTo>
                    <a:pt x="253" y="459"/>
                  </a:lnTo>
                  <a:lnTo>
                    <a:pt x="253" y="468"/>
                  </a:lnTo>
                  <a:lnTo>
                    <a:pt x="244" y="478"/>
                  </a:lnTo>
                  <a:lnTo>
                    <a:pt x="234" y="478"/>
                  </a:lnTo>
                  <a:lnTo>
                    <a:pt x="224" y="498"/>
                  </a:lnTo>
                  <a:lnTo>
                    <a:pt x="214" y="517"/>
                  </a:lnTo>
                  <a:lnTo>
                    <a:pt x="205" y="537"/>
                  </a:lnTo>
                  <a:lnTo>
                    <a:pt x="185" y="537"/>
                  </a:lnTo>
                  <a:lnTo>
                    <a:pt x="175" y="537"/>
                  </a:lnTo>
                  <a:lnTo>
                    <a:pt x="166" y="546"/>
                  </a:lnTo>
                  <a:lnTo>
                    <a:pt x="146" y="566"/>
                  </a:lnTo>
                  <a:lnTo>
                    <a:pt x="127" y="576"/>
                  </a:lnTo>
                  <a:lnTo>
                    <a:pt x="107" y="566"/>
                  </a:lnTo>
                  <a:lnTo>
                    <a:pt x="107" y="546"/>
                  </a:lnTo>
                  <a:lnTo>
                    <a:pt x="88" y="537"/>
                  </a:lnTo>
                  <a:lnTo>
                    <a:pt x="68" y="537"/>
                  </a:lnTo>
                  <a:lnTo>
                    <a:pt x="49" y="537"/>
                  </a:lnTo>
                  <a:lnTo>
                    <a:pt x="49" y="517"/>
                  </a:lnTo>
                  <a:lnTo>
                    <a:pt x="39" y="517"/>
                  </a:lnTo>
                  <a:lnTo>
                    <a:pt x="29" y="517"/>
                  </a:lnTo>
                  <a:lnTo>
                    <a:pt x="29" y="488"/>
                  </a:lnTo>
                  <a:lnTo>
                    <a:pt x="39" y="488"/>
                  </a:lnTo>
                  <a:lnTo>
                    <a:pt x="39" y="45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9" y="429"/>
                  </a:lnTo>
                  <a:lnTo>
                    <a:pt x="68" y="420"/>
                  </a:lnTo>
                  <a:lnTo>
                    <a:pt x="58" y="400"/>
                  </a:lnTo>
                  <a:lnTo>
                    <a:pt x="39" y="400"/>
                  </a:lnTo>
                  <a:lnTo>
                    <a:pt x="19" y="410"/>
                  </a:lnTo>
                  <a:lnTo>
                    <a:pt x="10" y="390"/>
                  </a:lnTo>
                  <a:lnTo>
                    <a:pt x="10" y="371"/>
                  </a:lnTo>
                  <a:lnTo>
                    <a:pt x="0" y="361"/>
                  </a:lnTo>
                  <a:lnTo>
                    <a:pt x="29" y="361"/>
                  </a:lnTo>
                  <a:lnTo>
                    <a:pt x="29" y="351"/>
                  </a:lnTo>
                  <a:lnTo>
                    <a:pt x="10" y="342"/>
                  </a:lnTo>
                  <a:lnTo>
                    <a:pt x="29" y="293"/>
                  </a:lnTo>
                  <a:lnTo>
                    <a:pt x="29" y="273"/>
                  </a:lnTo>
                  <a:lnTo>
                    <a:pt x="39" y="263"/>
                  </a:lnTo>
                  <a:lnTo>
                    <a:pt x="29" y="254"/>
                  </a:lnTo>
                  <a:lnTo>
                    <a:pt x="10" y="244"/>
                  </a:lnTo>
                  <a:lnTo>
                    <a:pt x="10" y="224"/>
                  </a:lnTo>
                  <a:lnTo>
                    <a:pt x="10" y="205"/>
                  </a:lnTo>
                  <a:lnTo>
                    <a:pt x="19" y="176"/>
                  </a:lnTo>
                  <a:lnTo>
                    <a:pt x="29" y="146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Freeform 371"/>
            <p:cNvSpPr>
              <a:spLocks/>
            </p:cNvSpPr>
            <p:nvPr/>
          </p:nvSpPr>
          <p:spPr bwMode="auto">
            <a:xfrm>
              <a:off x="2409" y="2274"/>
              <a:ext cx="324" cy="293"/>
            </a:xfrm>
            <a:custGeom>
              <a:avLst/>
              <a:gdLst>
                <a:gd name="T0" fmla="*/ 10 w 322"/>
                <a:gd name="T1" fmla="*/ 215 h 293"/>
                <a:gd name="T2" fmla="*/ 39 w 322"/>
                <a:gd name="T3" fmla="*/ 225 h 293"/>
                <a:gd name="T4" fmla="*/ 69 w 322"/>
                <a:gd name="T5" fmla="*/ 225 h 293"/>
                <a:gd name="T6" fmla="*/ 78 w 322"/>
                <a:gd name="T7" fmla="*/ 234 h 293"/>
                <a:gd name="T8" fmla="*/ 88 w 322"/>
                <a:gd name="T9" fmla="*/ 234 h 293"/>
                <a:gd name="T10" fmla="*/ 88 w 322"/>
                <a:gd name="T11" fmla="*/ 215 h 293"/>
                <a:gd name="T12" fmla="*/ 117 w 322"/>
                <a:gd name="T13" fmla="*/ 205 h 293"/>
                <a:gd name="T14" fmla="*/ 137 w 322"/>
                <a:gd name="T15" fmla="*/ 205 h 293"/>
                <a:gd name="T16" fmla="*/ 137 w 322"/>
                <a:gd name="T17" fmla="*/ 215 h 293"/>
                <a:gd name="T18" fmla="*/ 127 w 322"/>
                <a:gd name="T19" fmla="*/ 225 h 293"/>
                <a:gd name="T20" fmla="*/ 108 w 322"/>
                <a:gd name="T21" fmla="*/ 225 h 293"/>
                <a:gd name="T22" fmla="*/ 108 w 322"/>
                <a:gd name="T23" fmla="*/ 244 h 293"/>
                <a:gd name="T24" fmla="*/ 117 w 322"/>
                <a:gd name="T25" fmla="*/ 254 h 293"/>
                <a:gd name="T26" fmla="*/ 137 w 322"/>
                <a:gd name="T27" fmla="*/ 244 h 293"/>
                <a:gd name="T28" fmla="*/ 137 w 322"/>
                <a:gd name="T29" fmla="*/ 264 h 293"/>
                <a:gd name="T30" fmla="*/ 127 w 322"/>
                <a:gd name="T31" fmla="*/ 264 h 293"/>
                <a:gd name="T32" fmla="*/ 108 w 322"/>
                <a:gd name="T33" fmla="*/ 283 h 293"/>
                <a:gd name="T34" fmla="*/ 108 w 322"/>
                <a:gd name="T35" fmla="*/ 293 h 293"/>
                <a:gd name="T36" fmla="*/ 127 w 322"/>
                <a:gd name="T37" fmla="*/ 293 h 293"/>
                <a:gd name="T38" fmla="*/ 147 w 322"/>
                <a:gd name="T39" fmla="*/ 293 h 293"/>
                <a:gd name="T40" fmla="*/ 195 w 322"/>
                <a:gd name="T41" fmla="*/ 293 h 293"/>
                <a:gd name="T42" fmla="*/ 195 w 322"/>
                <a:gd name="T43" fmla="*/ 283 h 293"/>
                <a:gd name="T44" fmla="*/ 186 w 322"/>
                <a:gd name="T45" fmla="*/ 254 h 293"/>
                <a:gd name="T46" fmla="*/ 195 w 322"/>
                <a:gd name="T47" fmla="*/ 234 h 293"/>
                <a:gd name="T48" fmla="*/ 205 w 322"/>
                <a:gd name="T49" fmla="*/ 234 h 293"/>
                <a:gd name="T50" fmla="*/ 225 w 322"/>
                <a:gd name="T51" fmla="*/ 234 h 293"/>
                <a:gd name="T52" fmla="*/ 244 w 322"/>
                <a:gd name="T53" fmla="*/ 215 h 293"/>
                <a:gd name="T54" fmla="*/ 234 w 322"/>
                <a:gd name="T55" fmla="*/ 205 h 293"/>
                <a:gd name="T56" fmla="*/ 244 w 322"/>
                <a:gd name="T57" fmla="*/ 176 h 293"/>
                <a:gd name="T58" fmla="*/ 283 w 322"/>
                <a:gd name="T59" fmla="*/ 147 h 293"/>
                <a:gd name="T60" fmla="*/ 303 w 322"/>
                <a:gd name="T61" fmla="*/ 117 h 293"/>
                <a:gd name="T62" fmla="*/ 312 w 322"/>
                <a:gd name="T63" fmla="*/ 88 h 293"/>
                <a:gd name="T64" fmla="*/ 322 w 322"/>
                <a:gd name="T65" fmla="*/ 69 h 293"/>
                <a:gd name="T66" fmla="*/ 303 w 322"/>
                <a:gd name="T67" fmla="*/ 69 h 293"/>
                <a:gd name="T68" fmla="*/ 293 w 322"/>
                <a:gd name="T69" fmla="*/ 39 h 293"/>
                <a:gd name="T70" fmla="*/ 264 w 322"/>
                <a:gd name="T71" fmla="*/ 30 h 293"/>
                <a:gd name="T72" fmla="*/ 244 w 322"/>
                <a:gd name="T73" fmla="*/ 10 h 293"/>
                <a:gd name="T74" fmla="*/ 234 w 322"/>
                <a:gd name="T75" fmla="*/ 0 h 293"/>
                <a:gd name="T76" fmla="*/ 205 w 322"/>
                <a:gd name="T77" fmla="*/ 10 h 293"/>
                <a:gd name="T78" fmla="*/ 186 w 322"/>
                <a:gd name="T79" fmla="*/ 20 h 293"/>
                <a:gd name="T80" fmla="*/ 195 w 322"/>
                <a:gd name="T81" fmla="*/ 39 h 293"/>
                <a:gd name="T82" fmla="*/ 176 w 322"/>
                <a:gd name="T83" fmla="*/ 49 h 293"/>
                <a:gd name="T84" fmla="*/ 166 w 322"/>
                <a:gd name="T85" fmla="*/ 78 h 293"/>
                <a:gd name="T86" fmla="*/ 137 w 322"/>
                <a:gd name="T87" fmla="*/ 88 h 293"/>
                <a:gd name="T88" fmla="*/ 108 w 322"/>
                <a:gd name="T89" fmla="*/ 69 h 293"/>
                <a:gd name="T90" fmla="*/ 88 w 322"/>
                <a:gd name="T91" fmla="*/ 88 h 293"/>
                <a:gd name="T92" fmla="*/ 88 w 322"/>
                <a:gd name="T93" fmla="*/ 108 h 293"/>
                <a:gd name="T94" fmla="*/ 88 w 322"/>
                <a:gd name="T95" fmla="*/ 137 h 293"/>
                <a:gd name="T96" fmla="*/ 59 w 322"/>
                <a:gd name="T97" fmla="*/ 147 h 293"/>
                <a:gd name="T98" fmla="*/ 49 w 322"/>
                <a:gd name="T99" fmla="*/ 137 h 293"/>
                <a:gd name="T100" fmla="*/ 39 w 322"/>
                <a:gd name="T101" fmla="*/ 147 h 293"/>
                <a:gd name="T102" fmla="*/ 49 w 322"/>
                <a:gd name="T103" fmla="*/ 156 h 293"/>
                <a:gd name="T104" fmla="*/ 30 w 322"/>
                <a:gd name="T105" fmla="*/ 176 h 293"/>
                <a:gd name="T106" fmla="*/ 30 w 322"/>
                <a:gd name="T107" fmla="*/ 186 h 293"/>
                <a:gd name="T108" fmla="*/ 10 w 322"/>
                <a:gd name="T109" fmla="*/ 195 h 293"/>
                <a:gd name="T110" fmla="*/ 10 w 322"/>
                <a:gd name="T111" fmla="*/ 176 h 293"/>
                <a:gd name="T112" fmla="*/ 0 w 322"/>
                <a:gd name="T113" fmla="*/ 205 h 293"/>
                <a:gd name="T114" fmla="*/ 10 w 322"/>
                <a:gd name="T115" fmla="*/ 215 h 29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22"/>
                <a:gd name="T175" fmla="*/ 0 h 293"/>
                <a:gd name="T176" fmla="*/ 322 w 322"/>
                <a:gd name="T177" fmla="*/ 293 h 29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22" h="293">
                  <a:moveTo>
                    <a:pt x="10" y="215"/>
                  </a:moveTo>
                  <a:lnTo>
                    <a:pt x="39" y="225"/>
                  </a:lnTo>
                  <a:lnTo>
                    <a:pt x="69" y="225"/>
                  </a:lnTo>
                  <a:lnTo>
                    <a:pt x="78" y="234"/>
                  </a:lnTo>
                  <a:lnTo>
                    <a:pt x="88" y="234"/>
                  </a:lnTo>
                  <a:lnTo>
                    <a:pt x="88" y="215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37" y="215"/>
                  </a:lnTo>
                  <a:lnTo>
                    <a:pt x="127" y="225"/>
                  </a:lnTo>
                  <a:lnTo>
                    <a:pt x="108" y="225"/>
                  </a:lnTo>
                  <a:lnTo>
                    <a:pt x="108" y="244"/>
                  </a:lnTo>
                  <a:lnTo>
                    <a:pt x="117" y="254"/>
                  </a:lnTo>
                  <a:lnTo>
                    <a:pt x="137" y="244"/>
                  </a:lnTo>
                  <a:lnTo>
                    <a:pt x="137" y="264"/>
                  </a:lnTo>
                  <a:lnTo>
                    <a:pt x="127" y="26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93"/>
                  </a:lnTo>
                  <a:lnTo>
                    <a:pt x="147" y="293"/>
                  </a:lnTo>
                  <a:lnTo>
                    <a:pt x="195" y="293"/>
                  </a:lnTo>
                  <a:lnTo>
                    <a:pt x="195" y="283"/>
                  </a:lnTo>
                  <a:lnTo>
                    <a:pt x="186" y="254"/>
                  </a:lnTo>
                  <a:lnTo>
                    <a:pt x="195" y="234"/>
                  </a:lnTo>
                  <a:lnTo>
                    <a:pt x="205" y="234"/>
                  </a:lnTo>
                  <a:lnTo>
                    <a:pt x="225" y="234"/>
                  </a:lnTo>
                  <a:lnTo>
                    <a:pt x="244" y="215"/>
                  </a:lnTo>
                  <a:lnTo>
                    <a:pt x="234" y="205"/>
                  </a:lnTo>
                  <a:lnTo>
                    <a:pt x="244" y="176"/>
                  </a:lnTo>
                  <a:lnTo>
                    <a:pt x="283" y="147"/>
                  </a:lnTo>
                  <a:lnTo>
                    <a:pt x="303" y="117"/>
                  </a:lnTo>
                  <a:lnTo>
                    <a:pt x="312" y="88"/>
                  </a:lnTo>
                  <a:lnTo>
                    <a:pt x="322" y="69"/>
                  </a:lnTo>
                  <a:lnTo>
                    <a:pt x="303" y="69"/>
                  </a:lnTo>
                  <a:lnTo>
                    <a:pt x="293" y="39"/>
                  </a:lnTo>
                  <a:lnTo>
                    <a:pt x="264" y="30"/>
                  </a:lnTo>
                  <a:lnTo>
                    <a:pt x="244" y="10"/>
                  </a:lnTo>
                  <a:lnTo>
                    <a:pt x="234" y="0"/>
                  </a:lnTo>
                  <a:lnTo>
                    <a:pt x="205" y="10"/>
                  </a:lnTo>
                  <a:lnTo>
                    <a:pt x="186" y="20"/>
                  </a:lnTo>
                  <a:lnTo>
                    <a:pt x="195" y="39"/>
                  </a:lnTo>
                  <a:lnTo>
                    <a:pt x="176" y="49"/>
                  </a:lnTo>
                  <a:lnTo>
                    <a:pt x="166" y="78"/>
                  </a:lnTo>
                  <a:lnTo>
                    <a:pt x="137" y="88"/>
                  </a:lnTo>
                  <a:lnTo>
                    <a:pt x="108" y="69"/>
                  </a:lnTo>
                  <a:lnTo>
                    <a:pt x="88" y="88"/>
                  </a:lnTo>
                  <a:lnTo>
                    <a:pt x="88" y="108"/>
                  </a:lnTo>
                  <a:lnTo>
                    <a:pt x="88" y="137"/>
                  </a:lnTo>
                  <a:lnTo>
                    <a:pt x="59" y="147"/>
                  </a:lnTo>
                  <a:lnTo>
                    <a:pt x="49" y="137"/>
                  </a:lnTo>
                  <a:lnTo>
                    <a:pt x="39" y="147"/>
                  </a:lnTo>
                  <a:lnTo>
                    <a:pt x="49" y="156"/>
                  </a:lnTo>
                  <a:lnTo>
                    <a:pt x="30" y="176"/>
                  </a:lnTo>
                  <a:lnTo>
                    <a:pt x="30" y="186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205"/>
                  </a:lnTo>
                  <a:lnTo>
                    <a:pt x="10" y="215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Freeform 370"/>
            <p:cNvSpPr>
              <a:spLocks/>
            </p:cNvSpPr>
            <p:nvPr/>
          </p:nvSpPr>
          <p:spPr bwMode="auto">
            <a:xfrm>
              <a:off x="2049" y="2654"/>
              <a:ext cx="594" cy="691"/>
            </a:xfrm>
            <a:custGeom>
              <a:avLst/>
              <a:gdLst>
                <a:gd name="T0" fmla="*/ 215 w 595"/>
                <a:gd name="T1" fmla="*/ 58 h 693"/>
                <a:gd name="T2" fmla="*/ 273 w 595"/>
                <a:gd name="T3" fmla="*/ 19 h 693"/>
                <a:gd name="T4" fmla="*/ 303 w 595"/>
                <a:gd name="T5" fmla="*/ 19 h 693"/>
                <a:gd name="T6" fmla="*/ 332 w 595"/>
                <a:gd name="T7" fmla="*/ 39 h 693"/>
                <a:gd name="T8" fmla="*/ 332 w 595"/>
                <a:gd name="T9" fmla="*/ 58 h 693"/>
                <a:gd name="T10" fmla="*/ 313 w 595"/>
                <a:gd name="T11" fmla="*/ 136 h 693"/>
                <a:gd name="T12" fmla="*/ 342 w 595"/>
                <a:gd name="T13" fmla="*/ 175 h 693"/>
                <a:gd name="T14" fmla="*/ 313 w 595"/>
                <a:gd name="T15" fmla="*/ 254 h 693"/>
                <a:gd name="T16" fmla="*/ 303 w 595"/>
                <a:gd name="T17" fmla="*/ 273 h 693"/>
                <a:gd name="T18" fmla="*/ 322 w 595"/>
                <a:gd name="T19" fmla="*/ 322 h 693"/>
                <a:gd name="T20" fmla="*/ 371 w 595"/>
                <a:gd name="T21" fmla="*/ 341 h 693"/>
                <a:gd name="T22" fmla="*/ 332 w 595"/>
                <a:gd name="T23" fmla="*/ 361 h 693"/>
                <a:gd name="T24" fmla="*/ 332 w 595"/>
                <a:gd name="T25" fmla="*/ 400 h 693"/>
                <a:gd name="T26" fmla="*/ 352 w 595"/>
                <a:gd name="T27" fmla="*/ 439 h 693"/>
                <a:gd name="T28" fmla="*/ 391 w 595"/>
                <a:gd name="T29" fmla="*/ 449 h 693"/>
                <a:gd name="T30" fmla="*/ 430 w 595"/>
                <a:gd name="T31" fmla="*/ 488 h 693"/>
                <a:gd name="T32" fmla="*/ 478 w 595"/>
                <a:gd name="T33" fmla="*/ 449 h 693"/>
                <a:gd name="T34" fmla="*/ 517 w 595"/>
                <a:gd name="T35" fmla="*/ 439 h 693"/>
                <a:gd name="T36" fmla="*/ 527 w 595"/>
                <a:gd name="T37" fmla="*/ 458 h 693"/>
                <a:gd name="T38" fmla="*/ 586 w 595"/>
                <a:gd name="T39" fmla="*/ 488 h 693"/>
                <a:gd name="T40" fmla="*/ 547 w 595"/>
                <a:gd name="T41" fmla="*/ 517 h 693"/>
                <a:gd name="T42" fmla="*/ 556 w 595"/>
                <a:gd name="T43" fmla="*/ 556 h 693"/>
                <a:gd name="T44" fmla="*/ 566 w 595"/>
                <a:gd name="T45" fmla="*/ 595 h 693"/>
                <a:gd name="T46" fmla="*/ 595 w 595"/>
                <a:gd name="T47" fmla="*/ 654 h 693"/>
                <a:gd name="T48" fmla="*/ 566 w 595"/>
                <a:gd name="T49" fmla="*/ 683 h 693"/>
                <a:gd name="T50" fmla="*/ 498 w 595"/>
                <a:gd name="T51" fmla="*/ 683 h 693"/>
                <a:gd name="T52" fmla="*/ 469 w 595"/>
                <a:gd name="T53" fmla="*/ 644 h 693"/>
                <a:gd name="T54" fmla="*/ 430 w 595"/>
                <a:gd name="T55" fmla="*/ 634 h 693"/>
                <a:gd name="T56" fmla="*/ 391 w 595"/>
                <a:gd name="T57" fmla="*/ 585 h 693"/>
                <a:gd name="T58" fmla="*/ 391 w 595"/>
                <a:gd name="T59" fmla="*/ 536 h 693"/>
                <a:gd name="T60" fmla="*/ 332 w 595"/>
                <a:gd name="T61" fmla="*/ 527 h 693"/>
                <a:gd name="T62" fmla="*/ 293 w 595"/>
                <a:gd name="T63" fmla="*/ 488 h 693"/>
                <a:gd name="T64" fmla="*/ 254 w 595"/>
                <a:gd name="T65" fmla="*/ 478 h 693"/>
                <a:gd name="T66" fmla="*/ 205 w 595"/>
                <a:gd name="T67" fmla="*/ 488 h 693"/>
                <a:gd name="T68" fmla="*/ 176 w 595"/>
                <a:gd name="T69" fmla="*/ 449 h 693"/>
                <a:gd name="T70" fmla="*/ 147 w 595"/>
                <a:gd name="T71" fmla="*/ 410 h 693"/>
                <a:gd name="T72" fmla="*/ 117 w 595"/>
                <a:gd name="T73" fmla="*/ 419 h 693"/>
                <a:gd name="T74" fmla="*/ 127 w 595"/>
                <a:gd name="T75" fmla="*/ 351 h 693"/>
                <a:gd name="T76" fmla="*/ 127 w 595"/>
                <a:gd name="T77" fmla="*/ 293 h 693"/>
                <a:gd name="T78" fmla="*/ 78 w 595"/>
                <a:gd name="T79" fmla="*/ 263 h 693"/>
                <a:gd name="T80" fmla="*/ 30 w 595"/>
                <a:gd name="T81" fmla="*/ 214 h 693"/>
                <a:gd name="T82" fmla="*/ 20 w 595"/>
                <a:gd name="T83" fmla="*/ 185 h 693"/>
                <a:gd name="T84" fmla="*/ 20 w 595"/>
                <a:gd name="T85" fmla="*/ 156 h 693"/>
                <a:gd name="T86" fmla="*/ 98 w 595"/>
                <a:gd name="T87" fmla="*/ 136 h 693"/>
                <a:gd name="T88" fmla="*/ 117 w 595"/>
                <a:gd name="T89" fmla="*/ 127 h 693"/>
                <a:gd name="T90" fmla="*/ 195 w 595"/>
                <a:gd name="T91" fmla="*/ 107 h 69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95"/>
                <a:gd name="T139" fmla="*/ 0 h 693"/>
                <a:gd name="T140" fmla="*/ 595 w 595"/>
                <a:gd name="T141" fmla="*/ 693 h 69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95" h="693">
                  <a:moveTo>
                    <a:pt x="205" y="97"/>
                  </a:moveTo>
                  <a:lnTo>
                    <a:pt x="215" y="68"/>
                  </a:lnTo>
                  <a:lnTo>
                    <a:pt x="215" y="58"/>
                  </a:lnTo>
                  <a:lnTo>
                    <a:pt x="234" y="49"/>
                  </a:lnTo>
                  <a:lnTo>
                    <a:pt x="264" y="39"/>
                  </a:lnTo>
                  <a:lnTo>
                    <a:pt x="273" y="19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303" y="19"/>
                  </a:lnTo>
                  <a:lnTo>
                    <a:pt x="313" y="29"/>
                  </a:lnTo>
                  <a:lnTo>
                    <a:pt x="332" y="29"/>
                  </a:lnTo>
                  <a:lnTo>
                    <a:pt x="332" y="39"/>
                  </a:lnTo>
                  <a:lnTo>
                    <a:pt x="313" y="39"/>
                  </a:lnTo>
                  <a:lnTo>
                    <a:pt x="322" y="68"/>
                  </a:lnTo>
                  <a:lnTo>
                    <a:pt x="332" y="58"/>
                  </a:lnTo>
                  <a:lnTo>
                    <a:pt x="322" y="88"/>
                  </a:lnTo>
                  <a:lnTo>
                    <a:pt x="313" y="117"/>
                  </a:lnTo>
                  <a:lnTo>
                    <a:pt x="313" y="136"/>
                  </a:lnTo>
                  <a:lnTo>
                    <a:pt x="313" y="156"/>
                  </a:lnTo>
                  <a:lnTo>
                    <a:pt x="332" y="166"/>
                  </a:lnTo>
                  <a:lnTo>
                    <a:pt x="342" y="175"/>
                  </a:lnTo>
                  <a:lnTo>
                    <a:pt x="332" y="185"/>
                  </a:lnTo>
                  <a:lnTo>
                    <a:pt x="332" y="214"/>
                  </a:lnTo>
                  <a:lnTo>
                    <a:pt x="313" y="254"/>
                  </a:lnTo>
                  <a:lnTo>
                    <a:pt x="332" y="263"/>
                  </a:lnTo>
                  <a:lnTo>
                    <a:pt x="332" y="273"/>
                  </a:lnTo>
                  <a:lnTo>
                    <a:pt x="303" y="273"/>
                  </a:lnTo>
                  <a:lnTo>
                    <a:pt x="313" y="293"/>
                  </a:lnTo>
                  <a:lnTo>
                    <a:pt x="313" y="302"/>
                  </a:lnTo>
                  <a:lnTo>
                    <a:pt x="322" y="322"/>
                  </a:lnTo>
                  <a:lnTo>
                    <a:pt x="342" y="312"/>
                  </a:lnTo>
                  <a:lnTo>
                    <a:pt x="361" y="312"/>
                  </a:lnTo>
                  <a:lnTo>
                    <a:pt x="371" y="341"/>
                  </a:lnTo>
                  <a:lnTo>
                    <a:pt x="352" y="341"/>
                  </a:lnTo>
                  <a:lnTo>
                    <a:pt x="342" y="361"/>
                  </a:lnTo>
                  <a:lnTo>
                    <a:pt x="332" y="361"/>
                  </a:lnTo>
                  <a:lnTo>
                    <a:pt x="342" y="371"/>
                  </a:lnTo>
                  <a:lnTo>
                    <a:pt x="342" y="400"/>
                  </a:lnTo>
                  <a:lnTo>
                    <a:pt x="332" y="400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52" y="439"/>
                  </a:lnTo>
                  <a:lnTo>
                    <a:pt x="352" y="449"/>
                  </a:lnTo>
                  <a:lnTo>
                    <a:pt x="371" y="449"/>
                  </a:lnTo>
                  <a:lnTo>
                    <a:pt x="391" y="449"/>
                  </a:lnTo>
                  <a:lnTo>
                    <a:pt x="410" y="458"/>
                  </a:lnTo>
                  <a:lnTo>
                    <a:pt x="410" y="478"/>
                  </a:lnTo>
                  <a:lnTo>
                    <a:pt x="430" y="488"/>
                  </a:lnTo>
                  <a:lnTo>
                    <a:pt x="449" y="478"/>
                  </a:lnTo>
                  <a:lnTo>
                    <a:pt x="469" y="458"/>
                  </a:lnTo>
                  <a:lnTo>
                    <a:pt x="478" y="449"/>
                  </a:lnTo>
                  <a:lnTo>
                    <a:pt x="488" y="449"/>
                  </a:lnTo>
                  <a:lnTo>
                    <a:pt x="508" y="449"/>
                  </a:lnTo>
                  <a:lnTo>
                    <a:pt x="517" y="439"/>
                  </a:lnTo>
                  <a:lnTo>
                    <a:pt x="517" y="449"/>
                  </a:lnTo>
                  <a:lnTo>
                    <a:pt x="517" y="458"/>
                  </a:lnTo>
                  <a:lnTo>
                    <a:pt x="527" y="458"/>
                  </a:lnTo>
                  <a:lnTo>
                    <a:pt x="547" y="458"/>
                  </a:lnTo>
                  <a:lnTo>
                    <a:pt x="566" y="468"/>
                  </a:lnTo>
                  <a:lnTo>
                    <a:pt x="586" y="488"/>
                  </a:lnTo>
                  <a:lnTo>
                    <a:pt x="586" y="497"/>
                  </a:lnTo>
                  <a:lnTo>
                    <a:pt x="556" y="507"/>
                  </a:lnTo>
                  <a:lnTo>
                    <a:pt x="547" y="517"/>
                  </a:lnTo>
                  <a:lnTo>
                    <a:pt x="556" y="527"/>
                  </a:lnTo>
                  <a:lnTo>
                    <a:pt x="547" y="546"/>
                  </a:lnTo>
                  <a:lnTo>
                    <a:pt x="556" y="556"/>
                  </a:lnTo>
                  <a:lnTo>
                    <a:pt x="566" y="575"/>
                  </a:lnTo>
                  <a:lnTo>
                    <a:pt x="556" y="585"/>
                  </a:lnTo>
                  <a:lnTo>
                    <a:pt x="566" y="595"/>
                  </a:lnTo>
                  <a:lnTo>
                    <a:pt x="566" y="605"/>
                  </a:lnTo>
                  <a:lnTo>
                    <a:pt x="586" y="634"/>
                  </a:lnTo>
                  <a:lnTo>
                    <a:pt x="595" y="654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66" y="683"/>
                  </a:lnTo>
                  <a:lnTo>
                    <a:pt x="547" y="693"/>
                  </a:lnTo>
                  <a:lnTo>
                    <a:pt x="527" y="693"/>
                  </a:lnTo>
                  <a:lnTo>
                    <a:pt x="498" y="683"/>
                  </a:lnTo>
                  <a:lnTo>
                    <a:pt x="488" y="663"/>
                  </a:lnTo>
                  <a:lnTo>
                    <a:pt x="478" y="634"/>
                  </a:lnTo>
                  <a:lnTo>
                    <a:pt x="469" y="644"/>
                  </a:lnTo>
                  <a:lnTo>
                    <a:pt x="449" y="654"/>
                  </a:lnTo>
                  <a:lnTo>
                    <a:pt x="420" y="654"/>
                  </a:lnTo>
                  <a:lnTo>
                    <a:pt x="430" y="634"/>
                  </a:lnTo>
                  <a:lnTo>
                    <a:pt x="400" y="615"/>
                  </a:lnTo>
                  <a:lnTo>
                    <a:pt x="391" y="595"/>
                  </a:lnTo>
                  <a:lnTo>
                    <a:pt x="391" y="585"/>
                  </a:lnTo>
                  <a:lnTo>
                    <a:pt x="391" y="575"/>
                  </a:lnTo>
                  <a:lnTo>
                    <a:pt x="400" y="556"/>
                  </a:lnTo>
                  <a:lnTo>
                    <a:pt x="391" y="536"/>
                  </a:lnTo>
                  <a:lnTo>
                    <a:pt x="361" y="517"/>
                  </a:lnTo>
                  <a:lnTo>
                    <a:pt x="342" y="527"/>
                  </a:lnTo>
                  <a:lnTo>
                    <a:pt x="332" y="527"/>
                  </a:lnTo>
                  <a:lnTo>
                    <a:pt x="313" y="517"/>
                  </a:lnTo>
                  <a:lnTo>
                    <a:pt x="322" y="497"/>
                  </a:lnTo>
                  <a:lnTo>
                    <a:pt x="293" y="488"/>
                  </a:lnTo>
                  <a:lnTo>
                    <a:pt x="273" y="488"/>
                  </a:lnTo>
                  <a:lnTo>
                    <a:pt x="273" y="468"/>
                  </a:lnTo>
                  <a:lnTo>
                    <a:pt x="254" y="478"/>
                  </a:lnTo>
                  <a:lnTo>
                    <a:pt x="244" y="468"/>
                  </a:lnTo>
                  <a:lnTo>
                    <a:pt x="234" y="478"/>
                  </a:lnTo>
                  <a:lnTo>
                    <a:pt x="205" y="488"/>
                  </a:lnTo>
                  <a:lnTo>
                    <a:pt x="186" y="468"/>
                  </a:lnTo>
                  <a:lnTo>
                    <a:pt x="186" y="458"/>
                  </a:lnTo>
                  <a:lnTo>
                    <a:pt x="176" y="449"/>
                  </a:lnTo>
                  <a:lnTo>
                    <a:pt x="176" y="390"/>
                  </a:lnTo>
                  <a:lnTo>
                    <a:pt x="166" y="390"/>
                  </a:lnTo>
                  <a:lnTo>
                    <a:pt x="147" y="410"/>
                  </a:lnTo>
                  <a:lnTo>
                    <a:pt x="137" y="419"/>
                  </a:lnTo>
                  <a:lnTo>
                    <a:pt x="117" y="429"/>
                  </a:lnTo>
                  <a:lnTo>
                    <a:pt x="117" y="419"/>
                  </a:lnTo>
                  <a:lnTo>
                    <a:pt x="127" y="410"/>
                  </a:lnTo>
                  <a:lnTo>
                    <a:pt x="127" y="390"/>
                  </a:lnTo>
                  <a:lnTo>
                    <a:pt x="127" y="351"/>
                  </a:lnTo>
                  <a:lnTo>
                    <a:pt x="117" y="341"/>
                  </a:lnTo>
                  <a:lnTo>
                    <a:pt x="127" y="312"/>
                  </a:lnTo>
                  <a:lnTo>
                    <a:pt x="127" y="293"/>
                  </a:lnTo>
                  <a:lnTo>
                    <a:pt x="108" y="283"/>
                  </a:lnTo>
                  <a:lnTo>
                    <a:pt x="88" y="263"/>
                  </a:lnTo>
                  <a:lnTo>
                    <a:pt x="78" y="263"/>
                  </a:lnTo>
                  <a:lnTo>
                    <a:pt x="78" y="224"/>
                  </a:lnTo>
                  <a:lnTo>
                    <a:pt x="49" y="214"/>
                  </a:lnTo>
                  <a:lnTo>
                    <a:pt x="30" y="214"/>
                  </a:lnTo>
                  <a:lnTo>
                    <a:pt x="20" y="214"/>
                  </a:lnTo>
                  <a:lnTo>
                    <a:pt x="0" y="205"/>
                  </a:lnTo>
                  <a:lnTo>
                    <a:pt x="20" y="185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20" y="156"/>
                  </a:lnTo>
                  <a:lnTo>
                    <a:pt x="49" y="156"/>
                  </a:lnTo>
                  <a:lnTo>
                    <a:pt x="78" y="156"/>
                  </a:lnTo>
                  <a:lnTo>
                    <a:pt x="98" y="136"/>
                  </a:lnTo>
                  <a:lnTo>
                    <a:pt x="98" y="127"/>
                  </a:lnTo>
                  <a:lnTo>
                    <a:pt x="108" y="117"/>
                  </a:lnTo>
                  <a:lnTo>
                    <a:pt x="117" y="127"/>
                  </a:lnTo>
                  <a:lnTo>
                    <a:pt x="137" y="107"/>
                  </a:lnTo>
                  <a:lnTo>
                    <a:pt x="166" y="107"/>
                  </a:lnTo>
                  <a:lnTo>
                    <a:pt x="195" y="107"/>
                  </a:lnTo>
                  <a:lnTo>
                    <a:pt x="205" y="9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Freeform 369"/>
            <p:cNvSpPr>
              <a:spLocks/>
            </p:cNvSpPr>
            <p:nvPr/>
          </p:nvSpPr>
          <p:spPr bwMode="auto">
            <a:xfrm>
              <a:off x="2907" y="2858"/>
              <a:ext cx="431" cy="322"/>
            </a:xfrm>
            <a:custGeom>
              <a:avLst/>
              <a:gdLst>
                <a:gd name="T0" fmla="*/ 78 w 429"/>
                <a:gd name="T1" fmla="*/ 88 h 322"/>
                <a:gd name="T2" fmla="*/ 39 w 429"/>
                <a:gd name="T3" fmla="*/ 97 h 322"/>
                <a:gd name="T4" fmla="*/ 10 w 429"/>
                <a:gd name="T5" fmla="*/ 107 h 322"/>
                <a:gd name="T6" fmla="*/ 0 w 429"/>
                <a:gd name="T7" fmla="*/ 136 h 322"/>
                <a:gd name="T8" fmla="*/ 19 w 429"/>
                <a:gd name="T9" fmla="*/ 156 h 322"/>
                <a:gd name="T10" fmla="*/ 49 w 429"/>
                <a:gd name="T11" fmla="*/ 175 h 322"/>
                <a:gd name="T12" fmla="*/ 49 w 429"/>
                <a:gd name="T13" fmla="*/ 205 h 322"/>
                <a:gd name="T14" fmla="*/ 39 w 429"/>
                <a:gd name="T15" fmla="*/ 214 h 322"/>
                <a:gd name="T16" fmla="*/ 58 w 429"/>
                <a:gd name="T17" fmla="*/ 253 h 322"/>
                <a:gd name="T18" fmla="*/ 78 w 429"/>
                <a:gd name="T19" fmla="*/ 263 h 322"/>
                <a:gd name="T20" fmla="*/ 107 w 429"/>
                <a:gd name="T21" fmla="*/ 263 h 322"/>
                <a:gd name="T22" fmla="*/ 146 w 429"/>
                <a:gd name="T23" fmla="*/ 273 h 322"/>
                <a:gd name="T24" fmla="*/ 156 w 429"/>
                <a:gd name="T25" fmla="*/ 292 h 322"/>
                <a:gd name="T26" fmla="*/ 185 w 429"/>
                <a:gd name="T27" fmla="*/ 273 h 322"/>
                <a:gd name="T28" fmla="*/ 214 w 429"/>
                <a:gd name="T29" fmla="*/ 273 h 322"/>
                <a:gd name="T30" fmla="*/ 234 w 429"/>
                <a:gd name="T31" fmla="*/ 292 h 322"/>
                <a:gd name="T32" fmla="*/ 263 w 429"/>
                <a:gd name="T33" fmla="*/ 292 h 322"/>
                <a:gd name="T34" fmla="*/ 312 w 429"/>
                <a:gd name="T35" fmla="*/ 302 h 322"/>
                <a:gd name="T36" fmla="*/ 341 w 429"/>
                <a:gd name="T37" fmla="*/ 312 h 322"/>
                <a:gd name="T38" fmla="*/ 370 w 429"/>
                <a:gd name="T39" fmla="*/ 322 h 322"/>
                <a:gd name="T40" fmla="*/ 380 w 429"/>
                <a:gd name="T41" fmla="*/ 292 h 322"/>
                <a:gd name="T42" fmla="*/ 409 w 429"/>
                <a:gd name="T43" fmla="*/ 312 h 322"/>
                <a:gd name="T44" fmla="*/ 419 w 429"/>
                <a:gd name="T45" fmla="*/ 273 h 322"/>
                <a:gd name="T46" fmla="*/ 409 w 429"/>
                <a:gd name="T47" fmla="*/ 234 h 322"/>
                <a:gd name="T48" fmla="*/ 370 w 429"/>
                <a:gd name="T49" fmla="*/ 224 h 322"/>
                <a:gd name="T50" fmla="*/ 351 w 429"/>
                <a:gd name="T51" fmla="*/ 205 h 322"/>
                <a:gd name="T52" fmla="*/ 322 w 429"/>
                <a:gd name="T53" fmla="*/ 166 h 322"/>
                <a:gd name="T54" fmla="*/ 292 w 429"/>
                <a:gd name="T55" fmla="*/ 117 h 322"/>
                <a:gd name="T56" fmla="*/ 263 w 429"/>
                <a:gd name="T57" fmla="*/ 78 h 322"/>
                <a:gd name="T58" fmla="*/ 283 w 429"/>
                <a:gd name="T59" fmla="*/ 39 h 322"/>
                <a:gd name="T60" fmla="*/ 263 w 429"/>
                <a:gd name="T61" fmla="*/ 29 h 322"/>
                <a:gd name="T62" fmla="*/ 214 w 429"/>
                <a:gd name="T63" fmla="*/ 49 h 322"/>
                <a:gd name="T64" fmla="*/ 195 w 429"/>
                <a:gd name="T65" fmla="*/ 39 h 322"/>
                <a:gd name="T66" fmla="*/ 175 w 429"/>
                <a:gd name="T67" fmla="*/ 19 h 322"/>
                <a:gd name="T68" fmla="*/ 127 w 429"/>
                <a:gd name="T69" fmla="*/ 0 h 322"/>
                <a:gd name="T70" fmla="*/ 88 w 429"/>
                <a:gd name="T71" fmla="*/ 9 h 322"/>
                <a:gd name="T72" fmla="*/ 88 w 429"/>
                <a:gd name="T73" fmla="*/ 39 h 322"/>
                <a:gd name="T74" fmla="*/ 78 w 429"/>
                <a:gd name="T75" fmla="*/ 68 h 32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29"/>
                <a:gd name="T115" fmla="*/ 0 h 322"/>
                <a:gd name="T116" fmla="*/ 429 w 429"/>
                <a:gd name="T117" fmla="*/ 322 h 32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29" h="322">
                  <a:moveTo>
                    <a:pt x="78" y="68"/>
                  </a:moveTo>
                  <a:lnTo>
                    <a:pt x="78" y="88"/>
                  </a:lnTo>
                  <a:lnTo>
                    <a:pt x="49" y="88"/>
                  </a:lnTo>
                  <a:lnTo>
                    <a:pt x="39" y="97"/>
                  </a:lnTo>
                  <a:lnTo>
                    <a:pt x="29" y="117"/>
                  </a:lnTo>
                  <a:lnTo>
                    <a:pt x="10" y="107"/>
                  </a:lnTo>
                  <a:lnTo>
                    <a:pt x="10" y="127"/>
                  </a:lnTo>
                  <a:lnTo>
                    <a:pt x="0" y="136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75"/>
                  </a:lnTo>
                  <a:lnTo>
                    <a:pt x="49" y="175"/>
                  </a:lnTo>
                  <a:lnTo>
                    <a:pt x="58" y="18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39" y="214"/>
                  </a:lnTo>
                  <a:lnTo>
                    <a:pt x="49" y="244"/>
                  </a:lnTo>
                  <a:lnTo>
                    <a:pt x="58" y="253"/>
                  </a:lnTo>
                  <a:lnTo>
                    <a:pt x="68" y="273"/>
                  </a:lnTo>
                  <a:lnTo>
                    <a:pt x="78" y="263"/>
                  </a:lnTo>
                  <a:lnTo>
                    <a:pt x="97" y="253"/>
                  </a:lnTo>
                  <a:lnTo>
                    <a:pt x="107" y="26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83"/>
                  </a:lnTo>
                  <a:lnTo>
                    <a:pt x="156" y="292"/>
                  </a:lnTo>
                  <a:lnTo>
                    <a:pt x="166" y="273"/>
                  </a:lnTo>
                  <a:lnTo>
                    <a:pt x="185" y="273"/>
                  </a:lnTo>
                  <a:lnTo>
                    <a:pt x="205" y="283"/>
                  </a:lnTo>
                  <a:lnTo>
                    <a:pt x="214" y="273"/>
                  </a:lnTo>
                  <a:lnTo>
                    <a:pt x="224" y="283"/>
                  </a:lnTo>
                  <a:lnTo>
                    <a:pt x="234" y="292"/>
                  </a:lnTo>
                  <a:lnTo>
                    <a:pt x="253" y="292"/>
                  </a:lnTo>
                  <a:lnTo>
                    <a:pt x="263" y="292"/>
                  </a:lnTo>
                  <a:lnTo>
                    <a:pt x="292" y="302"/>
                  </a:lnTo>
                  <a:lnTo>
                    <a:pt x="312" y="302"/>
                  </a:lnTo>
                  <a:lnTo>
                    <a:pt x="331" y="312"/>
                  </a:lnTo>
                  <a:lnTo>
                    <a:pt x="341" y="312"/>
                  </a:lnTo>
                  <a:lnTo>
                    <a:pt x="351" y="312"/>
                  </a:lnTo>
                  <a:lnTo>
                    <a:pt x="370" y="322"/>
                  </a:lnTo>
                  <a:lnTo>
                    <a:pt x="380" y="312"/>
                  </a:lnTo>
                  <a:lnTo>
                    <a:pt x="380" y="292"/>
                  </a:lnTo>
                  <a:lnTo>
                    <a:pt x="390" y="292"/>
                  </a:lnTo>
                  <a:lnTo>
                    <a:pt x="409" y="312"/>
                  </a:lnTo>
                  <a:lnTo>
                    <a:pt x="429" y="302"/>
                  </a:lnTo>
                  <a:lnTo>
                    <a:pt x="419" y="273"/>
                  </a:lnTo>
                  <a:lnTo>
                    <a:pt x="409" y="253"/>
                  </a:lnTo>
                  <a:lnTo>
                    <a:pt x="409" y="234"/>
                  </a:lnTo>
                  <a:lnTo>
                    <a:pt x="390" y="244"/>
                  </a:lnTo>
                  <a:lnTo>
                    <a:pt x="370" y="224"/>
                  </a:lnTo>
                  <a:lnTo>
                    <a:pt x="351" y="214"/>
                  </a:lnTo>
                  <a:lnTo>
                    <a:pt x="351" y="205"/>
                  </a:lnTo>
                  <a:lnTo>
                    <a:pt x="341" y="175"/>
                  </a:lnTo>
                  <a:lnTo>
                    <a:pt x="322" y="166"/>
                  </a:lnTo>
                  <a:lnTo>
                    <a:pt x="292" y="146"/>
                  </a:lnTo>
                  <a:lnTo>
                    <a:pt x="292" y="117"/>
                  </a:lnTo>
                  <a:lnTo>
                    <a:pt x="273" y="97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39"/>
                  </a:lnTo>
                  <a:lnTo>
                    <a:pt x="283" y="19"/>
                  </a:lnTo>
                  <a:lnTo>
                    <a:pt x="263" y="29"/>
                  </a:lnTo>
                  <a:lnTo>
                    <a:pt x="224" y="39"/>
                  </a:lnTo>
                  <a:lnTo>
                    <a:pt x="214" y="49"/>
                  </a:lnTo>
                  <a:lnTo>
                    <a:pt x="205" y="49"/>
                  </a:lnTo>
                  <a:lnTo>
                    <a:pt x="195" y="39"/>
                  </a:lnTo>
                  <a:lnTo>
                    <a:pt x="195" y="19"/>
                  </a:lnTo>
                  <a:lnTo>
                    <a:pt x="175" y="19"/>
                  </a:lnTo>
                  <a:lnTo>
                    <a:pt x="156" y="0"/>
                  </a:lnTo>
                  <a:lnTo>
                    <a:pt x="127" y="0"/>
                  </a:lnTo>
                  <a:lnTo>
                    <a:pt x="107" y="9"/>
                  </a:lnTo>
                  <a:lnTo>
                    <a:pt x="88" y="9"/>
                  </a:lnTo>
                  <a:lnTo>
                    <a:pt x="78" y="29"/>
                  </a:lnTo>
                  <a:lnTo>
                    <a:pt x="88" y="39"/>
                  </a:lnTo>
                  <a:lnTo>
                    <a:pt x="78" y="49"/>
                  </a:lnTo>
                  <a:lnTo>
                    <a:pt x="78" y="68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Freeform 368"/>
            <p:cNvSpPr>
              <a:spLocks/>
            </p:cNvSpPr>
            <p:nvPr/>
          </p:nvSpPr>
          <p:spPr bwMode="auto">
            <a:xfrm>
              <a:off x="2732" y="2233"/>
              <a:ext cx="613" cy="674"/>
            </a:xfrm>
            <a:custGeom>
              <a:avLst/>
              <a:gdLst>
                <a:gd name="T0" fmla="*/ 615 w 615"/>
                <a:gd name="T1" fmla="*/ 517 h 674"/>
                <a:gd name="T2" fmla="*/ 605 w 615"/>
                <a:gd name="T3" fmla="*/ 576 h 674"/>
                <a:gd name="T4" fmla="*/ 546 w 615"/>
                <a:gd name="T5" fmla="*/ 576 h 674"/>
                <a:gd name="T6" fmla="*/ 488 w 615"/>
                <a:gd name="T7" fmla="*/ 605 h 674"/>
                <a:gd name="T8" fmla="*/ 488 w 615"/>
                <a:gd name="T9" fmla="*/ 644 h 674"/>
                <a:gd name="T10" fmla="*/ 439 w 615"/>
                <a:gd name="T11" fmla="*/ 654 h 674"/>
                <a:gd name="T12" fmla="*/ 390 w 615"/>
                <a:gd name="T13" fmla="*/ 674 h 674"/>
                <a:gd name="T14" fmla="*/ 371 w 615"/>
                <a:gd name="T15" fmla="*/ 664 h 674"/>
                <a:gd name="T16" fmla="*/ 351 w 615"/>
                <a:gd name="T17" fmla="*/ 634 h 674"/>
                <a:gd name="T18" fmla="*/ 303 w 615"/>
                <a:gd name="T19" fmla="*/ 615 h 674"/>
                <a:gd name="T20" fmla="*/ 264 w 615"/>
                <a:gd name="T21" fmla="*/ 634 h 674"/>
                <a:gd name="T22" fmla="*/ 244 w 615"/>
                <a:gd name="T23" fmla="*/ 595 h 674"/>
                <a:gd name="T24" fmla="*/ 205 w 615"/>
                <a:gd name="T25" fmla="*/ 586 h 674"/>
                <a:gd name="T26" fmla="*/ 156 w 615"/>
                <a:gd name="T27" fmla="*/ 556 h 674"/>
                <a:gd name="T28" fmla="*/ 107 w 615"/>
                <a:gd name="T29" fmla="*/ 517 h 674"/>
                <a:gd name="T30" fmla="*/ 78 w 615"/>
                <a:gd name="T31" fmla="*/ 527 h 674"/>
                <a:gd name="T32" fmla="*/ 59 w 615"/>
                <a:gd name="T33" fmla="*/ 508 h 674"/>
                <a:gd name="T34" fmla="*/ 39 w 615"/>
                <a:gd name="T35" fmla="*/ 488 h 674"/>
                <a:gd name="T36" fmla="*/ 10 w 615"/>
                <a:gd name="T37" fmla="*/ 469 h 674"/>
                <a:gd name="T38" fmla="*/ 10 w 615"/>
                <a:gd name="T39" fmla="*/ 430 h 674"/>
                <a:gd name="T40" fmla="*/ 39 w 615"/>
                <a:gd name="T41" fmla="*/ 400 h 674"/>
                <a:gd name="T42" fmla="*/ 68 w 615"/>
                <a:gd name="T43" fmla="*/ 391 h 674"/>
                <a:gd name="T44" fmla="*/ 98 w 615"/>
                <a:gd name="T45" fmla="*/ 400 h 674"/>
                <a:gd name="T46" fmla="*/ 127 w 615"/>
                <a:gd name="T47" fmla="*/ 361 h 674"/>
                <a:gd name="T48" fmla="*/ 156 w 615"/>
                <a:gd name="T49" fmla="*/ 342 h 674"/>
                <a:gd name="T50" fmla="*/ 166 w 615"/>
                <a:gd name="T51" fmla="*/ 361 h 674"/>
                <a:gd name="T52" fmla="*/ 195 w 615"/>
                <a:gd name="T53" fmla="*/ 361 h 674"/>
                <a:gd name="T54" fmla="*/ 215 w 615"/>
                <a:gd name="T55" fmla="*/ 322 h 674"/>
                <a:gd name="T56" fmla="*/ 254 w 615"/>
                <a:gd name="T57" fmla="*/ 332 h 674"/>
                <a:gd name="T58" fmla="*/ 293 w 615"/>
                <a:gd name="T59" fmla="*/ 293 h 674"/>
                <a:gd name="T60" fmla="*/ 273 w 615"/>
                <a:gd name="T61" fmla="*/ 273 h 674"/>
                <a:gd name="T62" fmla="*/ 303 w 615"/>
                <a:gd name="T63" fmla="*/ 215 h 674"/>
                <a:gd name="T64" fmla="*/ 322 w 615"/>
                <a:gd name="T65" fmla="*/ 176 h 674"/>
                <a:gd name="T66" fmla="*/ 381 w 615"/>
                <a:gd name="T67" fmla="*/ 137 h 674"/>
                <a:gd name="T68" fmla="*/ 439 w 615"/>
                <a:gd name="T69" fmla="*/ 88 h 674"/>
                <a:gd name="T70" fmla="*/ 459 w 615"/>
                <a:gd name="T71" fmla="*/ 49 h 674"/>
                <a:gd name="T72" fmla="*/ 478 w 615"/>
                <a:gd name="T73" fmla="*/ 20 h 674"/>
                <a:gd name="T74" fmla="*/ 507 w 615"/>
                <a:gd name="T75" fmla="*/ 0 h 674"/>
                <a:gd name="T76" fmla="*/ 517 w 615"/>
                <a:gd name="T77" fmla="*/ 20 h 674"/>
                <a:gd name="T78" fmla="*/ 546 w 615"/>
                <a:gd name="T79" fmla="*/ 49 h 674"/>
                <a:gd name="T80" fmla="*/ 605 w 615"/>
                <a:gd name="T81" fmla="*/ 137 h 674"/>
                <a:gd name="T82" fmla="*/ 605 w 615"/>
                <a:gd name="T83" fmla="*/ 186 h 674"/>
                <a:gd name="T84" fmla="*/ 595 w 615"/>
                <a:gd name="T85" fmla="*/ 225 h 674"/>
                <a:gd name="T86" fmla="*/ 595 w 615"/>
                <a:gd name="T87" fmla="*/ 293 h 674"/>
                <a:gd name="T88" fmla="*/ 566 w 615"/>
                <a:gd name="T89" fmla="*/ 361 h 674"/>
                <a:gd name="T90" fmla="*/ 615 w 615"/>
                <a:gd name="T91" fmla="*/ 410 h 674"/>
                <a:gd name="T92" fmla="*/ 605 w 615"/>
                <a:gd name="T93" fmla="*/ 459 h 67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15"/>
                <a:gd name="T142" fmla="*/ 0 h 674"/>
                <a:gd name="T143" fmla="*/ 615 w 615"/>
                <a:gd name="T144" fmla="*/ 674 h 67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15" h="674">
                  <a:moveTo>
                    <a:pt x="615" y="498"/>
                  </a:moveTo>
                  <a:lnTo>
                    <a:pt x="615" y="517"/>
                  </a:lnTo>
                  <a:lnTo>
                    <a:pt x="605" y="547"/>
                  </a:lnTo>
                  <a:lnTo>
                    <a:pt x="605" y="576"/>
                  </a:lnTo>
                  <a:lnTo>
                    <a:pt x="566" y="586"/>
                  </a:lnTo>
                  <a:lnTo>
                    <a:pt x="546" y="576"/>
                  </a:lnTo>
                  <a:lnTo>
                    <a:pt x="498" y="576"/>
                  </a:lnTo>
                  <a:lnTo>
                    <a:pt x="488" y="605"/>
                  </a:lnTo>
                  <a:lnTo>
                    <a:pt x="488" y="625"/>
                  </a:lnTo>
                  <a:lnTo>
                    <a:pt x="488" y="644"/>
                  </a:lnTo>
                  <a:lnTo>
                    <a:pt x="449" y="644"/>
                  </a:lnTo>
                  <a:lnTo>
                    <a:pt x="439" y="654"/>
                  </a:lnTo>
                  <a:lnTo>
                    <a:pt x="400" y="664"/>
                  </a:lnTo>
                  <a:lnTo>
                    <a:pt x="390" y="674"/>
                  </a:lnTo>
                  <a:lnTo>
                    <a:pt x="381" y="674"/>
                  </a:lnTo>
                  <a:lnTo>
                    <a:pt x="371" y="664"/>
                  </a:lnTo>
                  <a:lnTo>
                    <a:pt x="371" y="644"/>
                  </a:lnTo>
                  <a:lnTo>
                    <a:pt x="351" y="634"/>
                  </a:lnTo>
                  <a:lnTo>
                    <a:pt x="322" y="625"/>
                  </a:lnTo>
                  <a:lnTo>
                    <a:pt x="303" y="615"/>
                  </a:lnTo>
                  <a:lnTo>
                    <a:pt x="283" y="625"/>
                  </a:lnTo>
                  <a:lnTo>
                    <a:pt x="264" y="634"/>
                  </a:lnTo>
                  <a:lnTo>
                    <a:pt x="254" y="615"/>
                  </a:lnTo>
                  <a:lnTo>
                    <a:pt x="244" y="595"/>
                  </a:lnTo>
                  <a:lnTo>
                    <a:pt x="225" y="576"/>
                  </a:lnTo>
                  <a:lnTo>
                    <a:pt x="205" y="586"/>
                  </a:lnTo>
                  <a:lnTo>
                    <a:pt x="195" y="586"/>
                  </a:lnTo>
                  <a:lnTo>
                    <a:pt x="156" y="556"/>
                  </a:lnTo>
                  <a:lnTo>
                    <a:pt x="127" y="537"/>
                  </a:lnTo>
                  <a:lnTo>
                    <a:pt x="107" y="517"/>
                  </a:lnTo>
                  <a:lnTo>
                    <a:pt x="88" y="527"/>
                  </a:lnTo>
                  <a:lnTo>
                    <a:pt x="78" y="527"/>
                  </a:lnTo>
                  <a:lnTo>
                    <a:pt x="78" y="517"/>
                  </a:lnTo>
                  <a:lnTo>
                    <a:pt x="59" y="508"/>
                  </a:lnTo>
                  <a:lnTo>
                    <a:pt x="39" y="498"/>
                  </a:lnTo>
                  <a:lnTo>
                    <a:pt x="39" y="488"/>
                  </a:lnTo>
                  <a:lnTo>
                    <a:pt x="20" y="469"/>
                  </a:lnTo>
                  <a:lnTo>
                    <a:pt x="10" y="469"/>
                  </a:lnTo>
                  <a:lnTo>
                    <a:pt x="0" y="449"/>
                  </a:lnTo>
                  <a:lnTo>
                    <a:pt x="10" y="430"/>
                  </a:lnTo>
                  <a:lnTo>
                    <a:pt x="29" y="420"/>
                  </a:lnTo>
                  <a:lnTo>
                    <a:pt x="39" y="400"/>
                  </a:lnTo>
                  <a:lnTo>
                    <a:pt x="49" y="391"/>
                  </a:lnTo>
                  <a:lnTo>
                    <a:pt x="68" y="391"/>
                  </a:lnTo>
                  <a:lnTo>
                    <a:pt x="68" y="400"/>
                  </a:lnTo>
                  <a:lnTo>
                    <a:pt x="98" y="400"/>
                  </a:lnTo>
                  <a:lnTo>
                    <a:pt x="107" y="391"/>
                  </a:lnTo>
                  <a:lnTo>
                    <a:pt x="127" y="361"/>
                  </a:lnTo>
                  <a:lnTo>
                    <a:pt x="146" y="352"/>
                  </a:lnTo>
                  <a:lnTo>
                    <a:pt x="156" y="342"/>
                  </a:lnTo>
                  <a:lnTo>
                    <a:pt x="166" y="352"/>
                  </a:lnTo>
                  <a:lnTo>
                    <a:pt x="166" y="361"/>
                  </a:lnTo>
                  <a:lnTo>
                    <a:pt x="186" y="371"/>
                  </a:lnTo>
                  <a:lnTo>
                    <a:pt x="195" y="361"/>
                  </a:lnTo>
                  <a:lnTo>
                    <a:pt x="205" y="342"/>
                  </a:lnTo>
                  <a:lnTo>
                    <a:pt x="215" y="322"/>
                  </a:lnTo>
                  <a:lnTo>
                    <a:pt x="244" y="322"/>
                  </a:lnTo>
                  <a:lnTo>
                    <a:pt x="254" y="332"/>
                  </a:lnTo>
                  <a:lnTo>
                    <a:pt x="273" y="313"/>
                  </a:lnTo>
                  <a:lnTo>
                    <a:pt x="293" y="293"/>
                  </a:lnTo>
                  <a:lnTo>
                    <a:pt x="283" y="293"/>
                  </a:lnTo>
                  <a:lnTo>
                    <a:pt x="273" y="273"/>
                  </a:lnTo>
                  <a:lnTo>
                    <a:pt x="303" y="234"/>
                  </a:lnTo>
                  <a:lnTo>
                    <a:pt x="303" y="215"/>
                  </a:lnTo>
                  <a:lnTo>
                    <a:pt x="303" y="195"/>
                  </a:lnTo>
                  <a:lnTo>
                    <a:pt x="322" y="176"/>
                  </a:lnTo>
                  <a:lnTo>
                    <a:pt x="351" y="156"/>
                  </a:lnTo>
                  <a:lnTo>
                    <a:pt x="381" y="137"/>
                  </a:lnTo>
                  <a:lnTo>
                    <a:pt x="420" y="127"/>
                  </a:lnTo>
                  <a:lnTo>
                    <a:pt x="439" y="88"/>
                  </a:lnTo>
                  <a:lnTo>
                    <a:pt x="449" y="59"/>
                  </a:lnTo>
                  <a:lnTo>
                    <a:pt x="459" y="49"/>
                  </a:lnTo>
                  <a:lnTo>
                    <a:pt x="478" y="30"/>
                  </a:lnTo>
                  <a:lnTo>
                    <a:pt x="478" y="20"/>
                  </a:lnTo>
                  <a:lnTo>
                    <a:pt x="507" y="0"/>
                  </a:lnTo>
                  <a:lnTo>
                    <a:pt x="517" y="0"/>
                  </a:lnTo>
                  <a:lnTo>
                    <a:pt x="517" y="20"/>
                  </a:lnTo>
                  <a:lnTo>
                    <a:pt x="517" y="39"/>
                  </a:lnTo>
                  <a:lnTo>
                    <a:pt x="546" y="49"/>
                  </a:lnTo>
                  <a:lnTo>
                    <a:pt x="585" y="88"/>
                  </a:lnTo>
                  <a:lnTo>
                    <a:pt x="605" y="137"/>
                  </a:lnTo>
                  <a:lnTo>
                    <a:pt x="605" y="156"/>
                  </a:lnTo>
                  <a:lnTo>
                    <a:pt x="605" y="186"/>
                  </a:lnTo>
                  <a:lnTo>
                    <a:pt x="595" y="215"/>
                  </a:lnTo>
                  <a:lnTo>
                    <a:pt x="595" y="225"/>
                  </a:lnTo>
                  <a:lnTo>
                    <a:pt x="585" y="264"/>
                  </a:lnTo>
                  <a:lnTo>
                    <a:pt x="595" y="293"/>
                  </a:lnTo>
                  <a:lnTo>
                    <a:pt x="576" y="332"/>
                  </a:lnTo>
                  <a:lnTo>
                    <a:pt x="566" y="361"/>
                  </a:lnTo>
                  <a:lnTo>
                    <a:pt x="585" y="391"/>
                  </a:lnTo>
                  <a:lnTo>
                    <a:pt x="615" y="410"/>
                  </a:lnTo>
                  <a:lnTo>
                    <a:pt x="615" y="420"/>
                  </a:lnTo>
                  <a:lnTo>
                    <a:pt x="605" y="459"/>
                  </a:lnTo>
                  <a:lnTo>
                    <a:pt x="615" y="498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Freeform 367"/>
            <p:cNvSpPr>
              <a:spLocks/>
            </p:cNvSpPr>
            <p:nvPr/>
          </p:nvSpPr>
          <p:spPr bwMode="auto">
            <a:xfrm>
              <a:off x="2594" y="2167"/>
              <a:ext cx="613" cy="517"/>
            </a:xfrm>
            <a:custGeom>
              <a:avLst/>
              <a:gdLst>
                <a:gd name="T0" fmla="*/ 0 w 614"/>
                <a:gd name="T1" fmla="*/ 361 h 517"/>
                <a:gd name="T2" fmla="*/ 19 w 614"/>
                <a:gd name="T3" fmla="*/ 351 h 517"/>
                <a:gd name="T4" fmla="*/ 58 w 614"/>
                <a:gd name="T5" fmla="*/ 332 h 517"/>
                <a:gd name="T6" fmla="*/ 58 w 614"/>
                <a:gd name="T7" fmla="*/ 293 h 517"/>
                <a:gd name="T8" fmla="*/ 117 w 614"/>
                <a:gd name="T9" fmla="*/ 224 h 517"/>
                <a:gd name="T10" fmla="*/ 136 w 614"/>
                <a:gd name="T11" fmla="*/ 185 h 517"/>
                <a:gd name="T12" fmla="*/ 156 w 614"/>
                <a:gd name="T13" fmla="*/ 195 h 517"/>
                <a:gd name="T14" fmla="*/ 195 w 614"/>
                <a:gd name="T15" fmla="*/ 205 h 517"/>
                <a:gd name="T16" fmla="*/ 204 w 614"/>
                <a:gd name="T17" fmla="*/ 195 h 517"/>
                <a:gd name="T18" fmla="*/ 253 w 614"/>
                <a:gd name="T19" fmla="*/ 215 h 517"/>
                <a:gd name="T20" fmla="*/ 282 w 614"/>
                <a:gd name="T21" fmla="*/ 224 h 517"/>
                <a:gd name="T22" fmla="*/ 302 w 614"/>
                <a:gd name="T23" fmla="*/ 205 h 517"/>
                <a:gd name="T24" fmla="*/ 273 w 614"/>
                <a:gd name="T25" fmla="*/ 185 h 517"/>
                <a:gd name="T26" fmla="*/ 282 w 614"/>
                <a:gd name="T27" fmla="*/ 156 h 517"/>
                <a:gd name="T28" fmla="*/ 292 w 614"/>
                <a:gd name="T29" fmla="*/ 146 h 517"/>
                <a:gd name="T30" fmla="*/ 302 w 614"/>
                <a:gd name="T31" fmla="*/ 137 h 517"/>
                <a:gd name="T32" fmla="*/ 312 w 614"/>
                <a:gd name="T33" fmla="*/ 107 h 517"/>
                <a:gd name="T34" fmla="*/ 322 w 614"/>
                <a:gd name="T35" fmla="*/ 107 h 517"/>
                <a:gd name="T36" fmla="*/ 341 w 614"/>
                <a:gd name="T37" fmla="*/ 88 h 517"/>
                <a:gd name="T38" fmla="*/ 341 w 614"/>
                <a:gd name="T39" fmla="*/ 68 h 517"/>
                <a:gd name="T40" fmla="*/ 341 w 614"/>
                <a:gd name="T41" fmla="*/ 49 h 517"/>
                <a:gd name="T42" fmla="*/ 361 w 614"/>
                <a:gd name="T43" fmla="*/ 29 h 517"/>
                <a:gd name="T44" fmla="*/ 400 w 614"/>
                <a:gd name="T45" fmla="*/ 0 h 517"/>
                <a:gd name="T46" fmla="*/ 429 w 614"/>
                <a:gd name="T47" fmla="*/ 10 h 517"/>
                <a:gd name="T48" fmla="*/ 468 w 614"/>
                <a:gd name="T49" fmla="*/ 29 h 517"/>
                <a:gd name="T50" fmla="*/ 497 w 614"/>
                <a:gd name="T51" fmla="*/ 29 h 517"/>
                <a:gd name="T52" fmla="*/ 575 w 614"/>
                <a:gd name="T53" fmla="*/ 68 h 517"/>
                <a:gd name="T54" fmla="*/ 614 w 614"/>
                <a:gd name="T55" fmla="*/ 98 h 517"/>
                <a:gd name="T56" fmla="*/ 595 w 614"/>
                <a:gd name="T57" fmla="*/ 137 h 517"/>
                <a:gd name="T58" fmla="*/ 556 w 614"/>
                <a:gd name="T59" fmla="*/ 195 h 517"/>
                <a:gd name="T60" fmla="*/ 487 w 614"/>
                <a:gd name="T61" fmla="*/ 234 h 517"/>
                <a:gd name="T62" fmla="*/ 439 w 614"/>
                <a:gd name="T63" fmla="*/ 263 h 517"/>
                <a:gd name="T64" fmla="*/ 439 w 614"/>
                <a:gd name="T65" fmla="*/ 302 h 517"/>
                <a:gd name="T66" fmla="*/ 419 w 614"/>
                <a:gd name="T67" fmla="*/ 361 h 517"/>
                <a:gd name="T68" fmla="*/ 409 w 614"/>
                <a:gd name="T69" fmla="*/ 381 h 517"/>
                <a:gd name="T70" fmla="*/ 380 w 614"/>
                <a:gd name="T71" fmla="*/ 390 h 517"/>
                <a:gd name="T72" fmla="*/ 341 w 614"/>
                <a:gd name="T73" fmla="*/ 410 h 517"/>
                <a:gd name="T74" fmla="*/ 322 w 614"/>
                <a:gd name="T75" fmla="*/ 439 h 517"/>
                <a:gd name="T76" fmla="*/ 302 w 614"/>
                <a:gd name="T77" fmla="*/ 420 h 517"/>
                <a:gd name="T78" fmla="*/ 282 w 614"/>
                <a:gd name="T79" fmla="*/ 420 h 517"/>
                <a:gd name="T80" fmla="*/ 243 w 614"/>
                <a:gd name="T81" fmla="*/ 459 h 517"/>
                <a:gd name="T82" fmla="*/ 204 w 614"/>
                <a:gd name="T83" fmla="*/ 468 h 517"/>
                <a:gd name="T84" fmla="*/ 185 w 614"/>
                <a:gd name="T85" fmla="*/ 459 h 517"/>
                <a:gd name="T86" fmla="*/ 165 w 614"/>
                <a:gd name="T87" fmla="*/ 488 h 517"/>
                <a:gd name="T88" fmla="*/ 146 w 614"/>
                <a:gd name="T89" fmla="*/ 517 h 517"/>
                <a:gd name="T90" fmla="*/ 107 w 614"/>
                <a:gd name="T91" fmla="*/ 478 h 517"/>
                <a:gd name="T92" fmla="*/ 87 w 614"/>
                <a:gd name="T93" fmla="*/ 459 h 517"/>
                <a:gd name="T94" fmla="*/ 97 w 614"/>
                <a:gd name="T95" fmla="*/ 449 h 517"/>
                <a:gd name="T96" fmla="*/ 58 w 614"/>
                <a:gd name="T97" fmla="*/ 439 h 517"/>
                <a:gd name="T98" fmla="*/ 19 w 614"/>
                <a:gd name="T99" fmla="*/ 420 h 51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14"/>
                <a:gd name="T151" fmla="*/ 0 h 517"/>
                <a:gd name="T152" fmla="*/ 614 w 614"/>
                <a:gd name="T153" fmla="*/ 517 h 51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14" h="517">
                  <a:moveTo>
                    <a:pt x="0" y="390"/>
                  </a:moveTo>
                  <a:lnTo>
                    <a:pt x="0" y="361"/>
                  </a:lnTo>
                  <a:lnTo>
                    <a:pt x="9" y="341"/>
                  </a:lnTo>
                  <a:lnTo>
                    <a:pt x="19" y="351"/>
                  </a:lnTo>
                  <a:lnTo>
                    <a:pt x="29" y="341"/>
                  </a:lnTo>
                  <a:lnTo>
                    <a:pt x="58" y="332"/>
                  </a:lnTo>
                  <a:lnTo>
                    <a:pt x="39" y="312"/>
                  </a:lnTo>
                  <a:lnTo>
                    <a:pt x="58" y="293"/>
                  </a:lnTo>
                  <a:lnTo>
                    <a:pt x="97" y="254"/>
                  </a:lnTo>
                  <a:lnTo>
                    <a:pt x="117" y="224"/>
                  </a:lnTo>
                  <a:lnTo>
                    <a:pt x="126" y="205"/>
                  </a:lnTo>
                  <a:lnTo>
                    <a:pt x="136" y="185"/>
                  </a:lnTo>
                  <a:lnTo>
                    <a:pt x="146" y="176"/>
                  </a:lnTo>
                  <a:lnTo>
                    <a:pt x="156" y="195"/>
                  </a:lnTo>
                  <a:lnTo>
                    <a:pt x="175" y="215"/>
                  </a:lnTo>
                  <a:lnTo>
                    <a:pt x="195" y="205"/>
                  </a:lnTo>
                  <a:lnTo>
                    <a:pt x="204" y="195"/>
                  </a:lnTo>
                  <a:lnTo>
                    <a:pt x="234" y="215"/>
                  </a:lnTo>
                  <a:lnTo>
                    <a:pt x="253" y="215"/>
                  </a:lnTo>
                  <a:lnTo>
                    <a:pt x="273" y="224"/>
                  </a:lnTo>
                  <a:lnTo>
                    <a:pt x="282" y="224"/>
                  </a:lnTo>
                  <a:lnTo>
                    <a:pt x="292" y="215"/>
                  </a:lnTo>
                  <a:lnTo>
                    <a:pt x="302" y="205"/>
                  </a:lnTo>
                  <a:lnTo>
                    <a:pt x="292" y="195"/>
                  </a:lnTo>
                  <a:lnTo>
                    <a:pt x="273" y="185"/>
                  </a:lnTo>
                  <a:lnTo>
                    <a:pt x="273" y="176"/>
                  </a:lnTo>
                  <a:lnTo>
                    <a:pt x="282" y="156"/>
                  </a:lnTo>
                  <a:lnTo>
                    <a:pt x="282" y="146"/>
                  </a:lnTo>
                  <a:lnTo>
                    <a:pt x="292" y="146"/>
                  </a:lnTo>
                  <a:lnTo>
                    <a:pt x="302" y="137"/>
                  </a:lnTo>
                  <a:lnTo>
                    <a:pt x="302" y="127"/>
                  </a:lnTo>
                  <a:lnTo>
                    <a:pt x="312" y="107"/>
                  </a:lnTo>
                  <a:lnTo>
                    <a:pt x="322" y="107"/>
                  </a:lnTo>
                  <a:lnTo>
                    <a:pt x="341" y="107"/>
                  </a:lnTo>
                  <a:lnTo>
                    <a:pt x="341" y="88"/>
                  </a:lnTo>
                  <a:lnTo>
                    <a:pt x="331" y="78"/>
                  </a:lnTo>
                  <a:lnTo>
                    <a:pt x="341" y="68"/>
                  </a:lnTo>
                  <a:lnTo>
                    <a:pt x="341" y="59"/>
                  </a:lnTo>
                  <a:lnTo>
                    <a:pt x="341" y="49"/>
                  </a:lnTo>
                  <a:lnTo>
                    <a:pt x="351" y="39"/>
                  </a:lnTo>
                  <a:lnTo>
                    <a:pt x="361" y="29"/>
                  </a:lnTo>
                  <a:lnTo>
                    <a:pt x="361" y="10"/>
                  </a:lnTo>
                  <a:lnTo>
                    <a:pt x="400" y="0"/>
                  </a:lnTo>
                  <a:lnTo>
                    <a:pt x="409" y="20"/>
                  </a:lnTo>
                  <a:lnTo>
                    <a:pt x="429" y="10"/>
                  </a:lnTo>
                  <a:lnTo>
                    <a:pt x="439" y="29"/>
                  </a:lnTo>
                  <a:lnTo>
                    <a:pt x="468" y="29"/>
                  </a:lnTo>
                  <a:lnTo>
                    <a:pt x="487" y="20"/>
                  </a:lnTo>
                  <a:lnTo>
                    <a:pt x="497" y="29"/>
                  </a:lnTo>
                  <a:lnTo>
                    <a:pt x="536" y="49"/>
                  </a:lnTo>
                  <a:lnTo>
                    <a:pt x="575" y="68"/>
                  </a:lnTo>
                  <a:lnTo>
                    <a:pt x="614" y="88"/>
                  </a:lnTo>
                  <a:lnTo>
                    <a:pt x="614" y="98"/>
                  </a:lnTo>
                  <a:lnTo>
                    <a:pt x="604" y="117"/>
                  </a:lnTo>
                  <a:lnTo>
                    <a:pt x="595" y="137"/>
                  </a:lnTo>
                  <a:lnTo>
                    <a:pt x="575" y="156"/>
                  </a:lnTo>
                  <a:lnTo>
                    <a:pt x="556" y="195"/>
                  </a:lnTo>
                  <a:lnTo>
                    <a:pt x="517" y="205"/>
                  </a:lnTo>
                  <a:lnTo>
                    <a:pt x="487" y="234"/>
                  </a:lnTo>
                  <a:lnTo>
                    <a:pt x="458" y="244"/>
                  </a:lnTo>
                  <a:lnTo>
                    <a:pt x="439" y="263"/>
                  </a:lnTo>
                  <a:lnTo>
                    <a:pt x="439" y="283"/>
                  </a:lnTo>
                  <a:lnTo>
                    <a:pt x="439" y="302"/>
                  </a:lnTo>
                  <a:lnTo>
                    <a:pt x="409" y="341"/>
                  </a:lnTo>
                  <a:lnTo>
                    <a:pt x="419" y="361"/>
                  </a:lnTo>
                  <a:lnTo>
                    <a:pt x="429" y="371"/>
                  </a:lnTo>
                  <a:lnTo>
                    <a:pt x="409" y="381"/>
                  </a:lnTo>
                  <a:lnTo>
                    <a:pt x="390" y="400"/>
                  </a:lnTo>
                  <a:lnTo>
                    <a:pt x="380" y="390"/>
                  </a:lnTo>
                  <a:lnTo>
                    <a:pt x="351" y="390"/>
                  </a:lnTo>
                  <a:lnTo>
                    <a:pt x="341" y="410"/>
                  </a:lnTo>
                  <a:lnTo>
                    <a:pt x="341" y="429"/>
                  </a:lnTo>
                  <a:lnTo>
                    <a:pt x="322" y="439"/>
                  </a:lnTo>
                  <a:lnTo>
                    <a:pt x="302" y="429"/>
                  </a:lnTo>
                  <a:lnTo>
                    <a:pt x="302" y="420"/>
                  </a:lnTo>
                  <a:lnTo>
                    <a:pt x="302" y="410"/>
                  </a:lnTo>
                  <a:lnTo>
                    <a:pt x="282" y="420"/>
                  </a:lnTo>
                  <a:lnTo>
                    <a:pt x="263" y="429"/>
                  </a:lnTo>
                  <a:lnTo>
                    <a:pt x="243" y="459"/>
                  </a:lnTo>
                  <a:lnTo>
                    <a:pt x="243" y="468"/>
                  </a:lnTo>
                  <a:lnTo>
                    <a:pt x="204" y="468"/>
                  </a:lnTo>
                  <a:lnTo>
                    <a:pt x="204" y="459"/>
                  </a:lnTo>
                  <a:lnTo>
                    <a:pt x="185" y="459"/>
                  </a:lnTo>
                  <a:lnTo>
                    <a:pt x="175" y="468"/>
                  </a:lnTo>
                  <a:lnTo>
                    <a:pt x="165" y="488"/>
                  </a:lnTo>
                  <a:lnTo>
                    <a:pt x="146" y="498"/>
                  </a:lnTo>
                  <a:lnTo>
                    <a:pt x="146" y="517"/>
                  </a:lnTo>
                  <a:lnTo>
                    <a:pt x="117" y="517"/>
                  </a:lnTo>
                  <a:lnTo>
                    <a:pt x="107" y="478"/>
                  </a:lnTo>
                  <a:lnTo>
                    <a:pt x="87" y="468"/>
                  </a:lnTo>
                  <a:lnTo>
                    <a:pt x="87" y="459"/>
                  </a:lnTo>
                  <a:lnTo>
                    <a:pt x="87" y="449"/>
                  </a:lnTo>
                  <a:lnTo>
                    <a:pt x="97" y="449"/>
                  </a:lnTo>
                  <a:lnTo>
                    <a:pt x="87" y="439"/>
                  </a:lnTo>
                  <a:lnTo>
                    <a:pt x="58" y="439"/>
                  </a:lnTo>
                  <a:lnTo>
                    <a:pt x="39" y="429"/>
                  </a:lnTo>
                  <a:lnTo>
                    <a:pt x="19" y="420"/>
                  </a:lnTo>
                  <a:lnTo>
                    <a:pt x="0" y="39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Freeform 366"/>
            <p:cNvSpPr>
              <a:spLocks/>
            </p:cNvSpPr>
            <p:nvPr/>
          </p:nvSpPr>
          <p:spPr bwMode="auto">
            <a:xfrm>
              <a:off x="2029" y="790"/>
              <a:ext cx="664" cy="674"/>
            </a:xfrm>
            <a:custGeom>
              <a:avLst/>
              <a:gdLst>
                <a:gd name="T0" fmla="*/ 488 w 663"/>
                <a:gd name="T1" fmla="*/ 469 h 674"/>
                <a:gd name="T2" fmla="*/ 449 w 663"/>
                <a:gd name="T3" fmla="*/ 449 h 674"/>
                <a:gd name="T4" fmla="*/ 439 w 663"/>
                <a:gd name="T5" fmla="*/ 478 h 674"/>
                <a:gd name="T6" fmla="*/ 410 w 663"/>
                <a:gd name="T7" fmla="*/ 508 h 674"/>
                <a:gd name="T8" fmla="*/ 400 w 663"/>
                <a:gd name="T9" fmla="*/ 547 h 674"/>
                <a:gd name="T10" fmla="*/ 419 w 663"/>
                <a:gd name="T11" fmla="*/ 576 h 674"/>
                <a:gd name="T12" fmla="*/ 361 w 663"/>
                <a:gd name="T13" fmla="*/ 634 h 674"/>
                <a:gd name="T14" fmla="*/ 351 w 663"/>
                <a:gd name="T15" fmla="*/ 654 h 674"/>
                <a:gd name="T16" fmla="*/ 302 w 663"/>
                <a:gd name="T17" fmla="*/ 674 h 674"/>
                <a:gd name="T18" fmla="*/ 283 w 663"/>
                <a:gd name="T19" fmla="*/ 654 h 674"/>
                <a:gd name="T20" fmla="*/ 283 w 663"/>
                <a:gd name="T21" fmla="*/ 634 h 674"/>
                <a:gd name="T22" fmla="*/ 263 w 663"/>
                <a:gd name="T23" fmla="*/ 615 h 674"/>
                <a:gd name="T24" fmla="*/ 195 w 663"/>
                <a:gd name="T25" fmla="*/ 605 h 674"/>
                <a:gd name="T26" fmla="*/ 195 w 663"/>
                <a:gd name="T27" fmla="*/ 576 h 674"/>
                <a:gd name="T28" fmla="*/ 156 w 663"/>
                <a:gd name="T29" fmla="*/ 537 h 674"/>
                <a:gd name="T30" fmla="*/ 136 w 663"/>
                <a:gd name="T31" fmla="*/ 498 h 674"/>
                <a:gd name="T32" fmla="*/ 127 w 663"/>
                <a:gd name="T33" fmla="*/ 527 h 674"/>
                <a:gd name="T34" fmla="*/ 68 w 663"/>
                <a:gd name="T35" fmla="*/ 517 h 674"/>
                <a:gd name="T36" fmla="*/ 19 w 663"/>
                <a:gd name="T37" fmla="*/ 371 h 674"/>
                <a:gd name="T38" fmla="*/ 19 w 663"/>
                <a:gd name="T39" fmla="*/ 332 h 674"/>
                <a:gd name="T40" fmla="*/ 19 w 663"/>
                <a:gd name="T41" fmla="*/ 303 h 674"/>
                <a:gd name="T42" fmla="*/ 117 w 663"/>
                <a:gd name="T43" fmla="*/ 322 h 674"/>
                <a:gd name="T44" fmla="*/ 214 w 663"/>
                <a:gd name="T45" fmla="*/ 332 h 674"/>
                <a:gd name="T46" fmla="*/ 253 w 663"/>
                <a:gd name="T47" fmla="*/ 322 h 674"/>
                <a:gd name="T48" fmla="*/ 283 w 663"/>
                <a:gd name="T49" fmla="*/ 254 h 674"/>
                <a:gd name="T50" fmla="*/ 283 w 663"/>
                <a:gd name="T51" fmla="*/ 215 h 674"/>
                <a:gd name="T52" fmla="*/ 312 w 663"/>
                <a:gd name="T53" fmla="*/ 205 h 674"/>
                <a:gd name="T54" fmla="*/ 351 w 663"/>
                <a:gd name="T55" fmla="*/ 195 h 674"/>
                <a:gd name="T56" fmla="*/ 361 w 663"/>
                <a:gd name="T57" fmla="*/ 166 h 674"/>
                <a:gd name="T58" fmla="*/ 400 w 663"/>
                <a:gd name="T59" fmla="*/ 137 h 674"/>
                <a:gd name="T60" fmla="*/ 419 w 663"/>
                <a:gd name="T61" fmla="*/ 127 h 674"/>
                <a:gd name="T62" fmla="*/ 449 w 663"/>
                <a:gd name="T63" fmla="*/ 98 h 674"/>
                <a:gd name="T64" fmla="*/ 478 w 663"/>
                <a:gd name="T65" fmla="*/ 88 h 674"/>
                <a:gd name="T66" fmla="*/ 517 w 663"/>
                <a:gd name="T67" fmla="*/ 78 h 674"/>
                <a:gd name="T68" fmla="*/ 556 w 663"/>
                <a:gd name="T69" fmla="*/ 39 h 674"/>
                <a:gd name="T70" fmla="*/ 566 w 663"/>
                <a:gd name="T71" fmla="*/ 10 h 674"/>
                <a:gd name="T72" fmla="*/ 624 w 663"/>
                <a:gd name="T73" fmla="*/ 88 h 674"/>
                <a:gd name="T74" fmla="*/ 605 w 663"/>
                <a:gd name="T75" fmla="*/ 127 h 674"/>
                <a:gd name="T76" fmla="*/ 653 w 663"/>
                <a:gd name="T77" fmla="*/ 137 h 674"/>
                <a:gd name="T78" fmla="*/ 663 w 663"/>
                <a:gd name="T79" fmla="*/ 176 h 674"/>
                <a:gd name="T80" fmla="*/ 653 w 663"/>
                <a:gd name="T81" fmla="*/ 166 h 674"/>
                <a:gd name="T82" fmla="*/ 653 w 663"/>
                <a:gd name="T83" fmla="*/ 186 h 674"/>
                <a:gd name="T84" fmla="*/ 644 w 663"/>
                <a:gd name="T85" fmla="*/ 195 h 674"/>
                <a:gd name="T86" fmla="*/ 653 w 663"/>
                <a:gd name="T87" fmla="*/ 254 h 674"/>
                <a:gd name="T88" fmla="*/ 644 w 663"/>
                <a:gd name="T89" fmla="*/ 273 h 674"/>
                <a:gd name="T90" fmla="*/ 614 w 663"/>
                <a:gd name="T91" fmla="*/ 273 h 674"/>
                <a:gd name="T92" fmla="*/ 595 w 663"/>
                <a:gd name="T93" fmla="*/ 293 h 674"/>
                <a:gd name="T94" fmla="*/ 566 w 663"/>
                <a:gd name="T95" fmla="*/ 293 h 674"/>
                <a:gd name="T96" fmla="*/ 556 w 663"/>
                <a:gd name="T97" fmla="*/ 322 h 674"/>
                <a:gd name="T98" fmla="*/ 517 w 663"/>
                <a:gd name="T99" fmla="*/ 342 h 674"/>
                <a:gd name="T100" fmla="*/ 507 w 663"/>
                <a:gd name="T101" fmla="*/ 352 h 674"/>
                <a:gd name="T102" fmla="*/ 507 w 663"/>
                <a:gd name="T103" fmla="*/ 371 h 674"/>
                <a:gd name="T104" fmla="*/ 497 w 663"/>
                <a:gd name="T105" fmla="*/ 391 h 674"/>
                <a:gd name="T106" fmla="*/ 517 w 663"/>
                <a:gd name="T107" fmla="*/ 400 h 674"/>
                <a:gd name="T108" fmla="*/ 507 w 663"/>
                <a:gd name="T109" fmla="*/ 439 h 674"/>
                <a:gd name="T110" fmla="*/ 497 w 663"/>
                <a:gd name="T111" fmla="*/ 469 h 6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63"/>
                <a:gd name="T169" fmla="*/ 0 h 674"/>
                <a:gd name="T170" fmla="*/ 663 w 663"/>
                <a:gd name="T171" fmla="*/ 674 h 6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63" h="674">
                  <a:moveTo>
                    <a:pt x="497" y="469"/>
                  </a:moveTo>
                  <a:lnTo>
                    <a:pt x="488" y="469"/>
                  </a:lnTo>
                  <a:lnTo>
                    <a:pt x="458" y="478"/>
                  </a:lnTo>
                  <a:lnTo>
                    <a:pt x="449" y="449"/>
                  </a:lnTo>
                  <a:lnTo>
                    <a:pt x="429" y="469"/>
                  </a:lnTo>
                  <a:lnTo>
                    <a:pt x="439" y="478"/>
                  </a:lnTo>
                  <a:lnTo>
                    <a:pt x="419" y="498"/>
                  </a:lnTo>
                  <a:lnTo>
                    <a:pt x="410" y="508"/>
                  </a:lnTo>
                  <a:lnTo>
                    <a:pt x="400" y="527"/>
                  </a:lnTo>
                  <a:lnTo>
                    <a:pt x="400" y="547"/>
                  </a:lnTo>
                  <a:lnTo>
                    <a:pt x="410" y="566"/>
                  </a:lnTo>
                  <a:lnTo>
                    <a:pt x="419" y="576"/>
                  </a:lnTo>
                  <a:lnTo>
                    <a:pt x="419" y="595"/>
                  </a:lnTo>
                  <a:lnTo>
                    <a:pt x="361" y="634"/>
                  </a:lnTo>
                  <a:lnTo>
                    <a:pt x="351" y="634"/>
                  </a:lnTo>
                  <a:lnTo>
                    <a:pt x="351" y="654"/>
                  </a:lnTo>
                  <a:lnTo>
                    <a:pt x="312" y="664"/>
                  </a:lnTo>
                  <a:lnTo>
                    <a:pt x="302" y="674"/>
                  </a:lnTo>
                  <a:lnTo>
                    <a:pt x="292" y="664"/>
                  </a:lnTo>
                  <a:lnTo>
                    <a:pt x="283" y="654"/>
                  </a:lnTo>
                  <a:lnTo>
                    <a:pt x="283" y="644"/>
                  </a:lnTo>
                  <a:lnTo>
                    <a:pt x="283" y="634"/>
                  </a:lnTo>
                  <a:lnTo>
                    <a:pt x="263" y="634"/>
                  </a:lnTo>
                  <a:lnTo>
                    <a:pt x="263" y="615"/>
                  </a:lnTo>
                  <a:lnTo>
                    <a:pt x="253" y="615"/>
                  </a:lnTo>
                  <a:lnTo>
                    <a:pt x="195" y="605"/>
                  </a:lnTo>
                  <a:lnTo>
                    <a:pt x="185" y="595"/>
                  </a:lnTo>
                  <a:lnTo>
                    <a:pt x="195" y="576"/>
                  </a:lnTo>
                  <a:lnTo>
                    <a:pt x="185" y="566"/>
                  </a:lnTo>
                  <a:lnTo>
                    <a:pt x="156" y="537"/>
                  </a:lnTo>
                  <a:lnTo>
                    <a:pt x="156" y="527"/>
                  </a:lnTo>
                  <a:lnTo>
                    <a:pt x="136" y="498"/>
                  </a:lnTo>
                  <a:lnTo>
                    <a:pt x="117" y="498"/>
                  </a:lnTo>
                  <a:lnTo>
                    <a:pt x="127" y="527"/>
                  </a:lnTo>
                  <a:lnTo>
                    <a:pt x="107" y="527"/>
                  </a:lnTo>
                  <a:lnTo>
                    <a:pt x="68" y="517"/>
                  </a:lnTo>
                  <a:lnTo>
                    <a:pt x="0" y="391"/>
                  </a:lnTo>
                  <a:lnTo>
                    <a:pt x="19" y="371"/>
                  </a:lnTo>
                  <a:lnTo>
                    <a:pt x="19" y="352"/>
                  </a:lnTo>
                  <a:lnTo>
                    <a:pt x="19" y="332"/>
                  </a:lnTo>
                  <a:lnTo>
                    <a:pt x="10" y="322"/>
                  </a:lnTo>
                  <a:lnTo>
                    <a:pt x="19" y="303"/>
                  </a:lnTo>
                  <a:lnTo>
                    <a:pt x="78" y="322"/>
                  </a:lnTo>
                  <a:lnTo>
                    <a:pt x="117" y="322"/>
                  </a:lnTo>
                  <a:lnTo>
                    <a:pt x="166" y="322"/>
                  </a:lnTo>
                  <a:lnTo>
                    <a:pt x="214" y="332"/>
                  </a:lnTo>
                  <a:lnTo>
                    <a:pt x="244" y="322"/>
                  </a:lnTo>
                  <a:lnTo>
                    <a:pt x="253" y="322"/>
                  </a:lnTo>
                  <a:lnTo>
                    <a:pt x="263" y="293"/>
                  </a:lnTo>
                  <a:lnTo>
                    <a:pt x="283" y="254"/>
                  </a:lnTo>
                  <a:lnTo>
                    <a:pt x="283" y="225"/>
                  </a:lnTo>
                  <a:lnTo>
                    <a:pt x="283" y="215"/>
                  </a:lnTo>
                  <a:lnTo>
                    <a:pt x="292" y="205"/>
                  </a:lnTo>
                  <a:lnTo>
                    <a:pt x="312" y="205"/>
                  </a:lnTo>
                  <a:lnTo>
                    <a:pt x="341" y="205"/>
                  </a:lnTo>
                  <a:lnTo>
                    <a:pt x="351" y="195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400" y="147"/>
                  </a:lnTo>
                  <a:lnTo>
                    <a:pt x="400" y="137"/>
                  </a:lnTo>
                  <a:lnTo>
                    <a:pt x="410" y="127"/>
                  </a:lnTo>
                  <a:lnTo>
                    <a:pt x="419" y="127"/>
                  </a:lnTo>
                  <a:lnTo>
                    <a:pt x="439" y="108"/>
                  </a:lnTo>
                  <a:lnTo>
                    <a:pt x="449" y="98"/>
                  </a:lnTo>
                  <a:lnTo>
                    <a:pt x="468" y="88"/>
                  </a:lnTo>
                  <a:lnTo>
                    <a:pt x="478" y="88"/>
                  </a:lnTo>
                  <a:lnTo>
                    <a:pt x="497" y="88"/>
                  </a:lnTo>
                  <a:lnTo>
                    <a:pt x="517" y="78"/>
                  </a:lnTo>
                  <a:lnTo>
                    <a:pt x="536" y="59"/>
                  </a:lnTo>
                  <a:lnTo>
                    <a:pt x="556" y="39"/>
                  </a:lnTo>
                  <a:lnTo>
                    <a:pt x="566" y="20"/>
                  </a:lnTo>
                  <a:lnTo>
                    <a:pt x="566" y="10"/>
                  </a:lnTo>
                  <a:lnTo>
                    <a:pt x="575" y="0"/>
                  </a:lnTo>
                  <a:lnTo>
                    <a:pt x="624" y="88"/>
                  </a:lnTo>
                  <a:lnTo>
                    <a:pt x="614" y="108"/>
                  </a:lnTo>
                  <a:lnTo>
                    <a:pt x="605" y="127"/>
                  </a:lnTo>
                  <a:lnTo>
                    <a:pt x="614" y="137"/>
                  </a:lnTo>
                  <a:lnTo>
                    <a:pt x="653" y="137"/>
                  </a:lnTo>
                  <a:lnTo>
                    <a:pt x="663" y="156"/>
                  </a:lnTo>
                  <a:lnTo>
                    <a:pt x="663" y="176"/>
                  </a:lnTo>
                  <a:lnTo>
                    <a:pt x="653" y="166"/>
                  </a:lnTo>
                  <a:lnTo>
                    <a:pt x="653" y="176"/>
                  </a:lnTo>
                  <a:lnTo>
                    <a:pt x="653" y="186"/>
                  </a:lnTo>
                  <a:lnTo>
                    <a:pt x="644" y="186"/>
                  </a:lnTo>
                  <a:lnTo>
                    <a:pt x="644" y="195"/>
                  </a:lnTo>
                  <a:lnTo>
                    <a:pt x="653" y="225"/>
                  </a:lnTo>
                  <a:lnTo>
                    <a:pt x="653" y="254"/>
                  </a:lnTo>
                  <a:lnTo>
                    <a:pt x="634" y="264"/>
                  </a:lnTo>
                  <a:lnTo>
                    <a:pt x="644" y="273"/>
                  </a:lnTo>
                  <a:lnTo>
                    <a:pt x="624" y="283"/>
                  </a:lnTo>
                  <a:lnTo>
                    <a:pt x="614" y="273"/>
                  </a:lnTo>
                  <a:lnTo>
                    <a:pt x="595" y="293"/>
                  </a:lnTo>
                  <a:lnTo>
                    <a:pt x="575" y="293"/>
                  </a:lnTo>
                  <a:lnTo>
                    <a:pt x="566" y="293"/>
                  </a:lnTo>
                  <a:lnTo>
                    <a:pt x="556" y="322"/>
                  </a:lnTo>
                  <a:lnTo>
                    <a:pt x="536" y="342"/>
                  </a:lnTo>
                  <a:lnTo>
                    <a:pt x="517" y="342"/>
                  </a:lnTo>
                  <a:lnTo>
                    <a:pt x="527" y="352"/>
                  </a:lnTo>
                  <a:lnTo>
                    <a:pt x="507" y="352"/>
                  </a:lnTo>
                  <a:lnTo>
                    <a:pt x="497" y="352"/>
                  </a:lnTo>
                  <a:lnTo>
                    <a:pt x="507" y="371"/>
                  </a:lnTo>
                  <a:lnTo>
                    <a:pt x="497" y="391"/>
                  </a:lnTo>
                  <a:lnTo>
                    <a:pt x="507" y="400"/>
                  </a:lnTo>
                  <a:lnTo>
                    <a:pt x="517" y="400"/>
                  </a:lnTo>
                  <a:lnTo>
                    <a:pt x="507" y="420"/>
                  </a:lnTo>
                  <a:lnTo>
                    <a:pt x="507" y="439"/>
                  </a:lnTo>
                  <a:lnTo>
                    <a:pt x="488" y="459"/>
                  </a:lnTo>
                  <a:lnTo>
                    <a:pt x="497" y="469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" name="Freeform 365"/>
            <p:cNvSpPr>
              <a:spLocks/>
            </p:cNvSpPr>
            <p:nvPr/>
          </p:nvSpPr>
          <p:spPr bwMode="auto">
            <a:xfrm>
              <a:off x="2586" y="1533"/>
              <a:ext cx="1317" cy="720"/>
            </a:xfrm>
            <a:custGeom>
              <a:avLst/>
              <a:gdLst>
                <a:gd name="T0" fmla="*/ 371 w 1317"/>
                <a:gd name="T1" fmla="*/ 644 h 722"/>
                <a:gd name="T2" fmla="*/ 439 w 1317"/>
                <a:gd name="T3" fmla="*/ 644 h 722"/>
                <a:gd name="T4" fmla="*/ 488 w 1317"/>
                <a:gd name="T5" fmla="*/ 654 h 722"/>
                <a:gd name="T6" fmla="*/ 585 w 1317"/>
                <a:gd name="T7" fmla="*/ 702 h 722"/>
                <a:gd name="T8" fmla="*/ 673 w 1317"/>
                <a:gd name="T9" fmla="*/ 673 h 722"/>
                <a:gd name="T10" fmla="*/ 702 w 1317"/>
                <a:gd name="T11" fmla="*/ 644 h 722"/>
                <a:gd name="T12" fmla="*/ 741 w 1317"/>
                <a:gd name="T13" fmla="*/ 566 h 722"/>
                <a:gd name="T14" fmla="*/ 819 w 1317"/>
                <a:gd name="T15" fmla="*/ 507 h 722"/>
                <a:gd name="T16" fmla="*/ 839 w 1317"/>
                <a:gd name="T17" fmla="*/ 458 h 722"/>
                <a:gd name="T18" fmla="*/ 868 w 1317"/>
                <a:gd name="T19" fmla="*/ 419 h 722"/>
                <a:gd name="T20" fmla="*/ 897 w 1317"/>
                <a:gd name="T21" fmla="*/ 439 h 722"/>
                <a:gd name="T22" fmla="*/ 966 w 1317"/>
                <a:gd name="T23" fmla="*/ 419 h 722"/>
                <a:gd name="T24" fmla="*/ 1044 w 1317"/>
                <a:gd name="T25" fmla="*/ 410 h 722"/>
                <a:gd name="T26" fmla="*/ 1092 w 1317"/>
                <a:gd name="T27" fmla="*/ 380 h 722"/>
                <a:gd name="T28" fmla="*/ 1122 w 1317"/>
                <a:gd name="T29" fmla="*/ 361 h 722"/>
                <a:gd name="T30" fmla="*/ 1190 w 1317"/>
                <a:gd name="T31" fmla="*/ 361 h 722"/>
                <a:gd name="T32" fmla="*/ 1239 w 1317"/>
                <a:gd name="T33" fmla="*/ 341 h 722"/>
                <a:gd name="T34" fmla="*/ 1307 w 1317"/>
                <a:gd name="T35" fmla="*/ 322 h 722"/>
                <a:gd name="T36" fmla="*/ 1307 w 1317"/>
                <a:gd name="T37" fmla="*/ 312 h 722"/>
                <a:gd name="T38" fmla="*/ 1307 w 1317"/>
                <a:gd name="T39" fmla="*/ 273 h 722"/>
                <a:gd name="T40" fmla="*/ 1307 w 1317"/>
                <a:gd name="T41" fmla="*/ 224 h 722"/>
                <a:gd name="T42" fmla="*/ 1258 w 1317"/>
                <a:gd name="T43" fmla="*/ 214 h 722"/>
                <a:gd name="T44" fmla="*/ 1229 w 1317"/>
                <a:gd name="T45" fmla="*/ 244 h 722"/>
                <a:gd name="T46" fmla="*/ 1190 w 1317"/>
                <a:gd name="T47" fmla="*/ 234 h 722"/>
                <a:gd name="T48" fmla="*/ 1151 w 1317"/>
                <a:gd name="T49" fmla="*/ 253 h 722"/>
                <a:gd name="T50" fmla="*/ 1092 w 1317"/>
                <a:gd name="T51" fmla="*/ 273 h 722"/>
                <a:gd name="T52" fmla="*/ 1005 w 1317"/>
                <a:gd name="T53" fmla="*/ 234 h 722"/>
                <a:gd name="T54" fmla="*/ 848 w 1317"/>
                <a:gd name="T55" fmla="*/ 127 h 722"/>
                <a:gd name="T56" fmla="*/ 780 w 1317"/>
                <a:gd name="T57" fmla="*/ 68 h 722"/>
                <a:gd name="T58" fmla="*/ 712 w 1317"/>
                <a:gd name="T59" fmla="*/ 19 h 722"/>
                <a:gd name="T60" fmla="*/ 595 w 1317"/>
                <a:gd name="T61" fmla="*/ 10 h 722"/>
                <a:gd name="T62" fmla="*/ 478 w 1317"/>
                <a:gd name="T63" fmla="*/ 58 h 722"/>
                <a:gd name="T64" fmla="*/ 497 w 1317"/>
                <a:gd name="T65" fmla="*/ 107 h 722"/>
                <a:gd name="T66" fmla="*/ 449 w 1317"/>
                <a:gd name="T67" fmla="*/ 175 h 722"/>
                <a:gd name="T68" fmla="*/ 410 w 1317"/>
                <a:gd name="T69" fmla="*/ 136 h 722"/>
                <a:gd name="T70" fmla="*/ 371 w 1317"/>
                <a:gd name="T71" fmla="*/ 136 h 722"/>
                <a:gd name="T72" fmla="*/ 341 w 1317"/>
                <a:gd name="T73" fmla="*/ 97 h 722"/>
                <a:gd name="T74" fmla="*/ 283 w 1317"/>
                <a:gd name="T75" fmla="*/ 49 h 722"/>
                <a:gd name="T76" fmla="*/ 253 w 1317"/>
                <a:gd name="T77" fmla="*/ 49 h 722"/>
                <a:gd name="T78" fmla="*/ 263 w 1317"/>
                <a:gd name="T79" fmla="*/ 136 h 722"/>
                <a:gd name="T80" fmla="*/ 224 w 1317"/>
                <a:gd name="T81" fmla="*/ 166 h 722"/>
                <a:gd name="T82" fmla="*/ 214 w 1317"/>
                <a:gd name="T83" fmla="*/ 195 h 722"/>
                <a:gd name="T84" fmla="*/ 166 w 1317"/>
                <a:gd name="T85" fmla="*/ 224 h 722"/>
                <a:gd name="T86" fmla="*/ 156 w 1317"/>
                <a:gd name="T87" fmla="*/ 263 h 722"/>
                <a:gd name="T88" fmla="*/ 205 w 1317"/>
                <a:gd name="T89" fmla="*/ 283 h 722"/>
                <a:gd name="T90" fmla="*/ 253 w 1317"/>
                <a:gd name="T91" fmla="*/ 253 h 722"/>
                <a:gd name="T92" fmla="*/ 234 w 1317"/>
                <a:gd name="T93" fmla="*/ 341 h 722"/>
                <a:gd name="T94" fmla="*/ 195 w 1317"/>
                <a:gd name="T95" fmla="*/ 390 h 722"/>
                <a:gd name="T96" fmla="*/ 146 w 1317"/>
                <a:gd name="T97" fmla="*/ 410 h 722"/>
                <a:gd name="T98" fmla="*/ 88 w 1317"/>
                <a:gd name="T99" fmla="*/ 400 h 722"/>
                <a:gd name="T100" fmla="*/ 58 w 1317"/>
                <a:gd name="T101" fmla="*/ 468 h 722"/>
                <a:gd name="T102" fmla="*/ 10 w 1317"/>
                <a:gd name="T103" fmla="*/ 488 h 722"/>
                <a:gd name="T104" fmla="*/ 19 w 1317"/>
                <a:gd name="T105" fmla="*/ 527 h 722"/>
                <a:gd name="T106" fmla="*/ 19 w 1317"/>
                <a:gd name="T107" fmla="*/ 566 h 722"/>
                <a:gd name="T108" fmla="*/ 10 w 1317"/>
                <a:gd name="T109" fmla="*/ 595 h 722"/>
                <a:gd name="T110" fmla="*/ 88 w 1317"/>
                <a:gd name="T111" fmla="*/ 566 h 722"/>
                <a:gd name="T112" fmla="*/ 146 w 1317"/>
                <a:gd name="T113" fmla="*/ 585 h 722"/>
                <a:gd name="T114" fmla="*/ 195 w 1317"/>
                <a:gd name="T115" fmla="*/ 595 h 722"/>
                <a:gd name="T116" fmla="*/ 224 w 1317"/>
                <a:gd name="T117" fmla="*/ 556 h 722"/>
                <a:gd name="T118" fmla="*/ 263 w 1317"/>
                <a:gd name="T119" fmla="*/ 546 h 722"/>
                <a:gd name="T120" fmla="*/ 322 w 1317"/>
                <a:gd name="T121" fmla="*/ 575 h 72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17"/>
                <a:gd name="T184" fmla="*/ 0 h 722"/>
                <a:gd name="T185" fmla="*/ 1317 w 1317"/>
                <a:gd name="T186" fmla="*/ 722 h 72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17" h="722">
                  <a:moveTo>
                    <a:pt x="322" y="605"/>
                  </a:moveTo>
                  <a:lnTo>
                    <a:pt x="341" y="595"/>
                  </a:lnTo>
                  <a:lnTo>
                    <a:pt x="371" y="644"/>
                  </a:lnTo>
                  <a:lnTo>
                    <a:pt x="410" y="634"/>
                  </a:lnTo>
                  <a:lnTo>
                    <a:pt x="419" y="654"/>
                  </a:lnTo>
                  <a:lnTo>
                    <a:pt x="439" y="644"/>
                  </a:lnTo>
                  <a:lnTo>
                    <a:pt x="449" y="663"/>
                  </a:lnTo>
                  <a:lnTo>
                    <a:pt x="478" y="663"/>
                  </a:lnTo>
                  <a:lnTo>
                    <a:pt x="488" y="654"/>
                  </a:lnTo>
                  <a:lnTo>
                    <a:pt x="507" y="663"/>
                  </a:lnTo>
                  <a:lnTo>
                    <a:pt x="546" y="683"/>
                  </a:lnTo>
                  <a:lnTo>
                    <a:pt x="585" y="702"/>
                  </a:lnTo>
                  <a:lnTo>
                    <a:pt x="624" y="722"/>
                  </a:lnTo>
                  <a:lnTo>
                    <a:pt x="653" y="702"/>
                  </a:lnTo>
                  <a:lnTo>
                    <a:pt x="673" y="673"/>
                  </a:lnTo>
                  <a:lnTo>
                    <a:pt x="692" y="663"/>
                  </a:lnTo>
                  <a:lnTo>
                    <a:pt x="712" y="654"/>
                  </a:lnTo>
                  <a:lnTo>
                    <a:pt x="702" y="644"/>
                  </a:lnTo>
                  <a:lnTo>
                    <a:pt x="722" y="614"/>
                  </a:lnTo>
                  <a:lnTo>
                    <a:pt x="722" y="585"/>
                  </a:lnTo>
                  <a:lnTo>
                    <a:pt x="741" y="566"/>
                  </a:lnTo>
                  <a:lnTo>
                    <a:pt x="780" y="536"/>
                  </a:lnTo>
                  <a:lnTo>
                    <a:pt x="800" y="527"/>
                  </a:lnTo>
                  <a:lnTo>
                    <a:pt x="819" y="507"/>
                  </a:lnTo>
                  <a:lnTo>
                    <a:pt x="819" y="488"/>
                  </a:lnTo>
                  <a:lnTo>
                    <a:pt x="839" y="468"/>
                  </a:lnTo>
                  <a:lnTo>
                    <a:pt x="839" y="458"/>
                  </a:lnTo>
                  <a:lnTo>
                    <a:pt x="848" y="449"/>
                  </a:lnTo>
                  <a:lnTo>
                    <a:pt x="848" y="429"/>
                  </a:lnTo>
                  <a:lnTo>
                    <a:pt x="868" y="419"/>
                  </a:lnTo>
                  <a:lnTo>
                    <a:pt x="888" y="419"/>
                  </a:lnTo>
                  <a:lnTo>
                    <a:pt x="897" y="429"/>
                  </a:lnTo>
                  <a:lnTo>
                    <a:pt x="897" y="439"/>
                  </a:lnTo>
                  <a:lnTo>
                    <a:pt x="936" y="439"/>
                  </a:lnTo>
                  <a:lnTo>
                    <a:pt x="946" y="439"/>
                  </a:lnTo>
                  <a:lnTo>
                    <a:pt x="966" y="419"/>
                  </a:lnTo>
                  <a:lnTo>
                    <a:pt x="995" y="410"/>
                  </a:lnTo>
                  <a:lnTo>
                    <a:pt x="1024" y="410"/>
                  </a:lnTo>
                  <a:lnTo>
                    <a:pt x="1044" y="410"/>
                  </a:lnTo>
                  <a:lnTo>
                    <a:pt x="1063" y="400"/>
                  </a:lnTo>
                  <a:lnTo>
                    <a:pt x="1073" y="400"/>
                  </a:lnTo>
                  <a:lnTo>
                    <a:pt x="1092" y="380"/>
                  </a:lnTo>
                  <a:lnTo>
                    <a:pt x="1102" y="380"/>
                  </a:lnTo>
                  <a:lnTo>
                    <a:pt x="1122" y="371"/>
                  </a:lnTo>
                  <a:lnTo>
                    <a:pt x="1122" y="361"/>
                  </a:lnTo>
                  <a:lnTo>
                    <a:pt x="1141" y="361"/>
                  </a:lnTo>
                  <a:lnTo>
                    <a:pt x="1161" y="361"/>
                  </a:lnTo>
                  <a:lnTo>
                    <a:pt x="1190" y="361"/>
                  </a:lnTo>
                  <a:lnTo>
                    <a:pt x="1209" y="361"/>
                  </a:lnTo>
                  <a:lnTo>
                    <a:pt x="1229" y="351"/>
                  </a:lnTo>
                  <a:lnTo>
                    <a:pt x="1239" y="341"/>
                  </a:lnTo>
                  <a:lnTo>
                    <a:pt x="1258" y="341"/>
                  </a:lnTo>
                  <a:lnTo>
                    <a:pt x="1287" y="332"/>
                  </a:lnTo>
                  <a:lnTo>
                    <a:pt x="1307" y="322"/>
                  </a:lnTo>
                  <a:lnTo>
                    <a:pt x="1287" y="312"/>
                  </a:lnTo>
                  <a:lnTo>
                    <a:pt x="1307" y="312"/>
                  </a:lnTo>
                  <a:lnTo>
                    <a:pt x="1317" y="302"/>
                  </a:lnTo>
                  <a:lnTo>
                    <a:pt x="1317" y="293"/>
                  </a:lnTo>
                  <a:lnTo>
                    <a:pt x="1307" y="273"/>
                  </a:lnTo>
                  <a:lnTo>
                    <a:pt x="1297" y="253"/>
                  </a:lnTo>
                  <a:lnTo>
                    <a:pt x="1297" y="244"/>
                  </a:lnTo>
                  <a:lnTo>
                    <a:pt x="1307" y="224"/>
                  </a:lnTo>
                  <a:lnTo>
                    <a:pt x="1297" y="214"/>
                  </a:lnTo>
                  <a:lnTo>
                    <a:pt x="1268" y="205"/>
                  </a:lnTo>
                  <a:lnTo>
                    <a:pt x="1258" y="214"/>
                  </a:lnTo>
                  <a:lnTo>
                    <a:pt x="1248" y="224"/>
                  </a:lnTo>
                  <a:lnTo>
                    <a:pt x="1239" y="224"/>
                  </a:lnTo>
                  <a:lnTo>
                    <a:pt x="1229" y="244"/>
                  </a:lnTo>
                  <a:lnTo>
                    <a:pt x="1209" y="244"/>
                  </a:lnTo>
                  <a:lnTo>
                    <a:pt x="1200" y="234"/>
                  </a:lnTo>
                  <a:lnTo>
                    <a:pt x="1190" y="234"/>
                  </a:lnTo>
                  <a:lnTo>
                    <a:pt x="1170" y="234"/>
                  </a:lnTo>
                  <a:lnTo>
                    <a:pt x="1161" y="253"/>
                  </a:lnTo>
                  <a:lnTo>
                    <a:pt x="1151" y="253"/>
                  </a:lnTo>
                  <a:lnTo>
                    <a:pt x="1131" y="263"/>
                  </a:lnTo>
                  <a:lnTo>
                    <a:pt x="1112" y="263"/>
                  </a:lnTo>
                  <a:lnTo>
                    <a:pt x="1092" y="273"/>
                  </a:lnTo>
                  <a:lnTo>
                    <a:pt x="1083" y="273"/>
                  </a:lnTo>
                  <a:lnTo>
                    <a:pt x="1053" y="263"/>
                  </a:lnTo>
                  <a:lnTo>
                    <a:pt x="1005" y="234"/>
                  </a:lnTo>
                  <a:lnTo>
                    <a:pt x="956" y="195"/>
                  </a:lnTo>
                  <a:lnTo>
                    <a:pt x="907" y="166"/>
                  </a:lnTo>
                  <a:lnTo>
                    <a:pt x="848" y="127"/>
                  </a:lnTo>
                  <a:lnTo>
                    <a:pt x="839" y="107"/>
                  </a:lnTo>
                  <a:lnTo>
                    <a:pt x="819" y="97"/>
                  </a:lnTo>
                  <a:lnTo>
                    <a:pt x="780" y="68"/>
                  </a:lnTo>
                  <a:lnTo>
                    <a:pt x="761" y="49"/>
                  </a:lnTo>
                  <a:lnTo>
                    <a:pt x="741" y="19"/>
                  </a:lnTo>
                  <a:lnTo>
                    <a:pt x="712" y="19"/>
                  </a:lnTo>
                  <a:lnTo>
                    <a:pt x="692" y="19"/>
                  </a:lnTo>
                  <a:lnTo>
                    <a:pt x="663" y="19"/>
                  </a:lnTo>
                  <a:lnTo>
                    <a:pt x="595" y="10"/>
                  </a:lnTo>
                  <a:lnTo>
                    <a:pt x="546" y="0"/>
                  </a:lnTo>
                  <a:lnTo>
                    <a:pt x="497" y="49"/>
                  </a:lnTo>
                  <a:lnTo>
                    <a:pt x="478" y="58"/>
                  </a:lnTo>
                  <a:lnTo>
                    <a:pt x="468" y="78"/>
                  </a:lnTo>
                  <a:lnTo>
                    <a:pt x="497" y="88"/>
                  </a:lnTo>
                  <a:lnTo>
                    <a:pt x="497" y="107"/>
                  </a:lnTo>
                  <a:lnTo>
                    <a:pt x="478" y="136"/>
                  </a:lnTo>
                  <a:lnTo>
                    <a:pt x="478" y="156"/>
                  </a:lnTo>
                  <a:lnTo>
                    <a:pt x="449" y="175"/>
                  </a:lnTo>
                  <a:lnTo>
                    <a:pt x="439" y="146"/>
                  </a:lnTo>
                  <a:lnTo>
                    <a:pt x="429" y="156"/>
                  </a:lnTo>
                  <a:lnTo>
                    <a:pt x="410" y="136"/>
                  </a:lnTo>
                  <a:lnTo>
                    <a:pt x="390" y="136"/>
                  </a:lnTo>
                  <a:lnTo>
                    <a:pt x="380" y="136"/>
                  </a:lnTo>
                  <a:lnTo>
                    <a:pt x="371" y="136"/>
                  </a:lnTo>
                  <a:lnTo>
                    <a:pt x="361" y="127"/>
                  </a:lnTo>
                  <a:lnTo>
                    <a:pt x="361" y="117"/>
                  </a:lnTo>
                  <a:lnTo>
                    <a:pt x="341" y="97"/>
                  </a:lnTo>
                  <a:lnTo>
                    <a:pt x="322" y="78"/>
                  </a:lnTo>
                  <a:lnTo>
                    <a:pt x="292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53" y="39"/>
                  </a:lnTo>
                  <a:lnTo>
                    <a:pt x="253" y="49"/>
                  </a:lnTo>
                  <a:lnTo>
                    <a:pt x="253" y="68"/>
                  </a:lnTo>
                  <a:lnTo>
                    <a:pt x="263" y="107"/>
                  </a:lnTo>
                  <a:lnTo>
                    <a:pt x="263" y="136"/>
                  </a:lnTo>
                  <a:lnTo>
                    <a:pt x="253" y="146"/>
                  </a:lnTo>
                  <a:lnTo>
                    <a:pt x="234" y="156"/>
                  </a:lnTo>
                  <a:lnTo>
                    <a:pt x="224" y="166"/>
                  </a:lnTo>
                  <a:lnTo>
                    <a:pt x="244" y="185"/>
                  </a:lnTo>
                  <a:lnTo>
                    <a:pt x="244" y="195"/>
                  </a:lnTo>
                  <a:lnTo>
                    <a:pt x="214" y="195"/>
                  </a:lnTo>
                  <a:lnTo>
                    <a:pt x="195" y="205"/>
                  </a:lnTo>
                  <a:lnTo>
                    <a:pt x="185" y="224"/>
                  </a:lnTo>
                  <a:lnTo>
                    <a:pt x="166" y="224"/>
                  </a:lnTo>
                  <a:lnTo>
                    <a:pt x="166" y="244"/>
                  </a:lnTo>
                  <a:lnTo>
                    <a:pt x="166" y="253"/>
                  </a:lnTo>
                  <a:lnTo>
                    <a:pt x="156" y="263"/>
                  </a:lnTo>
                  <a:lnTo>
                    <a:pt x="166" y="273"/>
                  </a:lnTo>
                  <a:lnTo>
                    <a:pt x="175" y="263"/>
                  </a:lnTo>
                  <a:lnTo>
                    <a:pt x="205" y="283"/>
                  </a:lnTo>
                  <a:lnTo>
                    <a:pt x="234" y="263"/>
                  </a:lnTo>
                  <a:lnTo>
                    <a:pt x="234" y="273"/>
                  </a:lnTo>
                  <a:lnTo>
                    <a:pt x="253" y="253"/>
                  </a:lnTo>
                  <a:lnTo>
                    <a:pt x="292" y="293"/>
                  </a:lnTo>
                  <a:lnTo>
                    <a:pt x="283" y="312"/>
                  </a:lnTo>
                  <a:lnTo>
                    <a:pt x="234" y="341"/>
                  </a:lnTo>
                  <a:lnTo>
                    <a:pt x="195" y="351"/>
                  </a:lnTo>
                  <a:lnTo>
                    <a:pt x="175" y="371"/>
                  </a:lnTo>
                  <a:lnTo>
                    <a:pt x="195" y="390"/>
                  </a:lnTo>
                  <a:lnTo>
                    <a:pt x="166" y="419"/>
                  </a:lnTo>
                  <a:lnTo>
                    <a:pt x="146" y="419"/>
                  </a:lnTo>
                  <a:lnTo>
                    <a:pt x="146" y="410"/>
                  </a:lnTo>
                  <a:lnTo>
                    <a:pt x="127" y="400"/>
                  </a:lnTo>
                  <a:lnTo>
                    <a:pt x="97" y="400"/>
                  </a:lnTo>
                  <a:lnTo>
                    <a:pt x="88" y="400"/>
                  </a:lnTo>
                  <a:lnTo>
                    <a:pt x="68" y="429"/>
                  </a:lnTo>
                  <a:lnTo>
                    <a:pt x="58" y="449"/>
                  </a:lnTo>
                  <a:lnTo>
                    <a:pt x="58" y="468"/>
                  </a:lnTo>
                  <a:lnTo>
                    <a:pt x="49" y="468"/>
                  </a:lnTo>
                  <a:lnTo>
                    <a:pt x="39" y="468"/>
                  </a:lnTo>
                  <a:lnTo>
                    <a:pt x="10" y="488"/>
                  </a:lnTo>
                  <a:lnTo>
                    <a:pt x="10" y="497"/>
                  </a:lnTo>
                  <a:lnTo>
                    <a:pt x="10" y="507"/>
                  </a:lnTo>
                  <a:lnTo>
                    <a:pt x="19" y="527"/>
                  </a:lnTo>
                  <a:lnTo>
                    <a:pt x="10" y="546"/>
                  </a:lnTo>
                  <a:lnTo>
                    <a:pt x="19" y="566"/>
                  </a:lnTo>
                  <a:lnTo>
                    <a:pt x="0" y="575"/>
                  </a:lnTo>
                  <a:lnTo>
                    <a:pt x="10" y="585"/>
                  </a:lnTo>
                  <a:lnTo>
                    <a:pt x="10" y="595"/>
                  </a:lnTo>
                  <a:lnTo>
                    <a:pt x="29" y="575"/>
                  </a:lnTo>
                  <a:lnTo>
                    <a:pt x="58" y="556"/>
                  </a:lnTo>
                  <a:lnTo>
                    <a:pt x="88" y="566"/>
                  </a:lnTo>
                  <a:lnTo>
                    <a:pt x="117" y="585"/>
                  </a:lnTo>
                  <a:lnTo>
                    <a:pt x="136" y="575"/>
                  </a:lnTo>
                  <a:lnTo>
                    <a:pt x="146" y="585"/>
                  </a:lnTo>
                  <a:lnTo>
                    <a:pt x="146" y="605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05" y="614"/>
                  </a:lnTo>
                  <a:lnTo>
                    <a:pt x="224" y="595"/>
                  </a:lnTo>
                  <a:lnTo>
                    <a:pt x="224" y="556"/>
                  </a:lnTo>
                  <a:lnTo>
                    <a:pt x="234" y="546"/>
                  </a:lnTo>
                  <a:lnTo>
                    <a:pt x="253" y="556"/>
                  </a:lnTo>
                  <a:lnTo>
                    <a:pt x="263" y="546"/>
                  </a:lnTo>
                  <a:lnTo>
                    <a:pt x="273" y="556"/>
                  </a:lnTo>
                  <a:lnTo>
                    <a:pt x="292" y="546"/>
                  </a:lnTo>
                  <a:lnTo>
                    <a:pt x="322" y="575"/>
                  </a:lnTo>
                  <a:lnTo>
                    <a:pt x="312" y="585"/>
                  </a:lnTo>
                  <a:lnTo>
                    <a:pt x="322" y="605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Freeform 364"/>
            <p:cNvSpPr>
              <a:spLocks/>
            </p:cNvSpPr>
            <p:nvPr/>
          </p:nvSpPr>
          <p:spPr bwMode="auto">
            <a:xfrm>
              <a:off x="2293" y="1182"/>
              <a:ext cx="839" cy="770"/>
            </a:xfrm>
            <a:custGeom>
              <a:avLst/>
              <a:gdLst>
                <a:gd name="T0" fmla="*/ 449 w 839"/>
                <a:gd name="T1" fmla="*/ 761 h 770"/>
                <a:gd name="T2" fmla="*/ 478 w 839"/>
                <a:gd name="T3" fmla="*/ 722 h 770"/>
                <a:gd name="T4" fmla="*/ 585 w 839"/>
                <a:gd name="T5" fmla="*/ 644 h 770"/>
                <a:gd name="T6" fmla="*/ 498 w 839"/>
                <a:gd name="T7" fmla="*/ 634 h 770"/>
                <a:gd name="T8" fmla="*/ 459 w 839"/>
                <a:gd name="T9" fmla="*/ 604 h 770"/>
                <a:gd name="T10" fmla="*/ 488 w 839"/>
                <a:gd name="T11" fmla="*/ 556 h 770"/>
                <a:gd name="T12" fmla="*/ 517 w 839"/>
                <a:gd name="T13" fmla="*/ 517 h 770"/>
                <a:gd name="T14" fmla="*/ 556 w 839"/>
                <a:gd name="T15" fmla="*/ 458 h 770"/>
                <a:gd name="T16" fmla="*/ 566 w 839"/>
                <a:gd name="T17" fmla="*/ 390 h 770"/>
                <a:gd name="T18" fmla="*/ 634 w 839"/>
                <a:gd name="T19" fmla="*/ 448 h 770"/>
                <a:gd name="T20" fmla="*/ 673 w 839"/>
                <a:gd name="T21" fmla="*/ 487 h 770"/>
                <a:gd name="T22" fmla="*/ 732 w 839"/>
                <a:gd name="T23" fmla="*/ 497 h 770"/>
                <a:gd name="T24" fmla="*/ 790 w 839"/>
                <a:gd name="T25" fmla="*/ 458 h 770"/>
                <a:gd name="T26" fmla="*/ 790 w 839"/>
                <a:gd name="T27" fmla="*/ 400 h 770"/>
                <a:gd name="T28" fmla="*/ 771 w 839"/>
                <a:gd name="T29" fmla="*/ 331 h 770"/>
                <a:gd name="T30" fmla="*/ 742 w 839"/>
                <a:gd name="T31" fmla="*/ 263 h 770"/>
                <a:gd name="T32" fmla="*/ 693 w 839"/>
                <a:gd name="T33" fmla="*/ 185 h 770"/>
                <a:gd name="T34" fmla="*/ 673 w 839"/>
                <a:gd name="T35" fmla="*/ 185 h 770"/>
                <a:gd name="T36" fmla="*/ 664 w 839"/>
                <a:gd name="T37" fmla="*/ 165 h 770"/>
                <a:gd name="T38" fmla="*/ 654 w 839"/>
                <a:gd name="T39" fmla="*/ 107 h 770"/>
                <a:gd name="T40" fmla="*/ 576 w 839"/>
                <a:gd name="T41" fmla="*/ 97 h 770"/>
                <a:gd name="T42" fmla="*/ 498 w 839"/>
                <a:gd name="T43" fmla="*/ 78 h 770"/>
                <a:gd name="T44" fmla="*/ 449 w 839"/>
                <a:gd name="T45" fmla="*/ 156 h 770"/>
                <a:gd name="T46" fmla="*/ 420 w 839"/>
                <a:gd name="T47" fmla="*/ 156 h 770"/>
                <a:gd name="T48" fmla="*/ 390 w 839"/>
                <a:gd name="T49" fmla="*/ 136 h 770"/>
                <a:gd name="T50" fmla="*/ 361 w 839"/>
                <a:gd name="T51" fmla="*/ 87 h 770"/>
                <a:gd name="T52" fmla="*/ 371 w 839"/>
                <a:gd name="T53" fmla="*/ 78 h 770"/>
                <a:gd name="T54" fmla="*/ 371 w 839"/>
                <a:gd name="T55" fmla="*/ 9 h 770"/>
                <a:gd name="T56" fmla="*/ 332 w 839"/>
                <a:gd name="T57" fmla="*/ 9 h 770"/>
                <a:gd name="T58" fmla="*/ 303 w 839"/>
                <a:gd name="T59" fmla="*/ 48 h 770"/>
                <a:gd name="T60" fmla="*/ 312 w 839"/>
                <a:gd name="T61" fmla="*/ 107 h 770"/>
                <a:gd name="T62" fmla="*/ 264 w 839"/>
                <a:gd name="T63" fmla="*/ 126 h 770"/>
                <a:gd name="T64" fmla="*/ 234 w 839"/>
                <a:gd name="T65" fmla="*/ 78 h 770"/>
                <a:gd name="T66" fmla="*/ 186 w 839"/>
                <a:gd name="T67" fmla="*/ 58 h 770"/>
                <a:gd name="T68" fmla="*/ 147 w 839"/>
                <a:gd name="T69" fmla="*/ 117 h 770"/>
                <a:gd name="T70" fmla="*/ 156 w 839"/>
                <a:gd name="T71" fmla="*/ 185 h 770"/>
                <a:gd name="T72" fmla="*/ 88 w 839"/>
                <a:gd name="T73" fmla="*/ 243 h 770"/>
                <a:gd name="T74" fmla="*/ 20 w 839"/>
                <a:gd name="T75" fmla="*/ 302 h 770"/>
                <a:gd name="T76" fmla="*/ 0 w 839"/>
                <a:gd name="T77" fmla="*/ 380 h 770"/>
                <a:gd name="T78" fmla="*/ 49 w 839"/>
                <a:gd name="T79" fmla="*/ 439 h 770"/>
                <a:gd name="T80" fmla="*/ 88 w 839"/>
                <a:gd name="T81" fmla="*/ 487 h 770"/>
                <a:gd name="T82" fmla="*/ 127 w 839"/>
                <a:gd name="T83" fmla="*/ 517 h 770"/>
                <a:gd name="T84" fmla="*/ 186 w 839"/>
                <a:gd name="T85" fmla="*/ 575 h 770"/>
                <a:gd name="T86" fmla="*/ 225 w 839"/>
                <a:gd name="T87" fmla="*/ 595 h 770"/>
                <a:gd name="T88" fmla="*/ 273 w 839"/>
                <a:gd name="T89" fmla="*/ 624 h 770"/>
                <a:gd name="T90" fmla="*/ 303 w 839"/>
                <a:gd name="T91" fmla="*/ 663 h 770"/>
                <a:gd name="T92" fmla="*/ 332 w 839"/>
                <a:gd name="T93" fmla="*/ 702 h 770"/>
                <a:gd name="T94" fmla="*/ 381 w 839"/>
                <a:gd name="T95" fmla="*/ 751 h 7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39"/>
                <a:gd name="T145" fmla="*/ 0 h 770"/>
                <a:gd name="T146" fmla="*/ 839 w 839"/>
                <a:gd name="T147" fmla="*/ 770 h 7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39" h="770">
                  <a:moveTo>
                    <a:pt x="381" y="751"/>
                  </a:moveTo>
                  <a:lnTo>
                    <a:pt x="390" y="751"/>
                  </a:lnTo>
                  <a:lnTo>
                    <a:pt x="420" y="751"/>
                  </a:lnTo>
                  <a:lnTo>
                    <a:pt x="449" y="761"/>
                  </a:lnTo>
                  <a:lnTo>
                    <a:pt x="449" y="770"/>
                  </a:lnTo>
                  <a:lnTo>
                    <a:pt x="459" y="770"/>
                  </a:lnTo>
                  <a:lnTo>
                    <a:pt x="488" y="741"/>
                  </a:lnTo>
                  <a:lnTo>
                    <a:pt x="478" y="722"/>
                  </a:lnTo>
                  <a:lnTo>
                    <a:pt x="488" y="702"/>
                  </a:lnTo>
                  <a:lnTo>
                    <a:pt x="537" y="692"/>
                  </a:lnTo>
                  <a:lnTo>
                    <a:pt x="576" y="663"/>
                  </a:lnTo>
                  <a:lnTo>
                    <a:pt x="585" y="644"/>
                  </a:lnTo>
                  <a:lnTo>
                    <a:pt x="546" y="614"/>
                  </a:lnTo>
                  <a:lnTo>
                    <a:pt x="537" y="624"/>
                  </a:lnTo>
                  <a:lnTo>
                    <a:pt x="527" y="614"/>
                  </a:lnTo>
                  <a:lnTo>
                    <a:pt x="498" y="634"/>
                  </a:lnTo>
                  <a:lnTo>
                    <a:pt x="478" y="624"/>
                  </a:lnTo>
                  <a:lnTo>
                    <a:pt x="459" y="624"/>
                  </a:lnTo>
                  <a:lnTo>
                    <a:pt x="449" y="614"/>
                  </a:lnTo>
                  <a:lnTo>
                    <a:pt x="459" y="604"/>
                  </a:lnTo>
                  <a:lnTo>
                    <a:pt x="459" y="595"/>
                  </a:lnTo>
                  <a:lnTo>
                    <a:pt x="468" y="575"/>
                  </a:lnTo>
                  <a:lnTo>
                    <a:pt x="478" y="575"/>
                  </a:lnTo>
                  <a:lnTo>
                    <a:pt x="488" y="556"/>
                  </a:lnTo>
                  <a:lnTo>
                    <a:pt x="507" y="556"/>
                  </a:lnTo>
                  <a:lnTo>
                    <a:pt x="537" y="546"/>
                  </a:lnTo>
                  <a:lnTo>
                    <a:pt x="537" y="536"/>
                  </a:lnTo>
                  <a:lnTo>
                    <a:pt x="517" y="517"/>
                  </a:lnTo>
                  <a:lnTo>
                    <a:pt x="537" y="507"/>
                  </a:lnTo>
                  <a:lnTo>
                    <a:pt x="546" y="497"/>
                  </a:lnTo>
                  <a:lnTo>
                    <a:pt x="556" y="487"/>
                  </a:lnTo>
                  <a:lnTo>
                    <a:pt x="556" y="458"/>
                  </a:lnTo>
                  <a:lnTo>
                    <a:pt x="546" y="419"/>
                  </a:lnTo>
                  <a:lnTo>
                    <a:pt x="546" y="400"/>
                  </a:lnTo>
                  <a:lnTo>
                    <a:pt x="546" y="390"/>
                  </a:lnTo>
                  <a:lnTo>
                    <a:pt x="566" y="390"/>
                  </a:lnTo>
                  <a:lnTo>
                    <a:pt x="576" y="400"/>
                  </a:lnTo>
                  <a:lnTo>
                    <a:pt x="595" y="419"/>
                  </a:lnTo>
                  <a:lnTo>
                    <a:pt x="615" y="429"/>
                  </a:lnTo>
                  <a:lnTo>
                    <a:pt x="634" y="448"/>
                  </a:lnTo>
                  <a:lnTo>
                    <a:pt x="654" y="468"/>
                  </a:lnTo>
                  <a:lnTo>
                    <a:pt x="654" y="478"/>
                  </a:lnTo>
                  <a:lnTo>
                    <a:pt x="664" y="487"/>
                  </a:lnTo>
                  <a:lnTo>
                    <a:pt x="673" y="487"/>
                  </a:lnTo>
                  <a:lnTo>
                    <a:pt x="693" y="497"/>
                  </a:lnTo>
                  <a:lnTo>
                    <a:pt x="703" y="487"/>
                  </a:lnTo>
                  <a:lnTo>
                    <a:pt x="722" y="507"/>
                  </a:lnTo>
                  <a:lnTo>
                    <a:pt x="732" y="497"/>
                  </a:lnTo>
                  <a:lnTo>
                    <a:pt x="751" y="526"/>
                  </a:lnTo>
                  <a:lnTo>
                    <a:pt x="781" y="507"/>
                  </a:lnTo>
                  <a:lnTo>
                    <a:pt x="771" y="487"/>
                  </a:lnTo>
                  <a:lnTo>
                    <a:pt x="790" y="458"/>
                  </a:lnTo>
                  <a:lnTo>
                    <a:pt x="790" y="439"/>
                  </a:lnTo>
                  <a:lnTo>
                    <a:pt x="761" y="429"/>
                  </a:lnTo>
                  <a:lnTo>
                    <a:pt x="771" y="419"/>
                  </a:lnTo>
                  <a:lnTo>
                    <a:pt x="790" y="400"/>
                  </a:lnTo>
                  <a:lnTo>
                    <a:pt x="839" y="351"/>
                  </a:lnTo>
                  <a:lnTo>
                    <a:pt x="820" y="341"/>
                  </a:lnTo>
                  <a:lnTo>
                    <a:pt x="800" y="322"/>
                  </a:lnTo>
                  <a:lnTo>
                    <a:pt x="771" y="331"/>
                  </a:lnTo>
                  <a:lnTo>
                    <a:pt x="751" y="312"/>
                  </a:lnTo>
                  <a:lnTo>
                    <a:pt x="742" y="292"/>
                  </a:lnTo>
                  <a:lnTo>
                    <a:pt x="742" y="263"/>
                  </a:lnTo>
                  <a:lnTo>
                    <a:pt x="722" y="243"/>
                  </a:lnTo>
                  <a:lnTo>
                    <a:pt x="712" y="204"/>
                  </a:lnTo>
                  <a:lnTo>
                    <a:pt x="703" y="175"/>
                  </a:lnTo>
                  <a:lnTo>
                    <a:pt x="693" y="185"/>
                  </a:lnTo>
                  <a:lnTo>
                    <a:pt x="673" y="204"/>
                  </a:lnTo>
                  <a:lnTo>
                    <a:pt x="654" y="214"/>
                  </a:lnTo>
                  <a:lnTo>
                    <a:pt x="654" y="204"/>
                  </a:lnTo>
                  <a:lnTo>
                    <a:pt x="673" y="185"/>
                  </a:lnTo>
                  <a:lnTo>
                    <a:pt x="664" y="175"/>
                  </a:lnTo>
                  <a:lnTo>
                    <a:pt x="644" y="175"/>
                  </a:lnTo>
                  <a:lnTo>
                    <a:pt x="644" y="165"/>
                  </a:lnTo>
                  <a:lnTo>
                    <a:pt x="664" y="165"/>
                  </a:lnTo>
                  <a:lnTo>
                    <a:pt x="673" y="165"/>
                  </a:lnTo>
                  <a:lnTo>
                    <a:pt x="673" y="136"/>
                  </a:lnTo>
                  <a:lnTo>
                    <a:pt x="654" y="126"/>
                  </a:lnTo>
                  <a:lnTo>
                    <a:pt x="654" y="107"/>
                  </a:lnTo>
                  <a:lnTo>
                    <a:pt x="644" y="107"/>
                  </a:lnTo>
                  <a:lnTo>
                    <a:pt x="634" y="97"/>
                  </a:lnTo>
                  <a:lnTo>
                    <a:pt x="595" y="97"/>
                  </a:lnTo>
                  <a:lnTo>
                    <a:pt x="576" y="97"/>
                  </a:lnTo>
                  <a:lnTo>
                    <a:pt x="556" y="87"/>
                  </a:lnTo>
                  <a:lnTo>
                    <a:pt x="546" y="87"/>
                  </a:lnTo>
                  <a:lnTo>
                    <a:pt x="517" y="87"/>
                  </a:lnTo>
                  <a:lnTo>
                    <a:pt x="498" y="78"/>
                  </a:lnTo>
                  <a:lnTo>
                    <a:pt x="459" y="97"/>
                  </a:lnTo>
                  <a:lnTo>
                    <a:pt x="459" y="117"/>
                  </a:lnTo>
                  <a:lnTo>
                    <a:pt x="449" y="136"/>
                  </a:lnTo>
                  <a:lnTo>
                    <a:pt x="449" y="156"/>
                  </a:lnTo>
                  <a:lnTo>
                    <a:pt x="429" y="165"/>
                  </a:lnTo>
                  <a:lnTo>
                    <a:pt x="429" y="156"/>
                  </a:lnTo>
                  <a:lnTo>
                    <a:pt x="429" y="146"/>
                  </a:lnTo>
                  <a:lnTo>
                    <a:pt x="420" y="156"/>
                  </a:lnTo>
                  <a:lnTo>
                    <a:pt x="410" y="156"/>
                  </a:lnTo>
                  <a:lnTo>
                    <a:pt x="400" y="156"/>
                  </a:lnTo>
                  <a:lnTo>
                    <a:pt x="390" y="156"/>
                  </a:lnTo>
                  <a:lnTo>
                    <a:pt x="390" y="136"/>
                  </a:lnTo>
                  <a:lnTo>
                    <a:pt x="390" y="126"/>
                  </a:lnTo>
                  <a:lnTo>
                    <a:pt x="371" y="87"/>
                  </a:lnTo>
                  <a:lnTo>
                    <a:pt x="361" y="87"/>
                  </a:lnTo>
                  <a:lnTo>
                    <a:pt x="342" y="87"/>
                  </a:lnTo>
                  <a:lnTo>
                    <a:pt x="351" y="78"/>
                  </a:lnTo>
                  <a:lnTo>
                    <a:pt x="361" y="87"/>
                  </a:lnTo>
                  <a:lnTo>
                    <a:pt x="371" y="78"/>
                  </a:lnTo>
                  <a:lnTo>
                    <a:pt x="371" y="68"/>
                  </a:lnTo>
                  <a:lnTo>
                    <a:pt x="371" y="48"/>
                  </a:lnTo>
                  <a:lnTo>
                    <a:pt x="371" y="29"/>
                  </a:lnTo>
                  <a:lnTo>
                    <a:pt x="371" y="9"/>
                  </a:lnTo>
                  <a:lnTo>
                    <a:pt x="361" y="0"/>
                  </a:lnTo>
                  <a:lnTo>
                    <a:pt x="342" y="9"/>
                  </a:lnTo>
                  <a:lnTo>
                    <a:pt x="332" y="9"/>
                  </a:lnTo>
                  <a:lnTo>
                    <a:pt x="312" y="19"/>
                  </a:lnTo>
                  <a:lnTo>
                    <a:pt x="312" y="29"/>
                  </a:lnTo>
                  <a:lnTo>
                    <a:pt x="303" y="39"/>
                  </a:lnTo>
                  <a:lnTo>
                    <a:pt x="303" y="48"/>
                  </a:lnTo>
                  <a:lnTo>
                    <a:pt x="303" y="68"/>
                  </a:lnTo>
                  <a:lnTo>
                    <a:pt x="312" y="78"/>
                  </a:lnTo>
                  <a:lnTo>
                    <a:pt x="322" y="87"/>
                  </a:lnTo>
                  <a:lnTo>
                    <a:pt x="312" y="107"/>
                  </a:lnTo>
                  <a:lnTo>
                    <a:pt x="293" y="107"/>
                  </a:lnTo>
                  <a:lnTo>
                    <a:pt x="293" y="126"/>
                  </a:lnTo>
                  <a:lnTo>
                    <a:pt x="283" y="126"/>
                  </a:lnTo>
                  <a:lnTo>
                    <a:pt x="264" y="126"/>
                  </a:lnTo>
                  <a:lnTo>
                    <a:pt x="244" y="117"/>
                  </a:lnTo>
                  <a:lnTo>
                    <a:pt x="244" y="107"/>
                  </a:lnTo>
                  <a:lnTo>
                    <a:pt x="244" y="87"/>
                  </a:lnTo>
                  <a:lnTo>
                    <a:pt x="234" y="78"/>
                  </a:lnTo>
                  <a:lnTo>
                    <a:pt x="225" y="78"/>
                  </a:lnTo>
                  <a:lnTo>
                    <a:pt x="205" y="7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76" y="87"/>
                  </a:lnTo>
                  <a:lnTo>
                    <a:pt x="156" y="107"/>
                  </a:lnTo>
                  <a:lnTo>
                    <a:pt x="147" y="117"/>
                  </a:lnTo>
                  <a:lnTo>
                    <a:pt x="137" y="136"/>
                  </a:lnTo>
                  <a:lnTo>
                    <a:pt x="137" y="156"/>
                  </a:lnTo>
                  <a:lnTo>
                    <a:pt x="147" y="175"/>
                  </a:lnTo>
                  <a:lnTo>
                    <a:pt x="156" y="185"/>
                  </a:lnTo>
                  <a:lnTo>
                    <a:pt x="156" y="204"/>
                  </a:lnTo>
                  <a:lnTo>
                    <a:pt x="137" y="214"/>
                  </a:lnTo>
                  <a:lnTo>
                    <a:pt x="98" y="243"/>
                  </a:lnTo>
                  <a:lnTo>
                    <a:pt x="88" y="243"/>
                  </a:lnTo>
                  <a:lnTo>
                    <a:pt x="88" y="263"/>
                  </a:lnTo>
                  <a:lnTo>
                    <a:pt x="49" y="273"/>
                  </a:lnTo>
                  <a:lnTo>
                    <a:pt x="29" y="292"/>
                  </a:lnTo>
                  <a:lnTo>
                    <a:pt x="20" y="302"/>
                  </a:lnTo>
                  <a:lnTo>
                    <a:pt x="20" y="322"/>
                  </a:lnTo>
                  <a:lnTo>
                    <a:pt x="0" y="331"/>
                  </a:lnTo>
                  <a:lnTo>
                    <a:pt x="0" y="361"/>
                  </a:lnTo>
                  <a:lnTo>
                    <a:pt x="0" y="380"/>
                  </a:lnTo>
                  <a:lnTo>
                    <a:pt x="10" y="400"/>
                  </a:lnTo>
                  <a:lnTo>
                    <a:pt x="20" y="409"/>
                  </a:lnTo>
                  <a:lnTo>
                    <a:pt x="29" y="439"/>
                  </a:lnTo>
                  <a:lnTo>
                    <a:pt x="49" y="439"/>
                  </a:lnTo>
                  <a:lnTo>
                    <a:pt x="59" y="448"/>
                  </a:lnTo>
                  <a:lnTo>
                    <a:pt x="69" y="458"/>
                  </a:lnTo>
                  <a:lnTo>
                    <a:pt x="78" y="487"/>
                  </a:lnTo>
                  <a:lnTo>
                    <a:pt x="88" y="487"/>
                  </a:lnTo>
                  <a:lnTo>
                    <a:pt x="108" y="487"/>
                  </a:lnTo>
                  <a:lnTo>
                    <a:pt x="127" y="497"/>
                  </a:lnTo>
                  <a:lnTo>
                    <a:pt x="137" y="507"/>
                  </a:lnTo>
                  <a:lnTo>
                    <a:pt x="127" y="517"/>
                  </a:lnTo>
                  <a:lnTo>
                    <a:pt x="137" y="526"/>
                  </a:lnTo>
                  <a:lnTo>
                    <a:pt x="147" y="536"/>
                  </a:lnTo>
                  <a:lnTo>
                    <a:pt x="156" y="556"/>
                  </a:lnTo>
                  <a:lnTo>
                    <a:pt x="186" y="575"/>
                  </a:lnTo>
                  <a:lnTo>
                    <a:pt x="205" y="575"/>
                  </a:lnTo>
                  <a:lnTo>
                    <a:pt x="215" y="575"/>
                  </a:lnTo>
                  <a:lnTo>
                    <a:pt x="234" y="585"/>
                  </a:lnTo>
                  <a:lnTo>
                    <a:pt x="225" y="595"/>
                  </a:lnTo>
                  <a:lnTo>
                    <a:pt x="234" y="604"/>
                  </a:lnTo>
                  <a:lnTo>
                    <a:pt x="244" y="624"/>
                  </a:lnTo>
                  <a:lnTo>
                    <a:pt x="254" y="634"/>
                  </a:lnTo>
                  <a:lnTo>
                    <a:pt x="273" y="624"/>
                  </a:lnTo>
                  <a:lnTo>
                    <a:pt x="293" y="614"/>
                  </a:lnTo>
                  <a:lnTo>
                    <a:pt x="303" y="634"/>
                  </a:lnTo>
                  <a:lnTo>
                    <a:pt x="293" y="644"/>
                  </a:lnTo>
                  <a:lnTo>
                    <a:pt x="303" y="663"/>
                  </a:lnTo>
                  <a:lnTo>
                    <a:pt x="312" y="673"/>
                  </a:lnTo>
                  <a:lnTo>
                    <a:pt x="322" y="673"/>
                  </a:lnTo>
                  <a:lnTo>
                    <a:pt x="332" y="683"/>
                  </a:lnTo>
                  <a:lnTo>
                    <a:pt x="332" y="702"/>
                  </a:lnTo>
                  <a:lnTo>
                    <a:pt x="351" y="692"/>
                  </a:lnTo>
                  <a:lnTo>
                    <a:pt x="381" y="722"/>
                  </a:lnTo>
                  <a:lnTo>
                    <a:pt x="351" y="741"/>
                  </a:lnTo>
                  <a:lnTo>
                    <a:pt x="381" y="751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" name="Freeform 363"/>
            <p:cNvSpPr>
              <a:spLocks/>
            </p:cNvSpPr>
            <p:nvPr/>
          </p:nvSpPr>
          <p:spPr bwMode="auto">
            <a:xfrm>
              <a:off x="1199" y="1911"/>
              <a:ext cx="253" cy="276"/>
            </a:xfrm>
            <a:custGeom>
              <a:avLst/>
              <a:gdLst>
                <a:gd name="T0" fmla="*/ 195 w 253"/>
                <a:gd name="T1" fmla="*/ 264 h 274"/>
                <a:gd name="T2" fmla="*/ 175 w 253"/>
                <a:gd name="T3" fmla="*/ 254 h 274"/>
                <a:gd name="T4" fmla="*/ 156 w 253"/>
                <a:gd name="T5" fmla="*/ 225 h 274"/>
                <a:gd name="T6" fmla="*/ 136 w 253"/>
                <a:gd name="T7" fmla="*/ 205 h 274"/>
                <a:gd name="T8" fmla="*/ 117 w 253"/>
                <a:gd name="T9" fmla="*/ 205 h 274"/>
                <a:gd name="T10" fmla="*/ 97 w 253"/>
                <a:gd name="T11" fmla="*/ 186 h 274"/>
                <a:gd name="T12" fmla="*/ 68 w 253"/>
                <a:gd name="T13" fmla="*/ 176 h 274"/>
                <a:gd name="T14" fmla="*/ 68 w 253"/>
                <a:gd name="T15" fmla="*/ 156 h 274"/>
                <a:gd name="T16" fmla="*/ 58 w 253"/>
                <a:gd name="T17" fmla="*/ 156 h 274"/>
                <a:gd name="T18" fmla="*/ 39 w 253"/>
                <a:gd name="T19" fmla="*/ 156 h 274"/>
                <a:gd name="T20" fmla="*/ 29 w 253"/>
                <a:gd name="T21" fmla="*/ 137 h 274"/>
                <a:gd name="T22" fmla="*/ 29 w 253"/>
                <a:gd name="T23" fmla="*/ 137 h 274"/>
                <a:gd name="T24" fmla="*/ 19 w 253"/>
                <a:gd name="T25" fmla="*/ 127 h 274"/>
                <a:gd name="T26" fmla="*/ 19 w 253"/>
                <a:gd name="T27" fmla="*/ 117 h 274"/>
                <a:gd name="T28" fmla="*/ 29 w 253"/>
                <a:gd name="T29" fmla="*/ 117 h 274"/>
                <a:gd name="T30" fmla="*/ 29 w 253"/>
                <a:gd name="T31" fmla="*/ 98 h 274"/>
                <a:gd name="T32" fmla="*/ 29 w 253"/>
                <a:gd name="T33" fmla="*/ 88 h 274"/>
                <a:gd name="T34" fmla="*/ 19 w 253"/>
                <a:gd name="T35" fmla="*/ 78 h 274"/>
                <a:gd name="T36" fmla="*/ 19 w 253"/>
                <a:gd name="T37" fmla="*/ 69 h 274"/>
                <a:gd name="T38" fmla="*/ 10 w 253"/>
                <a:gd name="T39" fmla="*/ 59 h 274"/>
                <a:gd name="T40" fmla="*/ 0 w 253"/>
                <a:gd name="T41" fmla="*/ 39 h 274"/>
                <a:gd name="T42" fmla="*/ 0 w 253"/>
                <a:gd name="T43" fmla="*/ 39 h 274"/>
                <a:gd name="T44" fmla="*/ 10 w 253"/>
                <a:gd name="T45" fmla="*/ 39 h 274"/>
                <a:gd name="T46" fmla="*/ 19 w 253"/>
                <a:gd name="T47" fmla="*/ 39 h 274"/>
                <a:gd name="T48" fmla="*/ 29 w 253"/>
                <a:gd name="T49" fmla="*/ 30 h 274"/>
                <a:gd name="T50" fmla="*/ 39 w 253"/>
                <a:gd name="T51" fmla="*/ 20 h 274"/>
                <a:gd name="T52" fmla="*/ 49 w 253"/>
                <a:gd name="T53" fmla="*/ 30 h 274"/>
                <a:gd name="T54" fmla="*/ 58 w 253"/>
                <a:gd name="T55" fmla="*/ 39 h 274"/>
                <a:gd name="T56" fmla="*/ 68 w 253"/>
                <a:gd name="T57" fmla="*/ 30 h 274"/>
                <a:gd name="T58" fmla="*/ 68 w 253"/>
                <a:gd name="T59" fmla="*/ 10 h 274"/>
                <a:gd name="T60" fmla="*/ 68 w 253"/>
                <a:gd name="T61" fmla="*/ 0 h 274"/>
                <a:gd name="T62" fmla="*/ 107 w 253"/>
                <a:gd name="T63" fmla="*/ 10 h 274"/>
                <a:gd name="T64" fmla="*/ 117 w 253"/>
                <a:gd name="T65" fmla="*/ 10 h 274"/>
                <a:gd name="T66" fmla="*/ 127 w 253"/>
                <a:gd name="T67" fmla="*/ 10 h 274"/>
                <a:gd name="T68" fmla="*/ 136 w 253"/>
                <a:gd name="T69" fmla="*/ 10 h 274"/>
                <a:gd name="T70" fmla="*/ 136 w 253"/>
                <a:gd name="T71" fmla="*/ 10 h 274"/>
                <a:gd name="T72" fmla="*/ 156 w 253"/>
                <a:gd name="T73" fmla="*/ 30 h 274"/>
                <a:gd name="T74" fmla="*/ 175 w 253"/>
                <a:gd name="T75" fmla="*/ 39 h 274"/>
                <a:gd name="T76" fmla="*/ 166 w 253"/>
                <a:gd name="T77" fmla="*/ 49 h 274"/>
                <a:gd name="T78" fmla="*/ 156 w 253"/>
                <a:gd name="T79" fmla="*/ 59 h 274"/>
                <a:gd name="T80" fmla="*/ 156 w 253"/>
                <a:gd name="T81" fmla="*/ 59 h 274"/>
                <a:gd name="T82" fmla="*/ 175 w 253"/>
                <a:gd name="T83" fmla="*/ 69 h 274"/>
                <a:gd name="T84" fmla="*/ 195 w 253"/>
                <a:gd name="T85" fmla="*/ 78 h 274"/>
                <a:gd name="T86" fmla="*/ 195 w 253"/>
                <a:gd name="T87" fmla="*/ 108 h 274"/>
                <a:gd name="T88" fmla="*/ 205 w 253"/>
                <a:gd name="T89" fmla="*/ 127 h 274"/>
                <a:gd name="T90" fmla="*/ 205 w 253"/>
                <a:gd name="T91" fmla="*/ 156 h 274"/>
                <a:gd name="T92" fmla="*/ 205 w 253"/>
                <a:gd name="T93" fmla="*/ 176 h 274"/>
                <a:gd name="T94" fmla="*/ 205 w 253"/>
                <a:gd name="T95" fmla="*/ 156 h 274"/>
                <a:gd name="T96" fmla="*/ 205 w 253"/>
                <a:gd name="T97" fmla="*/ 176 h 274"/>
                <a:gd name="T98" fmla="*/ 224 w 253"/>
                <a:gd name="T99" fmla="*/ 186 h 274"/>
                <a:gd name="T100" fmla="*/ 224 w 253"/>
                <a:gd name="T101" fmla="*/ 205 h 274"/>
                <a:gd name="T102" fmla="*/ 224 w 253"/>
                <a:gd name="T103" fmla="*/ 205 h 274"/>
                <a:gd name="T104" fmla="*/ 253 w 253"/>
                <a:gd name="T105" fmla="*/ 215 h 274"/>
                <a:gd name="T106" fmla="*/ 253 w 253"/>
                <a:gd name="T107" fmla="*/ 225 h 274"/>
                <a:gd name="T108" fmla="*/ 244 w 253"/>
                <a:gd name="T109" fmla="*/ 234 h 274"/>
                <a:gd name="T110" fmla="*/ 244 w 253"/>
                <a:gd name="T111" fmla="*/ 254 h 274"/>
                <a:gd name="T112" fmla="*/ 234 w 253"/>
                <a:gd name="T113" fmla="*/ 244 h 274"/>
                <a:gd name="T114" fmla="*/ 224 w 253"/>
                <a:gd name="T115" fmla="*/ 234 h 274"/>
                <a:gd name="T116" fmla="*/ 214 w 253"/>
                <a:gd name="T117" fmla="*/ 244 h 274"/>
                <a:gd name="T118" fmla="*/ 205 w 253"/>
                <a:gd name="T119" fmla="*/ 264 h 274"/>
                <a:gd name="T120" fmla="*/ 195 w 253"/>
                <a:gd name="T121" fmla="*/ 274 h 274"/>
                <a:gd name="T122" fmla="*/ 195 w 253"/>
                <a:gd name="T123" fmla="*/ 264 h 27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3"/>
                <a:gd name="T187" fmla="*/ 0 h 274"/>
                <a:gd name="T188" fmla="*/ 253 w 253"/>
                <a:gd name="T189" fmla="*/ 274 h 27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3" h="274">
                  <a:moveTo>
                    <a:pt x="195" y="264"/>
                  </a:moveTo>
                  <a:lnTo>
                    <a:pt x="175" y="254"/>
                  </a:lnTo>
                  <a:lnTo>
                    <a:pt x="156" y="225"/>
                  </a:lnTo>
                  <a:lnTo>
                    <a:pt x="136" y="205"/>
                  </a:lnTo>
                  <a:lnTo>
                    <a:pt x="117" y="205"/>
                  </a:lnTo>
                  <a:lnTo>
                    <a:pt x="97" y="186"/>
                  </a:lnTo>
                  <a:lnTo>
                    <a:pt x="68" y="17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39" y="156"/>
                  </a:lnTo>
                  <a:lnTo>
                    <a:pt x="29" y="13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29" y="117"/>
                  </a:lnTo>
                  <a:lnTo>
                    <a:pt x="29" y="98"/>
                  </a:lnTo>
                  <a:lnTo>
                    <a:pt x="29" y="88"/>
                  </a:lnTo>
                  <a:lnTo>
                    <a:pt x="19" y="78"/>
                  </a:lnTo>
                  <a:lnTo>
                    <a:pt x="19" y="69"/>
                  </a:lnTo>
                  <a:lnTo>
                    <a:pt x="1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19" y="39"/>
                  </a:lnTo>
                  <a:lnTo>
                    <a:pt x="29" y="30"/>
                  </a:lnTo>
                  <a:lnTo>
                    <a:pt x="39" y="20"/>
                  </a:lnTo>
                  <a:lnTo>
                    <a:pt x="49" y="30"/>
                  </a:lnTo>
                  <a:lnTo>
                    <a:pt x="58" y="39"/>
                  </a:lnTo>
                  <a:lnTo>
                    <a:pt x="68" y="30"/>
                  </a:lnTo>
                  <a:lnTo>
                    <a:pt x="68" y="10"/>
                  </a:lnTo>
                  <a:lnTo>
                    <a:pt x="68" y="0"/>
                  </a:lnTo>
                  <a:lnTo>
                    <a:pt x="107" y="10"/>
                  </a:lnTo>
                  <a:lnTo>
                    <a:pt x="117" y="10"/>
                  </a:lnTo>
                  <a:lnTo>
                    <a:pt x="127" y="10"/>
                  </a:lnTo>
                  <a:lnTo>
                    <a:pt x="136" y="10"/>
                  </a:lnTo>
                  <a:lnTo>
                    <a:pt x="156" y="3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56" y="59"/>
                  </a:lnTo>
                  <a:lnTo>
                    <a:pt x="175" y="69"/>
                  </a:lnTo>
                  <a:lnTo>
                    <a:pt x="195" y="78"/>
                  </a:lnTo>
                  <a:lnTo>
                    <a:pt x="195" y="108"/>
                  </a:lnTo>
                  <a:lnTo>
                    <a:pt x="205" y="127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24" y="186"/>
                  </a:lnTo>
                  <a:lnTo>
                    <a:pt x="224" y="205"/>
                  </a:lnTo>
                  <a:lnTo>
                    <a:pt x="253" y="215"/>
                  </a:lnTo>
                  <a:lnTo>
                    <a:pt x="253" y="225"/>
                  </a:lnTo>
                  <a:lnTo>
                    <a:pt x="244" y="234"/>
                  </a:lnTo>
                  <a:lnTo>
                    <a:pt x="244" y="254"/>
                  </a:lnTo>
                  <a:lnTo>
                    <a:pt x="234" y="244"/>
                  </a:lnTo>
                  <a:lnTo>
                    <a:pt x="224" y="234"/>
                  </a:lnTo>
                  <a:lnTo>
                    <a:pt x="214" y="24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95" y="26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Freeform 362"/>
            <p:cNvSpPr>
              <a:spLocks/>
            </p:cNvSpPr>
            <p:nvPr/>
          </p:nvSpPr>
          <p:spPr bwMode="auto">
            <a:xfrm>
              <a:off x="1171" y="2050"/>
              <a:ext cx="225" cy="290"/>
            </a:xfrm>
            <a:custGeom>
              <a:avLst/>
              <a:gdLst>
                <a:gd name="T0" fmla="*/ 137 w 225"/>
                <a:gd name="T1" fmla="*/ 283 h 293"/>
                <a:gd name="T2" fmla="*/ 147 w 225"/>
                <a:gd name="T3" fmla="*/ 263 h 293"/>
                <a:gd name="T4" fmla="*/ 166 w 225"/>
                <a:gd name="T5" fmla="*/ 244 h 293"/>
                <a:gd name="T6" fmla="*/ 186 w 225"/>
                <a:gd name="T7" fmla="*/ 244 h 293"/>
                <a:gd name="T8" fmla="*/ 186 w 225"/>
                <a:gd name="T9" fmla="*/ 224 h 293"/>
                <a:gd name="T10" fmla="*/ 186 w 225"/>
                <a:gd name="T11" fmla="*/ 215 h 293"/>
                <a:gd name="T12" fmla="*/ 186 w 225"/>
                <a:gd name="T13" fmla="*/ 205 h 293"/>
                <a:gd name="T14" fmla="*/ 186 w 225"/>
                <a:gd name="T15" fmla="*/ 205 h 293"/>
                <a:gd name="T16" fmla="*/ 196 w 225"/>
                <a:gd name="T17" fmla="*/ 205 h 293"/>
                <a:gd name="T18" fmla="*/ 205 w 225"/>
                <a:gd name="T19" fmla="*/ 195 h 293"/>
                <a:gd name="T20" fmla="*/ 215 w 225"/>
                <a:gd name="T21" fmla="*/ 185 h 293"/>
                <a:gd name="T22" fmla="*/ 215 w 225"/>
                <a:gd name="T23" fmla="*/ 176 h 293"/>
                <a:gd name="T24" fmla="*/ 205 w 225"/>
                <a:gd name="T25" fmla="*/ 166 h 293"/>
                <a:gd name="T26" fmla="*/ 215 w 225"/>
                <a:gd name="T27" fmla="*/ 156 h 293"/>
                <a:gd name="T28" fmla="*/ 225 w 225"/>
                <a:gd name="T29" fmla="*/ 156 h 293"/>
                <a:gd name="T30" fmla="*/ 225 w 225"/>
                <a:gd name="T31" fmla="*/ 137 h 293"/>
                <a:gd name="T32" fmla="*/ 225 w 225"/>
                <a:gd name="T33" fmla="*/ 127 h 293"/>
                <a:gd name="T34" fmla="*/ 215 w 225"/>
                <a:gd name="T35" fmla="*/ 117 h 293"/>
                <a:gd name="T36" fmla="*/ 186 w 225"/>
                <a:gd name="T37" fmla="*/ 88 h 293"/>
                <a:gd name="T38" fmla="*/ 166 w 225"/>
                <a:gd name="T39" fmla="*/ 78 h 293"/>
                <a:gd name="T40" fmla="*/ 147 w 225"/>
                <a:gd name="T41" fmla="*/ 68 h 293"/>
                <a:gd name="T42" fmla="*/ 127 w 225"/>
                <a:gd name="T43" fmla="*/ 58 h 293"/>
                <a:gd name="T44" fmla="*/ 108 w 225"/>
                <a:gd name="T45" fmla="*/ 39 h 293"/>
                <a:gd name="T46" fmla="*/ 98 w 225"/>
                <a:gd name="T47" fmla="*/ 19 h 293"/>
                <a:gd name="T48" fmla="*/ 88 w 225"/>
                <a:gd name="T49" fmla="*/ 19 h 293"/>
                <a:gd name="T50" fmla="*/ 79 w 225"/>
                <a:gd name="T51" fmla="*/ 19 h 293"/>
                <a:gd name="T52" fmla="*/ 69 w 225"/>
                <a:gd name="T53" fmla="*/ 0 h 293"/>
                <a:gd name="T54" fmla="*/ 59 w 225"/>
                <a:gd name="T55" fmla="*/ 0 h 293"/>
                <a:gd name="T56" fmla="*/ 49 w 225"/>
                <a:gd name="T57" fmla="*/ 0 h 293"/>
                <a:gd name="T58" fmla="*/ 40 w 225"/>
                <a:gd name="T59" fmla="*/ 10 h 293"/>
                <a:gd name="T60" fmla="*/ 40 w 225"/>
                <a:gd name="T61" fmla="*/ 19 h 293"/>
                <a:gd name="T62" fmla="*/ 10 w 225"/>
                <a:gd name="T63" fmla="*/ 19 h 293"/>
                <a:gd name="T64" fmla="*/ 0 w 225"/>
                <a:gd name="T65" fmla="*/ 49 h 293"/>
                <a:gd name="T66" fmla="*/ 0 w 225"/>
                <a:gd name="T67" fmla="*/ 58 h 293"/>
                <a:gd name="T68" fmla="*/ 20 w 225"/>
                <a:gd name="T69" fmla="*/ 58 h 293"/>
                <a:gd name="T70" fmla="*/ 30 w 225"/>
                <a:gd name="T71" fmla="*/ 68 h 293"/>
                <a:gd name="T72" fmla="*/ 30 w 225"/>
                <a:gd name="T73" fmla="*/ 88 h 293"/>
                <a:gd name="T74" fmla="*/ 30 w 225"/>
                <a:gd name="T75" fmla="*/ 117 h 293"/>
                <a:gd name="T76" fmla="*/ 49 w 225"/>
                <a:gd name="T77" fmla="*/ 127 h 293"/>
                <a:gd name="T78" fmla="*/ 59 w 225"/>
                <a:gd name="T79" fmla="*/ 127 h 293"/>
                <a:gd name="T80" fmla="*/ 79 w 225"/>
                <a:gd name="T81" fmla="*/ 146 h 293"/>
                <a:gd name="T82" fmla="*/ 88 w 225"/>
                <a:gd name="T83" fmla="*/ 146 h 293"/>
                <a:gd name="T84" fmla="*/ 88 w 225"/>
                <a:gd name="T85" fmla="*/ 156 h 293"/>
                <a:gd name="T86" fmla="*/ 79 w 225"/>
                <a:gd name="T87" fmla="*/ 166 h 293"/>
                <a:gd name="T88" fmla="*/ 79 w 225"/>
                <a:gd name="T89" fmla="*/ 185 h 293"/>
                <a:gd name="T90" fmla="*/ 69 w 225"/>
                <a:gd name="T91" fmla="*/ 205 h 293"/>
                <a:gd name="T92" fmla="*/ 79 w 225"/>
                <a:gd name="T93" fmla="*/ 224 h 293"/>
                <a:gd name="T94" fmla="*/ 88 w 225"/>
                <a:gd name="T95" fmla="*/ 234 h 293"/>
                <a:gd name="T96" fmla="*/ 98 w 225"/>
                <a:gd name="T97" fmla="*/ 224 h 293"/>
                <a:gd name="T98" fmla="*/ 98 w 225"/>
                <a:gd name="T99" fmla="*/ 234 h 293"/>
                <a:gd name="T100" fmla="*/ 108 w 225"/>
                <a:gd name="T101" fmla="*/ 254 h 293"/>
                <a:gd name="T102" fmla="*/ 108 w 225"/>
                <a:gd name="T103" fmla="*/ 283 h 293"/>
                <a:gd name="T104" fmla="*/ 108 w 225"/>
                <a:gd name="T105" fmla="*/ 293 h 293"/>
                <a:gd name="T106" fmla="*/ 127 w 225"/>
                <a:gd name="T107" fmla="*/ 283 h 293"/>
                <a:gd name="T108" fmla="*/ 137 w 225"/>
                <a:gd name="T109" fmla="*/ 283 h 29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5"/>
                <a:gd name="T166" fmla="*/ 0 h 293"/>
                <a:gd name="T167" fmla="*/ 225 w 225"/>
                <a:gd name="T168" fmla="*/ 293 h 29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5" h="293">
                  <a:moveTo>
                    <a:pt x="137" y="283"/>
                  </a:moveTo>
                  <a:lnTo>
                    <a:pt x="147" y="263"/>
                  </a:lnTo>
                  <a:lnTo>
                    <a:pt x="166" y="244"/>
                  </a:lnTo>
                  <a:lnTo>
                    <a:pt x="186" y="244"/>
                  </a:lnTo>
                  <a:lnTo>
                    <a:pt x="186" y="224"/>
                  </a:lnTo>
                  <a:lnTo>
                    <a:pt x="186" y="215"/>
                  </a:lnTo>
                  <a:lnTo>
                    <a:pt x="186" y="205"/>
                  </a:lnTo>
                  <a:lnTo>
                    <a:pt x="196" y="205"/>
                  </a:lnTo>
                  <a:lnTo>
                    <a:pt x="205" y="195"/>
                  </a:lnTo>
                  <a:lnTo>
                    <a:pt x="215" y="185"/>
                  </a:lnTo>
                  <a:lnTo>
                    <a:pt x="215" y="176"/>
                  </a:lnTo>
                  <a:lnTo>
                    <a:pt x="205" y="166"/>
                  </a:lnTo>
                  <a:lnTo>
                    <a:pt x="215" y="156"/>
                  </a:lnTo>
                  <a:lnTo>
                    <a:pt x="225" y="156"/>
                  </a:lnTo>
                  <a:lnTo>
                    <a:pt x="225" y="137"/>
                  </a:lnTo>
                  <a:lnTo>
                    <a:pt x="225" y="127"/>
                  </a:lnTo>
                  <a:lnTo>
                    <a:pt x="215" y="117"/>
                  </a:lnTo>
                  <a:lnTo>
                    <a:pt x="186" y="88"/>
                  </a:lnTo>
                  <a:lnTo>
                    <a:pt x="166" y="78"/>
                  </a:lnTo>
                  <a:lnTo>
                    <a:pt x="147" y="68"/>
                  </a:lnTo>
                  <a:lnTo>
                    <a:pt x="127" y="58"/>
                  </a:lnTo>
                  <a:lnTo>
                    <a:pt x="108" y="39"/>
                  </a:lnTo>
                  <a:lnTo>
                    <a:pt x="98" y="19"/>
                  </a:lnTo>
                  <a:lnTo>
                    <a:pt x="88" y="19"/>
                  </a:lnTo>
                  <a:lnTo>
                    <a:pt x="79" y="19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0"/>
                  </a:lnTo>
                  <a:lnTo>
                    <a:pt x="40" y="10"/>
                  </a:lnTo>
                  <a:lnTo>
                    <a:pt x="40" y="19"/>
                  </a:lnTo>
                  <a:lnTo>
                    <a:pt x="10" y="19"/>
                  </a:lnTo>
                  <a:lnTo>
                    <a:pt x="0" y="49"/>
                  </a:lnTo>
                  <a:lnTo>
                    <a:pt x="0" y="58"/>
                  </a:lnTo>
                  <a:lnTo>
                    <a:pt x="20" y="58"/>
                  </a:lnTo>
                  <a:lnTo>
                    <a:pt x="30" y="68"/>
                  </a:lnTo>
                  <a:lnTo>
                    <a:pt x="30" y="88"/>
                  </a:lnTo>
                  <a:lnTo>
                    <a:pt x="30" y="117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79" y="146"/>
                  </a:lnTo>
                  <a:lnTo>
                    <a:pt x="88" y="146"/>
                  </a:lnTo>
                  <a:lnTo>
                    <a:pt x="88" y="156"/>
                  </a:lnTo>
                  <a:lnTo>
                    <a:pt x="79" y="166"/>
                  </a:lnTo>
                  <a:lnTo>
                    <a:pt x="79" y="185"/>
                  </a:lnTo>
                  <a:lnTo>
                    <a:pt x="69" y="205"/>
                  </a:lnTo>
                  <a:lnTo>
                    <a:pt x="79" y="224"/>
                  </a:lnTo>
                  <a:lnTo>
                    <a:pt x="88" y="234"/>
                  </a:lnTo>
                  <a:lnTo>
                    <a:pt x="98" y="224"/>
                  </a:lnTo>
                  <a:lnTo>
                    <a:pt x="98" y="234"/>
                  </a:lnTo>
                  <a:lnTo>
                    <a:pt x="108" y="25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83"/>
                  </a:lnTo>
                  <a:lnTo>
                    <a:pt x="137" y="28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Freeform 361"/>
            <p:cNvSpPr>
              <a:spLocks/>
            </p:cNvSpPr>
            <p:nvPr/>
          </p:nvSpPr>
          <p:spPr bwMode="auto">
            <a:xfrm>
              <a:off x="1328" y="1865"/>
              <a:ext cx="203" cy="232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5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8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175 w 204"/>
                <a:gd name="T99" fmla="*/ 78 h 23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4"/>
                <a:gd name="T151" fmla="*/ 0 h 234"/>
                <a:gd name="T152" fmla="*/ 204 w 204"/>
                <a:gd name="T153" fmla="*/ 234 h 23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8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  <a:lnTo>
                    <a:pt x="175" y="7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Freeform 360"/>
            <p:cNvSpPr>
              <a:spLocks/>
            </p:cNvSpPr>
            <p:nvPr/>
          </p:nvSpPr>
          <p:spPr bwMode="auto">
            <a:xfrm>
              <a:off x="1328" y="1865"/>
              <a:ext cx="203" cy="232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4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9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4"/>
                <a:gd name="T148" fmla="*/ 0 h 234"/>
                <a:gd name="T149" fmla="*/ 204 w 204"/>
                <a:gd name="T150" fmla="*/ 234 h 2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48" y="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9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</a:path>
              </a:pathLst>
            </a:custGeom>
            <a:noFill/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8" name="Freeform 359"/>
            <p:cNvSpPr>
              <a:spLocks/>
            </p:cNvSpPr>
            <p:nvPr/>
          </p:nvSpPr>
          <p:spPr bwMode="auto">
            <a:xfrm>
              <a:off x="1491" y="1865"/>
              <a:ext cx="205" cy="215"/>
            </a:xfrm>
            <a:custGeom>
              <a:avLst/>
              <a:gdLst>
                <a:gd name="T0" fmla="*/ 137 w 205"/>
                <a:gd name="T1" fmla="*/ 204 h 214"/>
                <a:gd name="T2" fmla="*/ 117 w 205"/>
                <a:gd name="T3" fmla="*/ 204 h 214"/>
                <a:gd name="T4" fmla="*/ 88 w 205"/>
                <a:gd name="T5" fmla="*/ 204 h 214"/>
                <a:gd name="T6" fmla="*/ 78 w 205"/>
                <a:gd name="T7" fmla="*/ 214 h 214"/>
                <a:gd name="T8" fmla="*/ 69 w 205"/>
                <a:gd name="T9" fmla="*/ 214 h 214"/>
                <a:gd name="T10" fmla="*/ 49 w 205"/>
                <a:gd name="T11" fmla="*/ 204 h 214"/>
                <a:gd name="T12" fmla="*/ 49 w 205"/>
                <a:gd name="T13" fmla="*/ 195 h 214"/>
                <a:gd name="T14" fmla="*/ 39 w 205"/>
                <a:gd name="T15" fmla="*/ 175 h 214"/>
                <a:gd name="T16" fmla="*/ 30 w 205"/>
                <a:gd name="T17" fmla="*/ 156 h 214"/>
                <a:gd name="T18" fmla="*/ 30 w 205"/>
                <a:gd name="T19" fmla="*/ 146 h 214"/>
                <a:gd name="T20" fmla="*/ 30 w 205"/>
                <a:gd name="T21" fmla="*/ 136 h 214"/>
                <a:gd name="T22" fmla="*/ 10 w 205"/>
                <a:gd name="T23" fmla="*/ 117 h 214"/>
                <a:gd name="T24" fmla="*/ 0 w 205"/>
                <a:gd name="T25" fmla="*/ 97 h 214"/>
                <a:gd name="T26" fmla="*/ 10 w 205"/>
                <a:gd name="T27" fmla="*/ 78 h 214"/>
                <a:gd name="T28" fmla="*/ 10 w 205"/>
                <a:gd name="T29" fmla="*/ 58 h 214"/>
                <a:gd name="T30" fmla="*/ 10 w 205"/>
                <a:gd name="T31" fmla="*/ 48 h 214"/>
                <a:gd name="T32" fmla="*/ 10 w 205"/>
                <a:gd name="T33" fmla="*/ 39 h 214"/>
                <a:gd name="T34" fmla="*/ 20 w 205"/>
                <a:gd name="T35" fmla="*/ 39 h 214"/>
                <a:gd name="T36" fmla="*/ 30 w 205"/>
                <a:gd name="T37" fmla="*/ 29 h 214"/>
                <a:gd name="T38" fmla="*/ 49 w 205"/>
                <a:gd name="T39" fmla="*/ 29 h 214"/>
                <a:gd name="T40" fmla="*/ 69 w 205"/>
                <a:gd name="T41" fmla="*/ 29 h 214"/>
                <a:gd name="T42" fmla="*/ 69 w 205"/>
                <a:gd name="T43" fmla="*/ 9 h 214"/>
                <a:gd name="T44" fmla="*/ 78 w 205"/>
                <a:gd name="T45" fmla="*/ 0 h 214"/>
                <a:gd name="T46" fmla="*/ 78 w 205"/>
                <a:gd name="T47" fmla="*/ 9 h 214"/>
                <a:gd name="T48" fmla="*/ 98 w 205"/>
                <a:gd name="T49" fmla="*/ 29 h 214"/>
                <a:gd name="T50" fmla="*/ 108 w 205"/>
                <a:gd name="T51" fmla="*/ 39 h 214"/>
                <a:gd name="T52" fmla="*/ 137 w 205"/>
                <a:gd name="T53" fmla="*/ 39 h 214"/>
                <a:gd name="T54" fmla="*/ 166 w 205"/>
                <a:gd name="T55" fmla="*/ 39 h 214"/>
                <a:gd name="T56" fmla="*/ 176 w 205"/>
                <a:gd name="T57" fmla="*/ 39 h 214"/>
                <a:gd name="T58" fmla="*/ 176 w 205"/>
                <a:gd name="T59" fmla="*/ 48 h 214"/>
                <a:gd name="T60" fmla="*/ 176 w 205"/>
                <a:gd name="T61" fmla="*/ 58 h 214"/>
                <a:gd name="T62" fmla="*/ 195 w 205"/>
                <a:gd name="T63" fmla="*/ 58 h 214"/>
                <a:gd name="T64" fmla="*/ 205 w 205"/>
                <a:gd name="T65" fmla="*/ 58 h 214"/>
                <a:gd name="T66" fmla="*/ 195 w 205"/>
                <a:gd name="T67" fmla="*/ 68 h 214"/>
                <a:gd name="T68" fmla="*/ 205 w 205"/>
                <a:gd name="T69" fmla="*/ 87 h 214"/>
                <a:gd name="T70" fmla="*/ 195 w 205"/>
                <a:gd name="T71" fmla="*/ 97 h 214"/>
                <a:gd name="T72" fmla="*/ 186 w 205"/>
                <a:gd name="T73" fmla="*/ 107 h 214"/>
                <a:gd name="T74" fmla="*/ 186 w 205"/>
                <a:gd name="T75" fmla="*/ 117 h 214"/>
                <a:gd name="T76" fmla="*/ 186 w 205"/>
                <a:gd name="T77" fmla="*/ 136 h 214"/>
                <a:gd name="T78" fmla="*/ 186 w 205"/>
                <a:gd name="T79" fmla="*/ 146 h 214"/>
                <a:gd name="T80" fmla="*/ 176 w 205"/>
                <a:gd name="T81" fmla="*/ 156 h 214"/>
                <a:gd name="T82" fmla="*/ 156 w 205"/>
                <a:gd name="T83" fmla="*/ 175 h 214"/>
                <a:gd name="T84" fmla="*/ 137 w 205"/>
                <a:gd name="T85" fmla="*/ 204 h 21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5"/>
                <a:gd name="T130" fmla="*/ 0 h 214"/>
                <a:gd name="T131" fmla="*/ 205 w 205"/>
                <a:gd name="T132" fmla="*/ 214 h 21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5" h="214">
                  <a:moveTo>
                    <a:pt x="137" y="204"/>
                  </a:moveTo>
                  <a:lnTo>
                    <a:pt x="117" y="204"/>
                  </a:lnTo>
                  <a:lnTo>
                    <a:pt x="88" y="204"/>
                  </a:lnTo>
                  <a:lnTo>
                    <a:pt x="78" y="214"/>
                  </a:lnTo>
                  <a:lnTo>
                    <a:pt x="69" y="214"/>
                  </a:lnTo>
                  <a:lnTo>
                    <a:pt x="49" y="204"/>
                  </a:lnTo>
                  <a:lnTo>
                    <a:pt x="49" y="195"/>
                  </a:lnTo>
                  <a:lnTo>
                    <a:pt x="39" y="175"/>
                  </a:lnTo>
                  <a:lnTo>
                    <a:pt x="30" y="156"/>
                  </a:lnTo>
                  <a:lnTo>
                    <a:pt x="30" y="146"/>
                  </a:lnTo>
                  <a:lnTo>
                    <a:pt x="30" y="136"/>
                  </a:lnTo>
                  <a:lnTo>
                    <a:pt x="10" y="117"/>
                  </a:lnTo>
                  <a:lnTo>
                    <a:pt x="0" y="97"/>
                  </a:lnTo>
                  <a:lnTo>
                    <a:pt x="10" y="78"/>
                  </a:lnTo>
                  <a:lnTo>
                    <a:pt x="10" y="58"/>
                  </a:lnTo>
                  <a:lnTo>
                    <a:pt x="10" y="48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29"/>
                  </a:lnTo>
                  <a:lnTo>
                    <a:pt x="49" y="29"/>
                  </a:lnTo>
                  <a:lnTo>
                    <a:pt x="69" y="29"/>
                  </a:lnTo>
                  <a:lnTo>
                    <a:pt x="69" y="9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98" y="29"/>
                  </a:lnTo>
                  <a:lnTo>
                    <a:pt x="108" y="39"/>
                  </a:lnTo>
                  <a:lnTo>
                    <a:pt x="137" y="39"/>
                  </a:lnTo>
                  <a:lnTo>
                    <a:pt x="166" y="39"/>
                  </a:lnTo>
                  <a:lnTo>
                    <a:pt x="176" y="39"/>
                  </a:lnTo>
                  <a:lnTo>
                    <a:pt x="176" y="48"/>
                  </a:lnTo>
                  <a:lnTo>
                    <a:pt x="176" y="58"/>
                  </a:lnTo>
                  <a:lnTo>
                    <a:pt x="195" y="58"/>
                  </a:lnTo>
                  <a:lnTo>
                    <a:pt x="205" y="58"/>
                  </a:lnTo>
                  <a:lnTo>
                    <a:pt x="195" y="68"/>
                  </a:lnTo>
                  <a:lnTo>
                    <a:pt x="205" y="87"/>
                  </a:lnTo>
                  <a:lnTo>
                    <a:pt x="195" y="97"/>
                  </a:lnTo>
                  <a:lnTo>
                    <a:pt x="186" y="107"/>
                  </a:lnTo>
                  <a:lnTo>
                    <a:pt x="186" y="117"/>
                  </a:lnTo>
                  <a:lnTo>
                    <a:pt x="186" y="136"/>
                  </a:lnTo>
                  <a:lnTo>
                    <a:pt x="186" y="146"/>
                  </a:lnTo>
                  <a:lnTo>
                    <a:pt x="176" y="156"/>
                  </a:lnTo>
                  <a:lnTo>
                    <a:pt x="156" y="175"/>
                  </a:lnTo>
                  <a:lnTo>
                    <a:pt x="137" y="20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9" name="Freeform 358"/>
            <p:cNvSpPr>
              <a:spLocks/>
            </p:cNvSpPr>
            <p:nvPr/>
          </p:nvSpPr>
          <p:spPr bwMode="auto">
            <a:xfrm>
              <a:off x="1629" y="1981"/>
              <a:ext cx="273" cy="244"/>
            </a:xfrm>
            <a:custGeom>
              <a:avLst/>
              <a:gdLst>
                <a:gd name="T0" fmla="*/ 39 w 273"/>
                <a:gd name="T1" fmla="*/ 156 h 244"/>
                <a:gd name="T2" fmla="*/ 39 w 273"/>
                <a:gd name="T3" fmla="*/ 165 h 244"/>
                <a:gd name="T4" fmla="*/ 49 w 273"/>
                <a:gd name="T5" fmla="*/ 165 h 244"/>
                <a:gd name="T6" fmla="*/ 68 w 273"/>
                <a:gd name="T7" fmla="*/ 165 h 244"/>
                <a:gd name="T8" fmla="*/ 78 w 273"/>
                <a:gd name="T9" fmla="*/ 165 h 244"/>
                <a:gd name="T10" fmla="*/ 78 w 273"/>
                <a:gd name="T11" fmla="*/ 185 h 244"/>
                <a:gd name="T12" fmla="*/ 78 w 273"/>
                <a:gd name="T13" fmla="*/ 195 h 244"/>
                <a:gd name="T14" fmla="*/ 88 w 273"/>
                <a:gd name="T15" fmla="*/ 214 h 244"/>
                <a:gd name="T16" fmla="*/ 97 w 273"/>
                <a:gd name="T17" fmla="*/ 214 h 244"/>
                <a:gd name="T18" fmla="*/ 117 w 273"/>
                <a:gd name="T19" fmla="*/ 205 h 244"/>
                <a:gd name="T20" fmla="*/ 137 w 273"/>
                <a:gd name="T21" fmla="*/ 205 h 244"/>
                <a:gd name="T22" fmla="*/ 166 w 273"/>
                <a:gd name="T23" fmla="*/ 234 h 244"/>
                <a:gd name="T24" fmla="*/ 185 w 273"/>
                <a:gd name="T25" fmla="*/ 244 h 244"/>
                <a:gd name="T26" fmla="*/ 185 w 273"/>
                <a:gd name="T27" fmla="*/ 234 h 244"/>
                <a:gd name="T28" fmla="*/ 195 w 273"/>
                <a:gd name="T29" fmla="*/ 224 h 244"/>
                <a:gd name="T30" fmla="*/ 195 w 273"/>
                <a:gd name="T31" fmla="*/ 224 h 244"/>
                <a:gd name="T32" fmla="*/ 195 w 273"/>
                <a:gd name="T33" fmla="*/ 234 h 244"/>
                <a:gd name="T34" fmla="*/ 215 w 273"/>
                <a:gd name="T35" fmla="*/ 224 h 244"/>
                <a:gd name="T36" fmla="*/ 205 w 273"/>
                <a:gd name="T37" fmla="*/ 214 h 244"/>
                <a:gd name="T38" fmla="*/ 205 w 273"/>
                <a:gd name="T39" fmla="*/ 205 h 244"/>
                <a:gd name="T40" fmla="*/ 215 w 273"/>
                <a:gd name="T41" fmla="*/ 205 h 244"/>
                <a:gd name="T42" fmla="*/ 234 w 273"/>
                <a:gd name="T43" fmla="*/ 214 h 244"/>
                <a:gd name="T44" fmla="*/ 244 w 273"/>
                <a:gd name="T45" fmla="*/ 214 h 244"/>
                <a:gd name="T46" fmla="*/ 244 w 273"/>
                <a:gd name="T47" fmla="*/ 205 h 244"/>
                <a:gd name="T48" fmla="*/ 263 w 273"/>
                <a:gd name="T49" fmla="*/ 195 h 244"/>
                <a:gd name="T50" fmla="*/ 254 w 273"/>
                <a:gd name="T51" fmla="*/ 175 h 244"/>
                <a:gd name="T52" fmla="*/ 263 w 273"/>
                <a:gd name="T53" fmla="*/ 175 h 244"/>
                <a:gd name="T54" fmla="*/ 273 w 273"/>
                <a:gd name="T55" fmla="*/ 175 h 244"/>
                <a:gd name="T56" fmla="*/ 273 w 273"/>
                <a:gd name="T57" fmla="*/ 156 h 244"/>
                <a:gd name="T58" fmla="*/ 263 w 273"/>
                <a:gd name="T59" fmla="*/ 146 h 244"/>
                <a:gd name="T60" fmla="*/ 263 w 273"/>
                <a:gd name="T61" fmla="*/ 126 h 244"/>
                <a:gd name="T62" fmla="*/ 263 w 273"/>
                <a:gd name="T63" fmla="*/ 97 h 244"/>
                <a:gd name="T64" fmla="*/ 263 w 273"/>
                <a:gd name="T65" fmla="*/ 78 h 244"/>
                <a:gd name="T66" fmla="*/ 244 w 273"/>
                <a:gd name="T67" fmla="*/ 78 h 244"/>
                <a:gd name="T68" fmla="*/ 244 w 273"/>
                <a:gd name="T69" fmla="*/ 68 h 244"/>
                <a:gd name="T70" fmla="*/ 234 w 273"/>
                <a:gd name="T71" fmla="*/ 58 h 244"/>
                <a:gd name="T72" fmla="*/ 224 w 273"/>
                <a:gd name="T73" fmla="*/ 58 h 244"/>
                <a:gd name="T74" fmla="*/ 224 w 273"/>
                <a:gd name="T75" fmla="*/ 39 h 244"/>
                <a:gd name="T76" fmla="*/ 215 w 273"/>
                <a:gd name="T77" fmla="*/ 29 h 244"/>
                <a:gd name="T78" fmla="*/ 195 w 273"/>
                <a:gd name="T79" fmla="*/ 19 h 244"/>
                <a:gd name="T80" fmla="*/ 176 w 273"/>
                <a:gd name="T81" fmla="*/ 19 h 244"/>
                <a:gd name="T82" fmla="*/ 156 w 273"/>
                <a:gd name="T83" fmla="*/ 19 h 244"/>
                <a:gd name="T84" fmla="*/ 127 w 273"/>
                <a:gd name="T85" fmla="*/ 9 h 244"/>
                <a:gd name="T86" fmla="*/ 107 w 273"/>
                <a:gd name="T87" fmla="*/ 9 h 244"/>
                <a:gd name="T88" fmla="*/ 107 w 273"/>
                <a:gd name="T89" fmla="*/ 9 h 244"/>
                <a:gd name="T90" fmla="*/ 97 w 273"/>
                <a:gd name="T91" fmla="*/ 0 h 244"/>
                <a:gd name="T92" fmla="*/ 78 w 273"/>
                <a:gd name="T93" fmla="*/ 0 h 244"/>
                <a:gd name="T94" fmla="*/ 78 w 273"/>
                <a:gd name="T95" fmla="*/ 9 h 244"/>
                <a:gd name="T96" fmla="*/ 68 w 273"/>
                <a:gd name="T97" fmla="*/ 19 h 244"/>
                <a:gd name="T98" fmla="*/ 58 w 273"/>
                <a:gd name="T99" fmla="*/ 9 h 244"/>
                <a:gd name="T100" fmla="*/ 49 w 273"/>
                <a:gd name="T101" fmla="*/ 19 h 244"/>
                <a:gd name="T102" fmla="*/ 49 w 273"/>
                <a:gd name="T103" fmla="*/ 29 h 244"/>
                <a:gd name="T104" fmla="*/ 39 w 273"/>
                <a:gd name="T105" fmla="*/ 39 h 244"/>
                <a:gd name="T106" fmla="*/ 19 w 273"/>
                <a:gd name="T107" fmla="*/ 58 h 244"/>
                <a:gd name="T108" fmla="*/ 0 w 273"/>
                <a:gd name="T109" fmla="*/ 87 h 244"/>
                <a:gd name="T110" fmla="*/ 10 w 273"/>
                <a:gd name="T111" fmla="*/ 97 h 244"/>
                <a:gd name="T112" fmla="*/ 0 w 273"/>
                <a:gd name="T113" fmla="*/ 117 h 244"/>
                <a:gd name="T114" fmla="*/ 10 w 273"/>
                <a:gd name="T115" fmla="*/ 126 h 244"/>
                <a:gd name="T116" fmla="*/ 19 w 273"/>
                <a:gd name="T117" fmla="*/ 126 h 244"/>
                <a:gd name="T118" fmla="*/ 39 w 273"/>
                <a:gd name="T119" fmla="*/ 126 h 244"/>
                <a:gd name="T120" fmla="*/ 49 w 273"/>
                <a:gd name="T121" fmla="*/ 136 h 244"/>
                <a:gd name="T122" fmla="*/ 29 w 273"/>
                <a:gd name="T123" fmla="*/ 146 h 244"/>
                <a:gd name="T124" fmla="*/ 39 w 273"/>
                <a:gd name="T125" fmla="*/ 156 h 2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3"/>
                <a:gd name="T190" fmla="*/ 0 h 244"/>
                <a:gd name="T191" fmla="*/ 273 w 273"/>
                <a:gd name="T192" fmla="*/ 244 h 2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3" h="244">
                  <a:moveTo>
                    <a:pt x="39" y="156"/>
                  </a:moveTo>
                  <a:lnTo>
                    <a:pt x="39" y="165"/>
                  </a:lnTo>
                  <a:lnTo>
                    <a:pt x="49" y="165"/>
                  </a:lnTo>
                  <a:lnTo>
                    <a:pt x="68" y="165"/>
                  </a:lnTo>
                  <a:lnTo>
                    <a:pt x="78" y="16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7" y="214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66" y="234"/>
                  </a:lnTo>
                  <a:lnTo>
                    <a:pt x="185" y="244"/>
                  </a:lnTo>
                  <a:lnTo>
                    <a:pt x="185" y="234"/>
                  </a:lnTo>
                  <a:lnTo>
                    <a:pt x="195" y="224"/>
                  </a:lnTo>
                  <a:lnTo>
                    <a:pt x="195" y="234"/>
                  </a:lnTo>
                  <a:lnTo>
                    <a:pt x="215" y="22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215" y="205"/>
                  </a:lnTo>
                  <a:lnTo>
                    <a:pt x="234" y="214"/>
                  </a:lnTo>
                  <a:lnTo>
                    <a:pt x="244" y="214"/>
                  </a:lnTo>
                  <a:lnTo>
                    <a:pt x="244" y="205"/>
                  </a:lnTo>
                  <a:lnTo>
                    <a:pt x="263" y="195"/>
                  </a:lnTo>
                  <a:lnTo>
                    <a:pt x="254" y="175"/>
                  </a:lnTo>
                  <a:lnTo>
                    <a:pt x="263" y="175"/>
                  </a:lnTo>
                  <a:lnTo>
                    <a:pt x="273" y="175"/>
                  </a:lnTo>
                  <a:lnTo>
                    <a:pt x="273" y="156"/>
                  </a:lnTo>
                  <a:lnTo>
                    <a:pt x="263" y="146"/>
                  </a:lnTo>
                  <a:lnTo>
                    <a:pt x="263" y="126"/>
                  </a:lnTo>
                  <a:lnTo>
                    <a:pt x="263" y="97"/>
                  </a:lnTo>
                  <a:lnTo>
                    <a:pt x="263" y="78"/>
                  </a:lnTo>
                  <a:lnTo>
                    <a:pt x="244" y="78"/>
                  </a:lnTo>
                  <a:lnTo>
                    <a:pt x="244" y="68"/>
                  </a:lnTo>
                  <a:lnTo>
                    <a:pt x="234" y="58"/>
                  </a:lnTo>
                  <a:lnTo>
                    <a:pt x="224" y="58"/>
                  </a:lnTo>
                  <a:lnTo>
                    <a:pt x="224" y="39"/>
                  </a:lnTo>
                  <a:lnTo>
                    <a:pt x="215" y="29"/>
                  </a:lnTo>
                  <a:lnTo>
                    <a:pt x="195" y="19"/>
                  </a:lnTo>
                  <a:lnTo>
                    <a:pt x="176" y="19"/>
                  </a:lnTo>
                  <a:lnTo>
                    <a:pt x="156" y="19"/>
                  </a:lnTo>
                  <a:lnTo>
                    <a:pt x="127" y="9"/>
                  </a:lnTo>
                  <a:lnTo>
                    <a:pt x="107" y="9"/>
                  </a:lnTo>
                  <a:lnTo>
                    <a:pt x="97" y="0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68" y="19"/>
                  </a:lnTo>
                  <a:lnTo>
                    <a:pt x="58" y="9"/>
                  </a:lnTo>
                  <a:lnTo>
                    <a:pt x="49" y="19"/>
                  </a:lnTo>
                  <a:lnTo>
                    <a:pt x="49" y="29"/>
                  </a:lnTo>
                  <a:lnTo>
                    <a:pt x="39" y="39"/>
                  </a:lnTo>
                  <a:lnTo>
                    <a:pt x="19" y="58"/>
                  </a:lnTo>
                  <a:lnTo>
                    <a:pt x="0" y="87"/>
                  </a:lnTo>
                  <a:lnTo>
                    <a:pt x="10" y="97"/>
                  </a:lnTo>
                  <a:lnTo>
                    <a:pt x="0" y="117"/>
                  </a:lnTo>
                  <a:lnTo>
                    <a:pt x="10" y="126"/>
                  </a:lnTo>
                  <a:lnTo>
                    <a:pt x="19" y="126"/>
                  </a:lnTo>
                  <a:lnTo>
                    <a:pt x="39" y="126"/>
                  </a:lnTo>
                  <a:lnTo>
                    <a:pt x="49" y="136"/>
                  </a:lnTo>
                  <a:lnTo>
                    <a:pt x="29" y="146"/>
                  </a:lnTo>
                  <a:lnTo>
                    <a:pt x="39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0" name="Freeform 357"/>
            <p:cNvSpPr>
              <a:spLocks/>
            </p:cNvSpPr>
            <p:nvPr/>
          </p:nvSpPr>
          <p:spPr bwMode="auto">
            <a:xfrm>
              <a:off x="1424" y="2039"/>
              <a:ext cx="253" cy="235"/>
            </a:xfrm>
            <a:custGeom>
              <a:avLst/>
              <a:gdLst>
                <a:gd name="T0" fmla="*/ 127 w 254"/>
                <a:gd name="T1" fmla="*/ 234 h 234"/>
                <a:gd name="T2" fmla="*/ 166 w 254"/>
                <a:gd name="T3" fmla="*/ 215 h 234"/>
                <a:gd name="T4" fmla="*/ 166 w 254"/>
                <a:gd name="T5" fmla="*/ 156 h 234"/>
                <a:gd name="T6" fmla="*/ 166 w 254"/>
                <a:gd name="T7" fmla="*/ 147 h 234"/>
                <a:gd name="T8" fmla="*/ 185 w 254"/>
                <a:gd name="T9" fmla="*/ 137 h 234"/>
                <a:gd name="T10" fmla="*/ 215 w 254"/>
                <a:gd name="T11" fmla="*/ 117 h 234"/>
                <a:gd name="T12" fmla="*/ 244 w 254"/>
                <a:gd name="T13" fmla="*/ 98 h 234"/>
                <a:gd name="T14" fmla="*/ 234 w 254"/>
                <a:gd name="T15" fmla="*/ 88 h 234"/>
                <a:gd name="T16" fmla="*/ 254 w 254"/>
                <a:gd name="T17" fmla="*/ 78 h 234"/>
                <a:gd name="T18" fmla="*/ 244 w 254"/>
                <a:gd name="T19" fmla="*/ 68 h 234"/>
                <a:gd name="T20" fmla="*/ 224 w 254"/>
                <a:gd name="T21" fmla="*/ 68 h 234"/>
                <a:gd name="T22" fmla="*/ 215 w 254"/>
                <a:gd name="T23" fmla="*/ 68 h 234"/>
                <a:gd name="T24" fmla="*/ 215 w 254"/>
                <a:gd name="T25" fmla="*/ 59 h 234"/>
                <a:gd name="T26" fmla="*/ 215 w 254"/>
                <a:gd name="T27" fmla="*/ 39 h 234"/>
                <a:gd name="T28" fmla="*/ 205 w 254"/>
                <a:gd name="T29" fmla="*/ 29 h 234"/>
                <a:gd name="T30" fmla="*/ 185 w 254"/>
                <a:gd name="T31" fmla="*/ 29 h 234"/>
                <a:gd name="T32" fmla="*/ 166 w 254"/>
                <a:gd name="T33" fmla="*/ 29 h 234"/>
                <a:gd name="T34" fmla="*/ 156 w 254"/>
                <a:gd name="T35" fmla="*/ 49 h 234"/>
                <a:gd name="T36" fmla="*/ 137 w 254"/>
                <a:gd name="T37" fmla="*/ 39 h 234"/>
                <a:gd name="T38" fmla="*/ 117 w 254"/>
                <a:gd name="T39" fmla="*/ 29 h 234"/>
                <a:gd name="T40" fmla="*/ 127 w 254"/>
                <a:gd name="T41" fmla="*/ 20 h 234"/>
                <a:gd name="T42" fmla="*/ 107 w 254"/>
                <a:gd name="T43" fmla="*/ 0 h 234"/>
                <a:gd name="T44" fmla="*/ 88 w 254"/>
                <a:gd name="T45" fmla="*/ 10 h 234"/>
                <a:gd name="T46" fmla="*/ 78 w 254"/>
                <a:gd name="T47" fmla="*/ 20 h 234"/>
                <a:gd name="T48" fmla="*/ 59 w 254"/>
                <a:gd name="T49" fmla="*/ 20 h 234"/>
                <a:gd name="T50" fmla="*/ 49 w 254"/>
                <a:gd name="T51" fmla="*/ 29 h 234"/>
                <a:gd name="T52" fmla="*/ 59 w 254"/>
                <a:gd name="T53" fmla="*/ 39 h 234"/>
                <a:gd name="T54" fmla="*/ 49 w 254"/>
                <a:gd name="T55" fmla="*/ 49 h 234"/>
                <a:gd name="T56" fmla="*/ 39 w 254"/>
                <a:gd name="T57" fmla="*/ 59 h 234"/>
                <a:gd name="T58" fmla="*/ 20 w 254"/>
                <a:gd name="T59" fmla="*/ 59 h 234"/>
                <a:gd name="T60" fmla="*/ 10 w 254"/>
                <a:gd name="T61" fmla="*/ 68 h 234"/>
                <a:gd name="T62" fmla="*/ 0 w 254"/>
                <a:gd name="T63" fmla="*/ 78 h 234"/>
                <a:gd name="T64" fmla="*/ 10 w 254"/>
                <a:gd name="T65" fmla="*/ 88 h 234"/>
                <a:gd name="T66" fmla="*/ 29 w 254"/>
                <a:gd name="T67" fmla="*/ 88 h 234"/>
                <a:gd name="T68" fmla="*/ 29 w 254"/>
                <a:gd name="T69" fmla="*/ 98 h 234"/>
                <a:gd name="T70" fmla="*/ 39 w 254"/>
                <a:gd name="T71" fmla="*/ 107 h 234"/>
                <a:gd name="T72" fmla="*/ 39 w 254"/>
                <a:gd name="T73" fmla="*/ 107 h 234"/>
                <a:gd name="T74" fmla="*/ 59 w 254"/>
                <a:gd name="T75" fmla="*/ 107 h 234"/>
                <a:gd name="T76" fmla="*/ 49 w 254"/>
                <a:gd name="T77" fmla="*/ 127 h 234"/>
                <a:gd name="T78" fmla="*/ 59 w 254"/>
                <a:gd name="T79" fmla="*/ 137 h 234"/>
                <a:gd name="T80" fmla="*/ 78 w 254"/>
                <a:gd name="T81" fmla="*/ 137 h 234"/>
                <a:gd name="T82" fmla="*/ 78 w 254"/>
                <a:gd name="T83" fmla="*/ 156 h 234"/>
                <a:gd name="T84" fmla="*/ 88 w 254"/>
                <a:gd name="T85" fmla="*/ 156 h 234"/>
                <a:gd name="T86" fmla="*/ 78 w 254"/>
                <a:gd name="T87" fmla="*/ 166 h 234"/>
                <a:gd name="T88" fmla="*/ 78 w 254"/>
                <a:gd name="T89" fmla="*/ 186 h 234"/>
                <a:gd name="T90" fmla="*/ 88 w 254"/>
                <a:gd name="T91" fmla="*/ 195 h 234"/>
                <a:gd name="T92" fmla="*/ 98 w 254"/>
                <a:gd name="T93" fmla="*/ 195 h 234"/>
                <a:gd name="T94" fmla="*/ 107 w 254"/>
                <a:gd name="T95" fmla="*/ 205 h 234"/>
                <a:gd name="T96" fmla="*/ 127 w 254"/>
                <a:gd name="T97" fmla="*/ 234 h 2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4"/>
                <a:gd name="T148" fmla="*/ 0 h 234"/>
                <a:gd name="T149" fmla="*/ 254 w 254"/>
                <a:gd name="T150" fmla="*/ 234 h 2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4" h="234">
                  <a:moveTo>
                    <a:pt x="127" y="234"/>
                  </a:moveTo>
                  <a:lnTo>
                    <a:pt x="166" y="215"/>
                  </a:lnTo>
                  <a:lnTo>
                    <a:pt x="166" y="156"/>
                  </a:lnTo>
                  <a:lnTo>
                    <a:pt x="166" y="147"/>
                  </a:lnTo>
                  <a:lnTo>
                    <a:pt x="185" y="137"/>
                  </a:lnTo>
                  <a:lnTo>
                    <a:pt x="215" y="117"/>
                  </a:lnTo>
                  <a:lnTo>
                    <a:pt x="244" y="98"/>
                  </a:lnTo>
                  <a:lnTo>
                    <a:pt x="234" y="8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24" y="68"/>
                  </a:lnTo>
                  <a:lnTo>
                    <a:pt x="215" y="68"/>
                  </a:lnTo>
                  <a:lnTo>
                    <a:pt x="215" y="59"/>
                  </a:lnTo>
                  <a:lnTo>
                    <a:pt x="215" y="39"/>
                  </a:lnTo>
                  <a:lnTo>
                    <a:pt x="205" y="29"/>
                  </a:lnTo>
                  <a:lnTo>
                    <a:pt x="185" y="29"/>
                  </a:lnTo>
                  <a:lnTo>
                    <a:pt x="166" y="29"/>
                  </a:lnTo>
                  <a:lnTo>
                    <a:pt x="156" y="49"/>
                  </a:lnTo>
                  <a:lnTo>
                    <a:pt x="137" y="39"/>
                  </a:lnTo>
                  <a:lnTo>
                    <a:pt x="117" y="29"/>
                  </a:lnTo>
                  <a:lnTo>
                    <a:pt x="127" y="20"/>
                  </a:lnTo>
                  <a:lnTo>
                    <a:pt x="107" y="0"/>
                  </a:lnTo>
                  <a:lnTo>
                    <a:pt x="88" y="10"/>
                  </a:lnTo>
                  <a:lnTo>
                    <a:pt x="78" y="2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59" y="39"/>
                  </a:lnTo>
                  <a:lnTo>
                    <a:pt x="49" y="49"/>
                  </a:lnTo>
                  <a:lnTo>
                    <a:pt x="39" y="59"/>
                  </a:lnTo>
                  <a:lnTo>
                    <a:pt x="20" y="59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29" y="88"/>
                  </a:lnTo>
                  <a:lnTo>
                    <a:pt x="29" y="9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49" y="127"/>
                  </a:lnTo>
                  <a:lnTo>
                    <a:pt x="59" y="137"/>
                  </a:lnTo>
                  <a:lnTo>
                    <a:pt x="78" y="137"/>
                  </a:lnTo>
                  <a:lnTo>
                    <a:pt x="78" y="156"/>
                  </a:lnTo>
                  <a:lnTo>
                    <a:pt x="88" y="156"/>
                  </a:lnTo>
                  <a:lnTo>
                    <a:pt x="78" y="166"/>
                  </a:lnTo>
                  <a:lnTo>
                    <a:pt x="78" y="186"/>
                  </a:lnTo>
                  <a:lnTo>
                    <a:pt x="88" y="195"/>
                  </a:lnTo>
                  <a:lnTo>
                    <a:pt x="98" y="195"/>
                  </a:lnTo>
                  <a:lnTo>
                    <a:pt x="107" y="205"/>
                  </a:lnTo>
                  <a:lnTo>
                    <a:pt x="127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Freeform 356"/>
            <p:cNvSpPr>
              <a:spLocks/>
            </p:cNvSpPr>
            <p:nvPr/>
          </p:nvSpPr>
          <p:spPr bwMode="auto">
            <a:xfrm>
              <a:off x="1542" y="2138"/>
              <a:ext cx="253" cy="261"/>
            </a:xfrm>
            <a:custGeom>
              <a:avLst/>
              <a:gdLst>
                <a:gd name="T0" fmla="*/ 10 w 254"/>
                <a:gd name="T1" fmla="*/ 156 h 263"/>
                <a:gd name="T2" fmla="*/ 10 w 254"/>
                <a:gd name="T3" fmla="*/ 156 h 263"/>
                <a:gd name="T4" fmla="*/ 0 w 254"/>
                <a:gd name="T5" fmla="*/ 175 h 263"/>
                <a:gd name="T6" fmla="*/ 10 w 254"/>
                <a:gd name="T7" fmla="*/ 185 h 263"/>
                <a:gd name="T8" fmla="*/ 29 w 254"/>
                <a:gd name="T9" fmla="*/ 185 h 263"/>
                <a:gd name="T10" fmla="*/ 39 w 254"/>
                <a:gd name="T11" fmla="*/ 185 h 263"/>
                <a:gd name="T12" fmla="*/ 49 w 254"/>
                <a:gd name="T13" fmla="*/ 205 h 263"/>
                <a:gd name="T14" fmla="*/ 49 w 254"/>
                <a:gd name="T15" fmla="*/ 224 h 263"/>
                <a:gd name="T16" fmla="*/ 59 w 254"/>
                <a:gd name="T17" fmla="*/ 234 h 263"/>
                <a:gd name="T18" fmla="*/ 68 w 254"/>
                <a:gd name="T19" fmla="*/ 234 h 263"/>
                <a:gd name="T20" fmla="*/ 78 w 254"/>
                <a:gd name="T21" fmla="*/ 244 h 263"/>
                <a:gd name="T22" fmla="*/ 68 w 254"/>
                <a:gd name="T23" fmla="*/ 244 h 263"/>
                <a:gd name="T24" fmla="*/ 68 w 254"/>
                <a:gd name="T25" fmla="*/ 253 h 263"/>
                <a:gd name="T26" fmla="*/ 78 w 254"/>
                <a:gd name="T27" fmla="*/ 263 h 263"/>
                <a:gd name="T28" fmla="*/ 88 w 254"/>
                <a:gd name="T29" fmla="*/ 263 h 263"/>
                <a:gd name="T30" fmla="*/ 98 w 254"/>
                <a:gd name="T31" fmla="*/ 263 h 263"/>
                <a:gd name="T32" fmla="*/ 117 w 254"/>
                <a:gd name="T33" fmla="*/ 244 h 263"/>
                <a:gd name="T34" fmla="*/ 127 w 254"/>
                <a:gd name="T35" fmla="*/ 244 h 263"/>
                <a:gd name="T36" fmla="*/ 137 w 254"/>
                <a:gd name="T37" fmla="*/ 234 h 263"/>
                <a:gd name="T38" fmla="*/ 146 w 254"/>
                <a:gd name="T39" fmla="*/ 224 h 263"/>
                <a:gd name="T40" fmla="*/ 166 w 254"/>
                <a:gd name="T41" fmla="*/ 224 h 263"/>
                <a:gd name="T42" fmla="*/ 185 w 254"/>
                <a:gd name="T43" fmla="*/ 224 h 263"/>
                <a:gd name="T44" fmla="*/ 195 w 254"/>
                <a:gd name="T45" fmla="*/ 205 h 263"/>
                <a:gd name="T46" fmla="*/ 195 w 254"/>
                <a:gd name="T47" fmla="*/ 185 h 263"/>
                <a:gd name="T48" fmla="*/ 195 w 254"/>
                <a:gd name="T49" fmla="*/ 166 h 263"/>
                <a:gd name="T50" fmla="*/ 215 w 254"/>
                <a:gd name="T51" fmla="*/ 156 h 263"/>
                <a:gd name="T52" fmla="*/ 225 w 254"/>
                <a:gd name="T53" fmla="*/ 136 h 263"/>
                <a:gd name="T54" fmla="*/ 225 w 254"/>
                <a:gd name="T55" fmla="*/ 88 h 263"/>
                <a:gd name="T56" fmla="*/ 254 w 254"/>
                <a:gd name="T57" fmla="*/ 88 h 263"/>
                <a:gd name="T58" fmla="*/ 225 w 254"/>
                <a:gd name="T59" fmla="*/ 49 h 263"/>
                <a:gd name="T60" fmla="*/ 205 w 254"/>
                <a:gd name="T61" fmla="*/ 49 h 263"/>
                <a:gd name="T62" fmla="*/ 185 w 254"/>
                <a:gd name="T63" fmla="*/ 58 h 263"/>
                <a:gd name="T64" fmla="*/ 176 w 254"/>
                <a:gd name="T65" fmla="*/ 58 h 263"/>
                <a:gd name="T66" fmla="*/ 166 w 254"/>
                <a:gd name="T67" fmla="*/ 39 h 263"/>
                <a:gd name="T68" fmla="*/ 166 w 254"/>
                <a:gd name="T69" fmla="*/ 29 h 263"/>
                <a:gd name="T70" fmla="*/ 166 w 254"/>
                <a:gd name="T71" fmla="*/ 9 h 263"/>
                <a:gd name="T72" fmla="*/ 156 w 254"/>
                <a:gd name="T73" fmla="*/ 9 h 263"/>
                <a:gd name="T74" fmla="*/ 137 w 254"/>
                <a:gd name="T75" fmla="*/ 9 h 263"/>
                <a:gd name="T76" fmla="*/ 127 w 254"/>
                <a:gd name="T77" fmla="*/ 9 h 263"/>
                <a:gd name="T78" fmla="*/ 127 w 254"/>
                <a:gd name="T79" fmla="*/ 0 h 263"/>
                <a:gd name="T80" fmla="*/ 98 w 254"/>
                <a:gd name="T81" fmla="*/ 19 h 263"/>
                <a:gd name="T82" fmla="*/ 68 w 254"/>
                <a:gd name="T83" fmla="*/ 39 h 263"/>
                <a:gd name="T84" fmla="*/ 49 w 254"/>
                <a:gd name="T85" fmla="*/ 39 h 263"/>
                <a:gd name="T86" fmla="*/ 39 w 254"/>
                <a:gd name="T87" fmla="*/ 58 h 263"/>
                <a:gd name="T88" fmla="*/ 39 w 254"/>
                <a:gd name="T89" fmla="*/ 107 h 263"/>
                <a:gd name="T90" fmla="*/ 10 w 254"/>
                <a:gd name="T91" fmla="*/ 136 h 263"/>
                <a:gd name="T92" fmla="*/ 10 w 254"/>
                <a:gd name="T93" fmla="*/ 156 h 2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263"/>
                <a:gd name="T143" fmla="*/ 254 w 254"/>
                <a:gd name="T144" fmla="*/ 263 h 2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263">
                  <a:moveTo>
                    <a:pt x="10" y="156"/>
                  </a:moveTo>
                  <a:lnTo>
                    <a:pt x="10" y="156"/>
                  </a:lnTo>
                  <a:lnTo>
                    <a:pt x="0" y="175"/>
                  </a:lnTo>
                  <a:lnTo>
                    <a:pt x="10" y="185"/>
                  </a:lnTo>
                  <a:lnTo>
                    <a:pt x="29" y="185"/>
                  </a:lnTo>
                  <a:lnTo>
                    <a:pt x="39" y="185"/>
                  </a:lnTo>
                  <a:lnTo>
                    <a:pt x="49" y="205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68" y="234"/>
                  </a:lnTo>
                  <a:lnTo>
                    <a:pt x="78" y="244"/>
                  </a:lnTo>
                  <a:lnTo>
                    <a:pt x="68" y="244"/>
                  </a:lnTo>
                  <a:lnTo>
                    <a:pt x="68" y="253"/>
                  </a:lnTo>
                  <a:lnTo>
                    <a:pt x="78" y="263"/>
                  </a:lnTo>
                  <a:lnTo>
                    <a:pt x="88" y="263"/>
                  </a:lnTo>
                  <a:lnTo>
                    <a:pt x="98" y="263"/>
                  </a:lnTo>
                  <a:lnTo>
                    <a:pt x="117" y="244"/>
                  </a:lnTo>
                  <a:lnTo>
                    <a:pt x="127" y="244"/>
                  </a:lnTo>
                  <a:lnTo>
                    <a:pt x="137" y="234"/>
                  </a:lnTo>
                  <a:lnTo>
                    <a:pt x="146" y="224"/>
                  </a:lnTo>
                  <a:lnTo>
                    <a:pt x="166" y="224"/>
                  </a:lnTo>
                  <a:lnTo>
                    <a:pt x="185" y="224"/>
                  </a:lnTo>
                  <a:lnTo>
                    <a:pt x="195" y="205"/>
                  </a:lnTo>
                  <a:lnTo>
                    <a:pt x="195" y="185"/>
                  </a:lnTo>
                  <a:lnTo>
                    <a:pt x="195" y="166"/>
                  </a:lnTo>
                  <a:lnTo>
                    <a:pt x="215" y="156"/>
                  </a:lnTo>
                  <a:lnTo>
                    <a:pt x="225" y="136"/>
                  </a:lnTo>
                  <a:lnTo>
                    <a:pt x="225" y="88"/>
                  </a:lnTo>
                  <a:lnTo>
                    <a:pt x="254" y="88"/>
                  </a:lnTo>
                  <a:lnTo>
                    <a:pt x="225" y="49"/>
                  </a:lnTo>
                  <a:lnTo>
                    <a:pt x="205" y="49"/>
                  </a:lnTo>
                  <a:lnTo>
                    <a:pt x="185" y="58"/>
                  </a:lnTo>
                  <a:lnTo>
                    <a:pt x="176" y="58"/>
                  </a:lnTo>
                  <a:lnTo>
                    <a:pt x="166" y="39"/>
                  </a:lnTo>
                  <a:lnTo>
                    <a:pt x="166" y="29"/>
                  </a:lnTo>
                  <a:lnTo>
                    <a:pt x="166" y="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9"/>
                  </a:lnTo>
                  <a:lnTo>
                    <a:pt x="127" y="0"/>
                  </a:lnTo>
                  <a:lnTo>
                    <a:pt x="98" y="19"/>
                  </a:lnTo>
                  <a:lnTo>
                    <a:pt x="68" y="39"/>
                  </a:lnTo>
                  <a:lnTo>
                    <a:pt x="49" y="39"/>
                  </a:lnTo>
                  <a:lnTo>
                    <a:pt x="39" y="58"/>
                  </a:lnTo>
                  <a:lnTo>
                    <a:pt x="39" y="107"/>
                  </a:lnTo>
                  <a:lnTo>
                    <a:pt x="10" y="136"/>
                  </a:lnTo>
                  <a:lnTo>
                    <a:pt x="10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2" name="Freeform 355"/>
            <p:cNvSpPr>
              <a:spLocks/>
            </p:cNvSpPr>
            <p:nvPr/>
          </p:nvSpPr>
          <p:spPr bwMode="auto">
            <a:xfrm>
              <a:off x="1289" y="2138"/>
              <a:ext cx="329" cy="311"/>
            </a:xfrm>
            <a:custGeom>
              <a:avLst/>
              <a:gdLst>
                <a:gd name="T0" fmla="*/ 117 w 331"/>
                <a:gd name="T1" fmla="*/ 68 h 312"/>
                <a:gd name="T2" fmla="*/ 87 w 331"/>
                <a:gd name="T3" fmla="*/ 78 h 312"/>
                <a:gd name="T4" fmla="*/ 97 w 331"/>
                <a:gd name="T5" fmla="*/ 97 h 312"/>
                <a:gd name="T6" fmla="*/ 78 w 331"/>
                <a:gd name="T7" fmla="*/ 117 h 312"/>
                <a:gd name="T8" fmla="*/ 68 w 331"/>
                <a:gd name="T9" fmla="*/ 117 h 312"/>
                <a:gd name="T10" fmla="*/ 68 w 331"/>
                <a:gd name="T11" fmla="*/ 136 h 312"/>
                <a:gd name="T12" fmla="*/ 58 w 331"/>
                <a:gd name="T13" fmla="*/ 156 h 312"/>
                <a:gd name="T14" fmla="*/ 19 w 331"/>
                <a:gd name="T15" fmla="*/ 195 h 312"/>
                <a:gd name="T16" fmla="*/ 0 w 331"/>
                <a:gd name="T17" fmla="*/ 205 h 312"/>
                <a:gd name="T18" fmla="*/ 9 w 331"/>
                <a:gd name="T19" fmla="*/ 234 h 312"/>
                <a:gd name="T20" fmla="*/ 9 w 331"/>
                <a:gd name="T21" fmla="*/ 263 h 312"/>
                <a:gd name="T22" fmla="*/ 39 w 331"/>
                <a:gd name="T23" fmla="*/ 292 h 312"/>
                <a:gd name="T24" fmla="*/ 68 w 331"/>
                <a:gd name="T25" fmla="*/ 312 h 312"/>
                <a:gd name="T26" fmla="*/ 107 w 331"/>
                <a:gd name="T27" fmla="*/ 292 h 312"/>
                <a:gd name="T28" fmla="*/ 136 w 331"/>
                <a:gd name="T29" fmla="*/ 302 h 312"/>
                <a:gd name="T30" fmla="*/ 156 w 331"/>
                <a:gd name="T31" fmla="*/ 292 h 312"/>
                <a:gd name="T32" fmla="*/ 175 w 331"/>
                <a:gd name="T33" fmla="*/ 273 h 312"/>
                <a:gd name="T34" fmla="*/ 185 w 331"/>
                <a:gd name="T35" fmla="*/ 253 h 312"/>
                <a:gd name="T36" fmla="*/ 234 w 331"/>
                <a:gd name="T37" fmla="*/ 263 h 312"/>
                <a:gd name="T38" fmla="*/ 282 w 331"/>
                <a:gd name="T39" fmla="*/ 302 h 312"/>
                <a:gd name="T40" fmla="*/ 321 w 331"/>
                <a:gd name="T41" fmla="*/ 292 h 312"/>
                <a:gd name="T42" fmla="*/ 331 w 331"/>
                <a:gd name="T43" fmla="*/ 263 h 312"/>
                <a:gd name="T44" fmla="*/ 321 w 331"/>
                <a:gd name="T45" fmla="*/ 244 h 312"/>
                <a:gd name="T46" fmla="*/ 321 w 331"/>
                <a:gd name="T47" fmla="*/ 234 h 312"/>
                <a:gd name="T48" fmla="*/ 302 w 331"/>
                <a:gd name="T49" fmla="*/ 224 h 312"/>
                <a:gd name="T50" fmla="*/ 292 w 331"/>
                <a:gd name="T51" fmla="*/ 185 h 312"/>
                <a:gd name="T52" fmla="*/ 263 w 331"/>
                <a:gd name="T53" fmla="*/ 185 h 312"/>
                <a:gd name="T54" fmla="*/ 263 w 331"/>
                <a:gd name="T55" fmla="*/ 156 h 312"/>
                <a:gd name="T56" fmla="*/ 263 w 331"/>
                <a:gd name="T57" fmla="*/ 136 h 312"/>
                <a:gd name="T58" fmla="*/ 234 w 331"/>
                <a:gd name="T59" fmla="*/ 97 h 312"/>
                <a:gd name="T60" fmla="*/ 214 w 331"/>
                <a:gd name="T61" fmla="*/ 88 h 312"/>
                <a:gd name="T62" fmla="*/ 224 w 331"/>
                <a:gd name="T63" fmla="*/ 58 h 312"/>
                <a:gd name="T64" fmla="*/ 204 w 331"/>
                <a:gd name="T65" fmla="*/ 39 h 312"/>
                <a:gd name="T66" fmla="*/ 185 w 331"/>
                <a:gd name="T67" fmla="*/ 29 h 312"/>
                <a:gd name="T68" fmla="*/ 175 w 331"/>
                <a:gd name="T69" fmla="*/ 9 h 312"/>
                <a:gd name="T70" fmla="*/ 165 w 331"/>
                <a:gd name="T71" fmla="*/ 0 h 312"/>
                <a:gd name="T72" fmla="*/ 156 w 331"/>
                <a:gd name="T73" fmla="*/ 29 h 312"/>
                <a:gd name="T74" fmla="*/ 136 w 331"/>
                <a:gd name="T75" fmla="*/ 9 h 312"/>
                <a:gd name="T76" fmla="*/ 126 w 331"/>
                <a:gd name="T77" fmla="*/ 39 h 3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"/>
                <a:gd name="T118" fmla="*/ 0 h 312"/>
                <a:gd name="T119" fmla="*/ 331 w 331"/>
                <a:gd name="T120" fmla="*/ 312 h 3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" h="312">
                  <a:moveTo>
                    <a:pt x="117" y="49"/>
                  </a:moveTo>
                  <a:lnTo>
                    <a:pt x="117" y="68"/>
                  </a:lnTo>
                  <a:lnTo>
                    <a:pt x="97" y="68"/>
                  </a:lnTo>
                  <a:lnTo>
                    <a:pt x="87" y="78"/>
                  </a:lnTo>
                  <a:lnTo>
                    <a:pt x="97" y="88"/>
                  </a:lnTo>
                  <a:lnTo>
                    <a:pt x="97" y="97"/>
                  </a:lnTo>
                  <a:lnTo>
                    <a:pt x="87" y="107"/>
                  </a:lnTo>
                  <a:lnTo>
                    <a:pt x="78" y="117"/>
                  </a:lnTo>
                  <a:lnTo>
                    <a:pt x="68" y="117"/>
                  </a:lnTo>
                  <a:lnTo>
                    <a:pt x="68" y="127"/>
                  </a:lnTo>
                  <a:lnTo>
                    <a:pt x="68" y="13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29" y="185"/>
                  </a:lnTo>
                  <a:lnTo>
                    <a:pt x="19" y="195"/>
                  </a:lnTo>
                  <a:lnTo>
                    <a:pt x="9" y="205"/>
                  </a:lnTo>
                  <a:lnTo>
                    <a:pt x="0" y="205"/>
                  </a:lnTo>
                  <a:lnTo>
                    <a:pt x="0" y="214"/>
                  </a:lnTo>
                  <a:lnTo>
                    <a:pt x="9" y="234"/>
                  </a:lnTo>
                  <a:lnTo>
                    <a:pt x="0" y="253"/>
                  </a:lnTo>
                  <a:lnTo>
                    <a:pt x="9" y="263"/>
                  </a:lnTo>
                  <a:lnTo>
                    <a:pt x="9" y="273"/>
                  </a:lnTo>
                  <a:lnTo>
                    <a:pt x="39" y="29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97" y="292"/>
                  </a:lnTo>
                  <a:lnTo>
                    <a:pt x="107" y="292"/>
                  </a:lnTo>
                  <a:lnTo>
                    <a:pt x="117" y="312"/>
                  </a:lnTo>
                  <a:lnTo>
                    <a:pt x="136" y="302"/>
                  </a:lnTo>
                  <a:lnTo>
                    <a:pt x="146" y="292"/>
                  </a:lnTo>
                  <a:lnTo>
                    <a:pt x="156" y="292"/>
                  </a:lnTo>
                  <a:lnTo>
                    <a:pt x="165" y="283"/>
                  </a:lnTo>
                  <a:lnTo>
                    <a:pt x="175" y="273"/>
                  </a:lnTo>
                  <a:lnTo>
                    <a:pt x="185" y="263"/>
                  </a:lnTo>
                  <a:lnTo>
                    <a:pt x="185" y="253"/>
                  </a:lnTo>
                  <a:lnTo>
                    <a:pt x="204" y="253"/>
                  </a:lnTo>
                  <a:lnTo>
                    <a:pt x="234" y="263"/>
                  </a:lnTo>
                  <a:lnTo>
                    <a:pt x="253" y="263"/>
                  </a:lnTo>
                  <a:lnTo>
                    <a:pt x="282" y="302"/>
                  </a:lnTo>
                  <a:lnTo>
                    <a:pt x="302" y="312"/>
                  </a:lnTo>
                  <a:lnTo>
                    <a:pt x="321" y="292"/>
                  </a:lnTo>
                  <a:lnTo>
                    <a:pt x="321" y="273"/>
                  </a:lnTo>
                  <a:lnTo>
                    <a:pt x="331" y="263"/>
                  </a:lnTo>
                  <a:lnTo>
                    <a:pt x="321" y="253"/>
                  </a:lnTo>
                  <a:lnTo>
                    <a:pt x="321" y="244"/>
                  </a:lnTo>
                  <a:lnTo>
                    <a:pt x="331" y="234"/>
                  </a:lnTo>
                  <a:lnTo>
                    <a:pt x="321" y="234"/>
                  </a:lnTo>
                  <a:lnTo>
                    <a:pt x="312" y="234"/>
                  </a:lnTo>
                  <a:lnTo>
                    <a:pt x="302" y="224"/>
                  </a:lnTo>
                  <a:lnTo>
                    <a:pt x="302" y="205"/>
                  </a:lnTo>
                  <a:lnTo>
                    <a:pt x="292" y="185"/>
                  </a:lnTo>
                  <a:lnTo>
                    <a:pt x="282" y="185"/>
                  </a:lnTo>
                  <a:lnTo>
                    <a:pt x="263" y="185"/>
                  </a:lnTo>
                  <a:lnTo>
                    <a:pt x="253" y="175"/>
                  </a:lnTo>
                  <a:lnTo>
                    <a:pt x="263" y="156"/>
                  </a:lnTo>
                  <a:lnTo>
                    <a:pt x="263" y="136"/>
                  </a:lnTo>
                  <a:lnTo>
                    <a:pt x="243" y="97"/>
                  </a:lnTo>
                  <a:lnTo>
                    <a:pt x="234" y="97"/>
                  </a:lnTo>
                  <a:lnTo>
                    <a:pt x="224" y="97"/>
                  </a:lnTo>
                  <a:lnTo>
                    <a:pt x="214" y="88"/>
                  </a:lnTo>
                  <a:lnTo>
                    <a:pt x="214" y="6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204" y="39"/>
                  </a:lnTo>
                  <a:lnTo>
                    <a:pt x="195" y="39"/>
                  </a:lnTo>
                  <a:lnTo>
                    <a:pt x="185" y="29"/>
                  </a:lnTo>
                  <a:lnTo>
                    <a:pt x="195" y="9"/>
                  </a:lnTo>
                  <a:lnTo>
                    <a:pt x="175" y="9"/>
                  </a:lnTo>
                  <a:lnTo>
                    <a:pt x="165" y="0"/>
                  </a:lnTo>
                  <a:lnTo>
                    <a:pt x="156" y="9"/>
                  </a:lnTo>
                  <a:lnTo>
                    <a:pt x="156" y="29"/>
                  </a:lnTo>
                  <a:lnTo>
                    <a:pt x="146" y="19"/>
                  </a:lnTo>
                  <a:lnTo>
                    <a:pt x="136" y="9"/>
                  </a:lnTo>
                  <a:lnTo>
                    <a:pt x="126" y="19"/>
                  </a:lnTo>
                  <a:lnTo>
                    <a:pt x="126" y="39"/>
                  </a:lnTo>
                  <a:lnTo>
                    <a:pt x="117" y="4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" name="Freeform 354"/>
            <p:cNvSpPr>
              <a:spLocks/>
            </p:cNvSpPr>
            <p:nvPr/>
          </p:nvSpPr>
          <p:spPr bwMode="auto">
            <a:xfrm>
              <a:off x="1767" y="1072"/>
              <a:ext cx="456" cy="433"/>
            </a:xfrm>
            <a:custGeom>
              <a:avLst/>
              <a:gdLst>
                <a:gd name="T0" fmla="*/ 429 w 458"/>
                <a:gd name="T1" fmla="*/ 322 h 430"/>
                <a:gd name="T2" fmla="*/ 399 w 458"/>
                <a:gd name="T3" fmla="*/ 322 h 430"/>
                <a:gd name="T4" fmla="*/ 370 w 458"/>
                <a:gd name="T5" fmla="*/ 351 h 430"/>
                <a:gd name="T6" fmla="*/ 331 w 458"/>
                <a:gd name="T7" fmla="*/ 371 h 430"/>
                <a:gd name="T8" fmla="*/ 292 w 458"/>
                <a:gd name="T9" fmla="*/ 410 h 430"/>
                <a:gd name="T10" fmla="*/ 253 w 458"/>
                <a:gd name="T11" fmla="*/ 410 h 430"/>
                <a:gd name="T12" fmla="*/ 224 w 458"/>
                <a:gd name="T13" fmla="*/ 410 h 430"/>
                <a:gd name="T14" fmla="*/ 214 w 458"/>
                <a:gd name="T15" fmla="*/ 381 h 430"/>
                <a:gd name="T16" fmla="*/ 224 w 458"/>
                <a:gd name="T17" fmla="*/ 361 h 430"/>
                <a:gd name="T18" fmla="*/ 204 w 458"/>
                <a:gd name="T19" fmla="*/ 351 h 430"/>
                <a:gd name="T20" fmla="*/ 214 w 458"/>
                <a:gd name="T21" fmla="*/ 322 h 430"/>
                <a:gd name="T22" fmla="*/ 185 w 458"/>
                <a:gd name="T23" fmla="*/ 303 h 430"/>
                <a:gd name="T24" fmla="*/ 156 w 458"/>
                <a:gd name="T25" fmla="*/ 293 h 430"/>
                <a:gd name="T26" fmla="*/ 175 w 458"/>
                <a:gd name="T27" fmla="*/ 264 h 430"/>
                <a:gd name="T28" fmla="*/ 156 w 458"/>
                <a:gd name="T29" fmla="*/ 244 h 430"/>
                <a:gd name="T30" fmla="*/ 107 w 458"/>
                <a:gd name="T31" fmla="*/ 244 h 430"/>
                <a:gd name="T32" fmla="*/ 87 w 458"/>
                <a:gd name="T33" fmla="*/ 215 h 430"/>
                <a:gd name="T34" fmla="*/ 58 w 458"/>
                <a:gd name="T35" fmla="*/ 225 h 430"/>
                <a:gd name="T36" fmla="*/ 48 w 458"/>
                <a:gd name="T37" fmla="*/ 205 h 430"/>
                <a:gd name="T38" fmla="*/ 29 w 458"/>
                <a:gd name="T39" fmla="*/ 205 h 430"/>
                <a:gd name="T40" fmla="*/ 0 w 458"/>
                <a:gd name="T41" fmla="*/ 195 h 430"/>
                <a:gd name="T42" fmla="*/ 9 w 458"/>
                <a:gd name="T43" fmla="*/ 176 h 430"/>
                <a:gd name="T44" fmla="*/ 9 w 458"/>
                <a:gd name="T45" fmla="*/ 147 h 430"/>
                <a:gd name="T46" fmla="*/ 9 w 458"/>
                <a:gd name="T47" fmla="*/ 108 h 430"/>
                <a:gd name="T48" fmla="*/ 9 w 458"/>
                <a:gd name="T49" fmla="*/ 88 h 430"/>
                <a:gd name="T50" fmla="*/ 29 w 458"/>
                <a:gd name="T51" fmla="*/ 78 h 430"/>
                <a:gd name="T52" fmla="*/ 58 w 458"/>
                <a:gd name="T53" fmla="*/ 69 h 430"/>
                <a:gd name="T54" fmla="*/ 97 w 458"/>
                <a:gd name="T55" fmla="*/ 59 h 430"/>
                <a:gd name="T56" fmla="*/ 87 w 458"/>
                <a:gd name="T57" fmla="*/ 69 h 430"/>
                <a:gd name="T58" fmla="*/ 107 w 458"/>
                <a:gd name="T59" fmla="*/ 69 h 430"/>
                <a:gd name="T60" fmla="*/ 107 w 458"/>
                <a:gd name="T61" fmla="*/ 78 h 430"/>
                <a:gd name="T62" fmla="*/ 126 w 458"/>
                <a:gd name="T63" fmla="*/ 88 h 430"/>
                <a:gd name="T64" fmla="*/ 146 w 458"/>
                <a:gd name="T65" fmla="*/ 108 h 430"/>
                <a:gd name="T66" fmla="*/ 146 w 458"/>
                <a:gd name="T67" fmla="*/ 127 h 430"/>
                <a:gd name="T68" fmla="*/ 126 w 458"/>
                <a:gd name="T69" fmla="*/ 147 h 430"/>
                <a:gd name="T70" fmla="*/ 117 w 458"/>
                <a:gd name="T71" fmla="*/ 166 h 430"/>
                <a:gd name="T72" fmla="*/ 126 w 458"/>
                <a:gd name="T73" fmla="*/ 186 h 430"/>
                <a:gd name="T74" fmla="*/ 156 w 458"/>
                <a:gd name="T75" fmla="*/ 195 h 430"/>
                <a:gd name="T76" fmla="*/ 185 w 458"/>
                <a:gd name="T77" fmla="*/ 195 h 430"/>
                <a:gd name="T78" fmla="*/ 204 w 458"/>
                <a:gd name="T79" fmla="*/ 176 h 430"/>
                <a:gd name="T80" fmla="*/ 214 w 458"/>
                <a:gd name="T81" fmla="*/ 156 h 430"/>
                <a:gd name="T82" fmla="*/ 204 w 458"/>
                <a:gd name="T83" fmla="*/ 127 h 430"/>
                <a:gd name="T84" fmla="*/ 195 w 458"/>
                <a:gd name="T85" fmla="*/ 117 h 430"/>
                <a:gd name="T86" fmla="*/ 175 w 458"/>
                <a:gd name="T87" fmla="*/ 98 h 430"/>
                <a:gd name="T88" fmla="*/ 165 w 458"/>
                <a:gd name="T89" fmla="*/ 78 h 430"/>
                <a:gd name="T90" fmla="*/ 165 w 458"/>
                <a:gd name="T91" fmla="*/ 49 h 430"/>
                <a:gd name="T92" fmla="*/ 175 w 458"/>
                <a:gd name="T93" fmla="*/ 49 h 430"/>
                <a:gd name="T94" fmla="*/ 185 w 458"/>
                <a:gd name="T95" fmla="*/ 30 h 430"/>
                <a:gd name="T96" fmla="*/ 204 w 458"/>
                <a:gd name="T97" fmla="*/ 30 h 430"/>
                <a:gd name="T98" fmla="*/ 185 w 458"/>
                <a:gd name="T99" fmla="*/ 20 h 430"/>
                <a:gd name="T100" fmla="*/ 165 w 458"/>
                <a:gd name="T101" fmla="*/ 10 h 430"/>
                <a:gd name="T102" fmla="*/ 195 w 458"/>
                <a:gd name="T103" fmla="*/ 0 h 430"/>
                <a:gd name="T104" fmla="*/ 263 w 458"/>
                <a:gd name="T105" fmla="*/ 20 h 430"/>
                <a:gd name="T106" fmla="*/ 282 w 458"/>
                <a:gd name="T107" fmla="*/ 20 h 430"/>
                <a:gd name="T108" fmla="*/ 282 w 458"/>
                <a:gd name="T109" fmla="*/ 49 h 430"/>
                <a:gd name="T110" fmla="*/ 282 w 458"/>
                <a:gd name="T111" fmla="*/ 88 h 430"/>
                <a:gd name="T112" fmla="*/ 331 w 458"/>
                <a:gd name="T113" fmla="*/ 234 h 430"/>
                <a:gd name="T114" fmla="*/ 390 w 458"/>
                <a:gd name="T115" fmla="*/ 244 h 430"/>
                <a:gd name="T116" fmla="*/ 399 w 458"/>
                <a:gd name="T117" fmla="*/ 215 h 430"/>
                <a:gd name="T118" fmla="*/ 419 w 458"/>
                <a:gd name="T119" fmla="*/ 254 h 430"/>
                <a:gd name="T120" fmla="*/ 458 w 458"/>
                <a:gd name="T121" fmla="*/ 303 h 430"/>
                <a:gd name="T122" fmla="*/ 458 w 458"/>
                <a:gd name="T123" fmla="*/ 322 h 430"/>
                <a:gd name="T124" fmla="*/ 448 w 458"/>
                <a:gd name="T125" fmla="*/ 332 h 43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8"/>
                <a:gd name="T190" fmla="*/ 0 h 430"/>
                <a:gd name="T191" fmla="*/ 458 w 458"/>
                <a:gd name="T192" fmla="*/ 430 h 43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8" h="430">
                  <a:moveTo>
                    <a:pt x="448" y="332"/>
                  </a:moveTo>
                  <a:lnTo>
                    <a:pt x="429" y="322"/>
                  </a:lnTo>
                  <a:lnTo>
                    <a:pt x="409" y="322"/>
                  </a:lnTo>
                  <a:lnTo>
                    <a:pt x="399" y="322"/>
                  </a:lnTo>
                  <a:lnTo>
                    <a:pt x="390" y="332"/>
                  </a:lnTo>
                  <a:lnTo>
                    <a:pt x="370" y="351"/>
                  </a:lnTo>
                  <a:lnTo>
                    <a:pt x="331" y="361"/>
                  </a:lnTo>
                  <a:lnTo>
                    <a:pt x="331" y="371"/>
                  </a:lnTo>
                  <a:lnTo>
                    <a:pt x="312" y="391"/>
                  </a:lnTo>
                  <a:lnTo>
                    <a:pt x="292" y="410"/>
                  </a:lnTo>
                  <a:lnTo>
                    <a:pt x="273" y="430"/>
                  </a:lnTo>
                  <a:lnTo>
                    <a:pt x="253" y="410"/>
                  </a:lnTo>
                  <a:lnTo>
                    <a:pt x="234" y="410"/>
                  </a:lnTo>
                  <a:lnTo>
                    <a:pt x="224" y="410"/>
                  </a:lnTo>
                  <a:lnTo>
                    <a:pt x="224" y="381"/>
                  </a:lnTo>
                  <a:lnTo>
                    <a:pt x="214" y="381"/>
                  </a:lnTo>
                  <a:lnTo>
                    <a:pt x="214" y="371"/>
                  </a:lnTo>
                  <a:lnTo>
                    <a:pt x="224" y="361"/>
                  </a:lnTo>
                  <a:lnTo>
                    <a:pt x="224" y="351"/>
                  </a:lnTo>
                  <a:lnTo>
                    <a:pt x="204" y="351"/>
                  </a:lnTo>
                  <a:lnTo>
                    <a:pt x="214" y="332"/>
                  </a:lnTo>
                  <a:lnTo>
                    <a:pt x="214" y="322"/>
                  </a:lnTo>
                  <a:lnTo>
                    <a:pt x="204" y="303"/>
                  </a:lnTo>
                  <a:lnTo>
                    <a:pt x="185" y="303"/>
                  </a:lnTo>
                  <a:lnTo>
                    <a:pt x="165" y="303"/>
                  </a:lnTo>
                  <a:lnTo>
                    <a:pt x="156" y="293"/>
                  </a:lnTo>
                  <a:lnTo>
                    <a:pt x="165" y="273"/>
                  </a:lnTo>
                  <a:lnTo>
                    <a:pt x="175" y="264"/>
                  </a:lnTo>
                  <a:lnTo>
                    <a:pt x="165" y="244"/>
                  </a:lnTo>
                  <a:lnTo>
                    <a:pt x="156" y="244"/>
                  </a:lnTo>
                  <a:lnTo>
                    <a:pt x="126" y="244"/>
                  </a:lnTo>
                  <a:lnTo>
                    <a:pt x="107" y="244"/>
                  </a:lnTo>
                  <a:lnTo>
                    <a:pt x="97" y="225"/>
                  </a:lnTo>
                  <a:lnTo>
                    <a:pt x="87" y="215"/>
                  </a:lnTo>
                  <a:lnTo>
                    <a:pt x="68" y="225"/>
                  </a:lnTo>
                  <a:lnTo>
                    <a:pt x="58" y="225"/>
                  </a:lnTo>
                  <a:lnTo>
                    <a:pt x="48" y="215"/>
                  </a:lnTo>
                  <a:lnTo>
                    <a:pt x="48" y="205"/>
                  </a:lnTo>
                  <a:lnTo>
                    <a:pt x="39" y="195"/>
                  </a:lnTo>
                  <a:lnTo>
                    <a:pt x="29" y="205"/>
                  </a:lnTo>
                  <a:lnTo>
                    <a:pt x="9" y="20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9" y="176"/>
                  </a:lnTo>
                  <a:lnTo>
                    <a:pt x="0" y="16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9" y="108"/>
                  </a:lnTo>
                  <a:lnTo>
                    <a:pt x="9" y="88"/>
                  </a:lnTo>
                  <a:lnTo>
                    <a:pt x="9" y="78"/>
                  </a:lnTo>
                  <a:lnTo>
                    <a:pt x="29" y="78"/>
                  </a:lnTo>
                  <a:lnTo>
                    <a:pt x="48" y="69"/>
                  </a:lnTo>
                  <a:lnTo>
                    <a:pt x="58" y="69"/>
                  </a:lnTo>
                  <a:lnTo>
                    <a:pt x="87" y="59"/>
                  </a:lnTo>
                  <a:lnTo>
                    <a:pt x="97" y="59"/>
                  </a:lnTo>
                  <a:lnTo>
                    <a:pt x="87" y="59"/>
                  </a:lnTo>
                  <a:lnTo>
                    <a:pt x="87" y="69"/>
                  </a:lnTo>
                  <a:lnTo>
                    <a:pt x="97" y="69"/>
                  </a:lnTo>
                  <a:lnTo>
                    <a:pt x="107" y="69"/>
                  </a:lnTo>
                  <a:lnTo>
                    <a:pt x="107" y="78"/>
                  </a:lnTo>
                  <a:lnTo>
                    <a:pt x="107" y="88"/>
                  </a:lnTo>
                  <a:lnTo>
                    <a:pt x="126" y="88"/>
                  </a:lnTo>
                  <a:lnTo>
                    <a:pt x="136" y="88"/>
                  </a:lnTo>
                  <a:lnTo>
                    <a:pt x="146" y="108"/>
                  </a:lnTo>
                  <a:lnTo>
                    <a:pt x="156" y="127"/>
                  </a:lnTo>
                  <a:lnTo>
                    <a:pt x="146" y="127"/>
                  </a:lnTo>
                  <a:lnTo>
                    <a:pt x="136" y="137"/>
                  </a:lnTo>
                  <a:lnTo>
                    <a:pt x="126" y="147"/>
                  </a:lnTo>
                  <a:lnTo>
                    <a:pt x="117" y="147"/>
                  </a:lnTo>
                  <a:lnTo>
                    <a:pt x="117" y="166"/>
                  </a:lnTo>
                  <a:lnTo>
                    <a:pt x="126" y="176"/>
                  </a:lnTo>
                  <a:lnTo>
                    <a:pt x="126" y="186"/>
                  </a:lnTo>
                  <a:lnTo>
                    <a:pt x="136" y="186"/>
                  </a:lnTo>
                  <a:lnTo>
                    <a:pt x="156" y="195"/>
                  </a:lnTo>
                  <a:lnTo>
                    <a:pt x="165" y="195"/>
                  </a:lnTo>
                  <a:lnTo>
                    <a:pt x="185" y="195"/>
                  </a:lnTo>
                  <a:lnTo>
                    <a:pt x="195" y="186"/>
                  </a:lnTo>
                  <a:lnTo>
                    <a:pt x="204" y="176"/>
                  </a:lnTo>
                  <a:lnTo>
                    <a:pt x="214" y="166"/>
                  </a:lnTo>
                  <a:lnTo>
                    <a:pt x="214" y="156"/>
                  </a:lnTo>
                  <a:lnTo>
                    <a:pt x="214" y="137"/>
                  </a:lnTo>
                  <a:lnTo>
                    <a:pt x="204" y="127"/>
                  </a:lnTo>
                  <a:lnTo>
                    <a:pt x="195" y="117"/>
                  </a:lnTo>
                  <a:lnTo>
                    <a:pt x="175" y="117"/>
                  </a:lnTo>
                  <a:lnTo>
                    <a:pt x="175" y="98"/>
                  </a:lnTo>
                  <a:lnTo>
                    <a:pt x="165" y="88"/>
                  </a:lnTo>
                  <a:lnTo>
                    <a:pt x="165" y="78"/>
                  </a:lnTo>
                  <a:lnTo>
                    <a:pt x="165" y="59"/>
                  </a:lnTo>
                  <a:lnTo>
                    <a:pt x="165" y="49"/>
                  </a:lnTo>
                  <a:lnTo>
                    <a:pt x="175" y="30"/>
                  </a:lnTo>
                  <a:lnTo>
                    <a:pt x="175" y="49"/>
                  </a:lnTo>
                  <a:lnTo>
                    <a:pt x="185" y="39"/>
                  </a:lnTo>
                  <a:lnTo>
                    <a:pt x="185" y="30"/>
                  </a:lnTo>
                  <a:lnTo>
                    <a:pt x="195" y="30"/>
                  </a:lnTo>
                  <a:lnTo>
                    <a:pt x="204" y="30"/>
                  </a:lnTo>
                  <a:lnTo>
                    <a:pt x="195" y="20"/>
                  </a:lnTo>
                  <a:lnTo>
                    <a:pt x="185" y="20"/>
                  </a:lnTo>
                  <a:lnTo>
                    <a:pt x="175" y="20"/>
                  </a:lnTo>
                  <a:lnTo>
                    <a:pt x="165" y="10"/>
                  </a:lnTo>
                  <a:lnTo>
                    <a:pt x="165" y="0"/>
                  </a:lnTo>
                  <a:lnTo>
                    <a:pt x="195" y="0"/>
                  </a:lnTo>
                  <a:lnTo>
                    <a:pt x="224" y="10"/>
                  </a:lnTo>
                  <a:lnTo>
                    <a:pt x="263" y="20"/>
                  </a:lnTo>
                  <a:lnTo>
                    <a:pt x="273" y="20"/>
                  </a:lnTo>
                  <a:lnTo>
                    <a:pt x="282" y="20"/>
                  </a:lnTo>
                  <a:lnTo>
                    <a:pt x="273" y="30"/>
                  </a:lnTo>
                  <a:lnTo>
                    <a:pt x="282" y="49"/>
                  </a:lnTo>
                  <a:lnTo>
                    <a:pt x="282" y="69"/>
                  </a:lnTo>
                  <a:lnTo>
                    <a:pt x="282" y="88"/>
                  </a:lnTo>
                  <a:lnTo>
                    <a:pt x="263" y="108"/>
                  </a:lnTo>
                  <a:lnTo>
                    <a:pt x="331" y="234"/>
                  </a:lnTo>
                  <a:lnTo>
                    <a:pt x="370" y="244"/>
                  </a:lnTo>
                  <a:lnTo>
                    <a:pt x="390" y="244"/>
                  </a:lnTo>
                  <a:lnTo>
                    <a:pt x="380" y="215"/>
                  </a:lnTo>
                  <a:lnTo>
                    <a:pt x="399" y="215"/>
                  </a:lnTo>
                  <a:lnTo>
                    <a:pt x="409" y="244"/>
                  </a:lnTo>
                  <a:lnTo>
                    <a:pt x="419" y="254"/>
                  </a:lnTo>
                  <a:lnTo>
                    <a:pt x="448" y="283"/>
                  </a:lnTo>
                  <a:lnTo>
                    <a:pt x="458" y="303"/>
                  </a:lnTo>
                  <a:lnTo>
                    <a:pt x="448" y="312"/>
                  </a:lnTo>
                  <a:lnTo>
                    <a:pt x="458" y="322"/>
                  </a:lnTo>
                  <a:lnTo>
                    <a:pt x="458" y="332"/>
                  </a:lnTo>
                  <a:lnTo>
                    <a:pt x="448" y="332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" name="Freeform 353"/>
            <p:cNvSpPr>
              <a:spLocks/>
            </p:cNvSpPr>
            <p:nvPr/>
          </p:nvSpPr>
          <p:spPr bwMode="auto">
            <a:xfrm>
              <a:off x="1708" y="2225"/>
              <a:ext cx="273" cy="302"/>
            </a:xfrm>
            <a:custGeom>
              <a:avLst/>
              <a:gdLst>
                <a:gd name="T0" fmla="*/ 88 w 273"/>
                <a:gd name="T1" fmla="*/ 0 h 302"/>
                <a:gd name="T2" fmla="*/ 117 w 273"/>
                <a:gd name="T3" fmla="*/ 29 h 302"/>
                <a:gd name="T4" fmla="*/ 137 w 273"/>
                <a:gd name="T5" fmla="*/ 29 h 302"/>
                <a:gd name="T6" fmla="*/ 156 w 273"/>
                <a:gd name="T7" fmla="*/ 39 h 302"/>
                <a:gd name="T8" fmla="*/ 166 w 273"/>
                <a:gd name="T9" fmla="*/ 58 h 302"/>
                <a:gd name="T10" fmla="*/ 166 w 273"/>
                <a:gd name="T11" fmla="*/ 68 h 302"/>
                <a:gd name="T12" fmla="*/ 166 w 273"/>
                <a:gd name="T13" fmla="*/ 87 h 302"/>
                <a:gd name="T14" fmla="*/ 185 w 273"/>
                <a:gd name="T15" fmla="*/ 117 h 302"/>
                <a:gd name="T16" fmla="*/ 195 w 273"/>
                <a:gd name="T17" fmla="*/ 117 h 302"/>
                <a:gd name="T18" fmla="*/ 205 w 273"/>
                <a:gd name="T19" fmla="*/ 117 h 302"/>
                <a:gd name="T20" fmla="*/ 215 w 273"/>
                <a:gd name="T21" fmla="*/ 107 h 302"/>
                <a:gd name="T22" fmla="*/ 224 w 273"/>
                <a:gd name="T23" fmla="*/ 117 h 302"/>
                <a:gd name="T24" fmla="*/ 234 w 273"/>
                <a:gd name="T25" fmla="*/ 126 h 302"/>
                <a:gd name="T26" fmla="*/ 244 w 273"/>
                <a:gd name="T27" fmla="*/ 146 h 302"/>
                <a:gd name="T28" fmla="*/ 254 w 273"/>
                <a:gd name="T29" fmla="*/ 156 h 302"/>
                <a:gd name="T30" fmla="*/ 273 w 273"/>
                <a:gd name="T31" fmla="*/ 156 h 302"/>
                <a:gd name="T32" fmla="*/ 273 w 273"/>
                <a:gd name="T33" fmla="*/ 195 h 302"/>
                <a:gd name="T34" fmla="*/ 263 w 273"/>
                <a:gd name="T35" fmla="*/ 195 h 302"/>
                <a:gd name="T36" fmla="*/ 263 w 273"/>
                <a:gd name="T37" fmla="*/ 214 h 302"/>
                <a:gd name="T38" fmla="*/ 254 w 273"/>
                <a:gd name="T39" fmla="*/ 234 h 302"/>
                <a:gd name="T40" fmla="*/ 263 w 273"/>
                <a:gd name="T41" fmla="*/ 234 h 302"/>
                <a:gd name="T42" fmla="*/ 263 w 273"/>
                <a:gd name="T43" fmla="*/ 263 h 302"/>
                <a:gd name="T44" fmla="*/ 254 w 273"/>
                <a:gd name="T45" fmla="*/ 263 h 302"/>
                <a:gd name="T46" fmla="*/ 254 w 273"/>
                <a:gd name="T47" fmla="*/ 282 h 302"/>
                <a:gd name="T48" fmla="*/ 224 w 273"/>
                <a:gd name="T49" fmla="*/ 273 h 302"/>
                <a:gd name="T50" fmla="*/ 224 w 273"/>
                <a:gd name="T51" fmla="*/ 302 h 302"/>
                <a:gd name="T52" fmla="*/ 195 w 273"/>
                <a:gd name="T53" fmla="*/ 302 h 302"/>
                <a:gd name="T54" fmla="*/ 185 w 273"/>
                <a:gd name="T55" fmla="*/ 282 h 302"/>
                <a:gd name="T56" fmla="*/ 156 w 273"/>
                <a:gd name="T57" fmla="*/ 273 h 302"/>
                <a:gd name="T58" fmla="*/ 146 w 273"/>
                <a:gd name="T59" fmla="*/ 282 h 302"/>
                <a:gd name="T60" fmla="*/ 137 w 273"/>
                <a:gd name="T61" fmla="*/ 282 h 302"/>
                <a:gd name="T62" fmla="*/ 127 w 273"/>
                <a:gd name="T63" fmla="*/ 263 h 302"/>
                <a:gd name="T64" fmla="*/ 107 w 273"/>
                <a:gd name="T65" fmla="*/ 253 h 302"/>
                <a:gd name="T66" fmla="*/ 98 w 273"/>
                <a:gd name="T67" fmla="*/ 243 h 302"/>
                <a:gd name="T68" fmla="*/ 78 w 273"/>
                <a:gd name="T69" fmla="*/ 243 h 302"/>
                <a:gd name="T70" fmla="*/ 78 w 273"/>
                <a:gd name="T71" fmla="*/ 224 h 302"/>
                <a:gd name="T72" fmla="*/ 88 w 273"/>
                <a:gd name="T73" fmla="*/ 224 h 302"/>
                <a:gd name="T74" fmla="*/ 78 w 273"/>
                <a:gd name="T75" fmla="*/ 204 h 302"/>
                <a:gd name="T76" fmla="*/ 49 w 273"/>
                <a:gd name="T77" fmla="*/ 204 h 302"/>
                <a:gd name="T78" fmla="*/ 29 w 273"/>
                <a:gd name="T79" fmla="*/ 175 h 302"/>
                <a:gd name="T80" fmla="*/ 0 w 273"/>
                <a:gd name="T81" fmla="*/ 175 h 302"/>
                <a:gd name="T82" fmla="*/ 0 w 273"/>
                <a:gd name="T83" fmla="*/ 136 h 302"/>
                <a:gd name="T84" fmla="*/ 29 w 273"/>
                <a:gd name="T85" fmla="*/ 136 h 302"/>
                <a:gd name="T86" fmla="*/ 29 w 273"/>
                <a:gd name="T87" fmla="*/ 117 h 302"/>
                <a:gd name="T88" fmla="*/ 29 w 273"/>
                <a:gd name="T89" fmla="*/ 87 h 302"/>
                <a:gd name="T90" fmla="*/ 29 w 273"/>
                <a:gd name="T91" fmla="*/ 78 h 302"/>
                <a:gd name="T92" fmla="*/ 49 w 273"/>
                <a:gd name="T93" fmla="*/ 68 h 302"/>
                <a:gd name="T94" fmla="*/ 59 w 273"/>
                <a:gd name="T95" fmla="*/ 48 h 302"/>
                <a:gd name="T96" fmla="*/ 59 w 273"/>
                <a:gd name="T97" fmla="*/ 0 h 302"/>
                <a:gd name="T98" fmla="*/ 88 w 273"/>
                <a:gd name="T99" fmla="*/ 0 h 3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73"/>
                <a:gd name="T151" fmla="*/ 0 h 302"/>
                <a:gd name="T152" fmla="*/ 273 w 273"/>
                <a:gd name="T153" fmla="*/ 302 h 3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73" h="302">
                  <a:moveTo>
                    <a:pt x="88" y="0"/>
                  </a:moveTo>
                  <a:lnTo>
                    <a:pt x="117" y="29"/>
                  </a:lnTo>
                  <a:lnTo>
                    <a:pt x="137" y="2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66" y="87"/>
                  </a:lnTo>
                  <a:lnTo>
                    <a:pt x="185" y="117"/>
                  </a:lnTo>
                  <a:lnTo>
                    <a:pt x="195" y="117"/>
                  </a:lnTo>
                  <a:lnTo>
                    <a:pt x="205" y="117"/>
                  </a:lnTo>
                  <a:lnTo>
                    <a:pt x="215" y="107"/>
                  </a:lnTo>
                  <a:lnTo>
                    <a:pt x="224" y="117"/>
                  </a:lnTo>
                  <a:lnTo>
                    <a:pt x="234" y="126"/>
                  </a:lnTo>
                  <a:lnTo>
                    <a:pt x="244" y="146"/>
                  </a:lnTo>
                  <a:lnTo>
                    <a:pt x="254" y="156"/>
                  </a:lnTo>
                  <a:lnTo>
                    <a:pt x="273" y="156"/>
                  </a:lnTo>
                  <a:lnTo>
                    <a:pt x="273" y="195"/>
                  </a:lnTo>
                  <a:lnTo>
                    <a:pt x="263" y="195"/>
                  </a:lnTo>
                  <a:lnTo>
                    <a:pt x="263" y="214"/>
                  </a:lnTo>
                  <a:lnTo>
                    <a:pt x="254" y="234"/>
                  </a:lnTo>
                  <a:lnTo>
                    <a:pt x="263" y="234"/>
                  </a:lnTo>
                  <a:lnTo>
                    <a:pt x="263" y="263"/>
                  </a:lnTo>
                  <a:lnTo>
                    <a:pt x="254" y="263"/>
                  </a:lnTo>
                  <a:lnTo>
                    <a:pt x="254" y="282"/>
                  </a:lnTo>
                  <a:lnTo>
                    <a:pt x="224" y="273"/>
                  </a:lnTo>
                  <a:lnTo>
                    <a:pt x="224" y="302"/>
                  </a:lnTo>
                  <a:lnTo>
                    <a:pt x="195" y="302"/>
                  </a:lnTo>
                  <a:lnTo>
                    <a:pt x="185" y="282"/>
                  </a:lnTo>
                  <a:lnTo>
                    <a:pt x="156" y="273"/>
                  </a:lnTo>
                  <a:lnTo>
                    <a:pt x="146" y="282"/>
                  </a:lnTo>
                  <a:lnTo>
                    <a:pt x="137" y="282"/>
                  </a:lnTo>
                  <a:lnTo>
                    <a:pt x="127" y="263"/>
                  </a:lnTo>
                  <a:lnTo>
                    <a:pt x="107" y="253"/>
                  </a:lnTo>
                  <a:lnTo>
                    <a:pt x="98" y="243"/>
                  </a:lnTo>
                  <a:lnTo>
                    <a:pt x="78" y="243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78" y="204"/>
                  </a:lnTo>
                  <a:lnTo>
                    <a:pt x="49" y="204"/>
                  </a:lnTo>
                  <a:lnTo>
                    <a:pt x="29" y="175"/>
                  </a:lnTo>
                  <a:lnTo>
                    <a:pt x="0" y="175"/>
                  </a:lnTo>
                  <a:lnTo>
                    <a:pt x="0" y="13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87"/>
                  </a:lnTo>
                  <a:lnTo>
                    <a:pt x="29" y="78"/>
                  </a:lnTo>
                  <a:lnTo>
                    <a:pt x="49" y="68"/>
                  </a:lnTo>
                  <a:lnTo>
                    <a:pt x="59" y="48"/>
                  </a:lnTo>
                  <a:lnTo>
                    <a:pt x="59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Freeform 352"/>
            <p:cNvSpPr>
              <a:spLocks/>
            </p:cNvSpPr>
            <p:nvPr/>
          </p:nvSpPr>
          <p:spPr bwMode="auto">
            <a:xfrm>
              <a:off x="1902" y="2352"/>
              <a:ext cx="321" cy="232"/>
            </a:xfrm>
            <a:custGeom>
              <a:avLst/>
              <a:gdLst>
                <a:gd name="T0" fmla="*/ 78 w 322"/>
                <a:gd name="T1" fmla="*/ 69 h 235"/>
                <a:gd name="T2" fmla="*/ 68 w 322"/>
                <a:gd name="T3" fmla="*/ 88 h 235"/>
                <a:gd name="T4" fmla="*/ 68 w 322"/>
                <a:gd name="T5" fmla="*/ 108 h 235"/>
                <a:gd name="T6" fmla="*/ 59 w 322"/>
                <a:gd name="T7" fmla="*/ 137 h 235"/>
                <a:gd name="T8" fmla="*/ 39 w 322"/>
                <a:gd name="T9" fmla="*/ 147 h 235"/>
                <a:gd name="T10" fmla="*/ 0 w 322"/>
                <a:gd name="T11" fmla="*/ 176 h 235"/>
                <a:gd name="T12" fmla="*/ 20 w 322"/>
                <a:gd name="T13" fmla="*/ 186 h 235"/>
                <a:gd name="T14" fmla="*/ 49 w 322"/>
                <a:gd name="T15" fmla="*/ 215 h 235"/>
                <a:gd name="T16" fmla="*/ 68 w 322"/>
                <a:gd name="T17" fmla="*/ 235 h 235"/>
                <a:gd name="T18" fmla="*/ 107 w 322"/>
                <a:gd name="T19" fmla="*/ 235 h 235"/>
                <a:gd name="T20" fmla="*/ 107 w 322"/>
                <a:gd name="T21" fmla="*/ 215 h 235"/>
                <a:gd name="T22" fmla="*/ 98 w 322"/>
                <a:gd name="T23" fmla="*/ 205 h 235"/>
                <a:gd name="T24" fmla="*/ 117 w 322"/>
                <a:gd name="T25" fmla="*/ 186 h 235"/>
                <a:gd name="T26" fmla="*/ 156 w 322"/>
                <a:gd name="T27" fmla="*/ 186 h 235"/>
                <a:gd name="T28" fmla="*/ 176 w 322"/>
                <a:gd name="T29" fmla="*/ 186 h 235"/>
                <a:gd name="T30" fmla="*/ 195 w 322"/>
                <a:gd name="T31" fmla="*/ 186 h 235"/>
                <a:gd name="T32" fmla="*/ 234 w 322"/>
                <a:gd name="T33" fmla="*/ 205 h 235"/>
                <a:gd name="T34" fmla="*/ 273 w 322"/>
                <a:gd name="T35" fmla="*/ 235 h 235"/>
                <a:gd name="T36" fmla="*/ 293 w 322"/>
                <a:gd name="T37" fmla="*/ 215 h 235"/>
                <a:gd name="T38" fmla="*/ 322 w 322"/>
                <a:gd name="T39" fmla="*/ 205 h 235"/>
                <a:gd name="T40" fmla="*/ 322 w 322"/>
                <a:gd name="T41" fmla="*/ 186 h 235"/>
                <a:gd name="T42" fmla="*/ 322 w 322"/>
                <a:gd name="T43" fmla="*/ 137 h 235"/>
                <a:gd name="T44" fmla="*/ 302 w 322"/>
                <a:gd name="T45" fmla="*/ 117 h 235"/>
                <a:gd name="T46" fmla="*/ 273 w 322"/>
                <a:gd name="T47" fmla="*/ 127 h 235"/>
                <a:gd name="T48" fmla="*/ 254 w 322"/>
                <a:gd name="T49" fmla="*/ 108 h 235"/>
                <a:gd name="T50" fmla="*/ 224 w 322"/>
                <a:gd name="T51" fmla="*/ 88 h 235"/>
                <a:gd name="T52" fmla="*/ 205 w 322"/>
                <a:gd name="T53" fmla="*/ 69 h 235"/>
                <a:gd name="T54" fmla="*/ 195 w 322"/>
                <a:gd name="T55" fmla="*/ 39 h 235"/>
                <a:gd name="T56" fmla="*/ 185 w 322"/>
                <a:gd name="T57" fmla="*/ 20 h 235"/>
                <a:gd name="T58" fmla="*/ 166 w 322"/>
                <a:gd name="T59" fmla="*/ 0 h 235"/>
                <a:gd name="T60" fmla="*/ 146 w 322"/>
                <a:gd name="T61" fmla="*/ 39 h 235"/>
                <a:gd name="T62" fmla="*/ 117 w 322"/>
                <a:gd name="T63" fmla="*/ 39 h 23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2"/>
                <a:gd name="T97" fmla="*/ 0 h 235"/>
                <a:gd name="T98" fmla="*/ 322 w 322"/>
                <a:gd name="T99" fmla="*/ 235 h 23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2" h="235">
                  <a:moveTo>
                    <a:pt x="88" y="30"/>
                  </a:moveTo>
                  <a:lnTo>
                    <a:pt x="78" y="69"/>
                  </a:lnTo>
                  <a:lnTo>
                    <a:pt x="68" y="69"/>
                  </a:lnTo>
                  <a:lnTo>
                    <a:pt x="68" y="88"/>
                  </a:lnTo>
                  <a:lnTo>
                    <a:pt x="59" y="108"/>
                  </a:lnTo>
                  <a:lnTo>
                    <a:pt x="68" y="108"/>
                  </a:lnTo>
                  <a:lnTo>
                    <a:pt x="68" y="137"/>
                  </a:lnTo>
                  <a:lnTo>
                    <a:pt x="59" y="137"/>
                  </a:lnTo>
                  <a:lnTo>
                    <a:pt x="59" y="156"/>
                  </a:lnTo>
                  <a:lnTo>
                    <a:pt x="39" y="147"/>
                  </a:lnTo>
                  <a:lnTo>
                    <a:pt x="29" y="17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20" y="18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68" y="215"/>
                  </a:lnTo>
                  <a:lnTo>
                    <a:pt x="68" y="235"/>
                  </a:lnTo>
                  <a:lnTo>
                    <a:pt x="98" y="235"/>
                  </a:lnTo>
                  <a:lnTo>
                    <a:pt x="107" y="235"/>
                  </a:lnTo>
                  <a:lnTo>
                    <a:pt x="107" y="215"/>
                  </a:lnTo>
                  <a:lnTo>
                    <a:pt x="98" y="215"/>
                  </a:lnTo>
                  <a:lnTo>
                    <a:pt x="98" y="205"/>
                  </a:lnTo>
                  <a:lnTo>
                    <a:pt x="117" y="205"/>
                  </a:lnTo>
                  <a:lnTo>
                    <a:pt x="117" y="186"/>
                  </a:lnTo>
                  <a:lnTo>
                    <a:pt x="127" y="186"/>
                  </a:lnTo>
                  <a:lnTo>
                    <a:pt x="156" y="186"/>
                  </a:lnTo>
                  <a:lnTo>
                    <a:pt x="176" y="186"/>
                  </a:lnTo>
                  <a:lnTo>
                    <a:pt x="176" y="176"/>
                  </a:lnTo>
                  <a:lnTo>
                    <a:pt x="195" y="186"/>
                  </a:lnTo>
                  <a:lnTo>
                    <a:pt x="215" y="196"/>
                  </a:lnTo>
                  <a:lnTo>
                    <a:pt x="234" y="205"/>
                  </a:lnTo>
                  <a:lnTo>
                    <a:pt x="254" y="235"/>
                  </a:lnTo>
                  <a:lnTo>
                    <a:pt x="273" y="235"/>
                  </a:lnTo>
                  <a:lnTo>
                    <a:pt x="273" y="215"/>
                  </a:lnTo>
                  <a:lnTo>
                    <a:pt x="293" y="215"/>
                  </a:lnTo>
                  <a:lnTo>
                    <a:pt x="312" y="215"/>
                  </a:lnTo>
                  <a:lnTo>
                    <a:pt x="322" y="205"/>
                  </a:lnTo>
                  <a:lnTo>
                    <a:pt x="322" y="196"/>
                  </a:lnTo>
                  <a:lnTo>
                    <a:pt x="322" y="186"/>
                  </a:lnTo>
                  <a:lnTo>
                    <a:pt x="322" y="156"/>
                  </a:lnTo>
                  <a:lnTo>
                    <a:pt x="322" y="137"/>
                  </a:lnTo>
                  <a:lnTo>
                    <a:pt x="322" y="127"/>
                  </a:lnTo>
                  <a:lnTo>
                    <a:pt x="302" y="117"/>
                  </a:lnTo>
                  <a:lnTo>
                    <a:pt x="283" y="117"/>
                  </a:lnTo>
                  <a:lnTo>
                    <a:pt x="273" y="127"/>
                  </a:lnTo>
                  <a:lnTo>
                    <a:pt x="263" y="117"/>
                  </a:lnTo>
                  <a:lnTo>
                    <a:pt x="254" y="108"/>
                  </a:lnTo>
                  <a:lnTo>
                    <a:pt x="244" y="88"/>
                  </a:lnTo>
                  <a:lnTo>
                    <a:pt x="224" y="88"/>
                  </a:lnTo>
                  <a:lnTo>
                    <a:pt x="224" y="69"/>
                  </a:lnTo>
                  <a:lnTo>
                    <a:pt x="205" y="69"/>
                  </a:lnTo>
                  <a:lnTo>
                    <a:pt x="185" y="69"/>
                  </a:lnTo>
                  <a:lnTo>
                    <a:pt x="195" y="39"/>
                  </a:lnTo>
                  <a:lnTo>
                    <a:pt x="195" y="30"/>
                  </a:lnTo>
                  <a:lnTo>
                    <a:pt x="185" y="20"/>
                  </a:lnTo>
                  <a:lnTo>
                    <a:pt x="185" y="10"/>
                  </a:lnTo>
                  <a:lnTo>
                    <a:pt x="166" y="0"/>
                  </a:lnTo>
                  <a:lnTo>
                    <a:pt x="166" y="20"/>
                  </a:lnTo>
                  <a:lnTo>
                    <a:pt x="146" y="3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88" y="3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Freeform 351"/>
            <p:cNvSpPr>
              <a:spLocks/>
            </p:cNvSpPr>
            <p:nvPr/>
          </p:nvSpPr>
          <p:spPr bwMode="auto">
            <a:xfrm>
              <a:off x="1989" y="2527"/>
              <a:ext cx="352" cy="285"/>
            </a:xfrm>
            <a:custGeom>
              <a:avLst/>
              <a:gdLst>
                <a:gd name="T0" fmla="*/ 19 w 351"/>
                <a:gd name="T1" fmla="*/ 59 h 283"/>
                <a:gd name="T2" fmla="*/ 19 w 351"/>
                <a:gd name="T3" fmla="*/ 39 h 283"/>
                <a:gd name="T4" fmla="*/ 10 w 351"/>
                <a:gd name="T5" fmla="*/ 29 h 283"/>
                <a:gd name="T6" fmla="*/ 29 w 351"/>
                <a:gd name="T7" fmla="*/ 10 h 283"/>
                <a:gd name="T8" fmla="*/ 68 w 351"/>
                <a:gd name="T9" fmla="*/ 0 h 283"/>
                <a:gd name="T10" fmla="*/ 88 w 351"/>
                <a:gd name="T11" fmla="*/ 10 h 283"/>
                <a:gd name="T12" fmla="*/ 107 w 351"/>
                <a:gd name="T13" fmla="*/ 0 h 283"/>
                <a:gd name="T14" fmla="*/ 146 w 351"/>
                <a:gd name="T15" fmla="*/ 29 h 283"/>
                <a:gd name="T16" fmla="*/ 185 w 351"/>
                <a:gd name="T17" fmla="*/ 59 h 283"/>
                <a:gd name="T18" fmla="*/ 205 w 351"/>
                <a:gd name="T19" fmla="*/ 39 h 283"/>
                <a:gd name="T20" fmla="*/ 234 w 351"/>
                <a:gd name="T21" fmla="*/ 29 h 283"/>
                <a:gd name="T22" fmla="*/ 244 w 351"/>
                <a:gd name="T23" fmla="*/ 0 h 283"/>
                <a:gd name="T24" fmla="*/ 253 w 351"/>
                <a:gd name="T25" fmla="*/ 39 h 283"/>
                <a:gd name="T26" fmla="*/ 273 w 351"/>
                <a:gd name="T27" fmla="*/ 59 h 283"/>
                <a:gd name="T28" fmla="*/ 292 w 351"/>
                <a:gd name="T29" fmla="*/ 39 h 283"/>
                <a:gd name="T30" fmla="*/ 322 w 351"/>
                <a:gd name="T31" fmla="*/ 59 h 283"/>
                <a:gd name="T32" fmla="*/ 322 w 351"/>
                <a:gd name="T33" fmla="*/ 117 h 283"/>
                <a:gd name="T34" fmla="*/ 351 w 351"/>
                <a:gd name="T35" fmla="*/ 117 h 283"/>
                <a:gd name="T36" fmla="*/ 341 w 351"/>
                <a:gd name="T37" fmla="*/ 127 h 283"/>
                <a:gd name="T38" fmla="*/ 322 w 351"/>
                <a:gd name="T39" fmla="*/ 166 h 283"/>
                <a:gd name="T40" fmla="*/ 273 w 351"/>
                <a:gd name="T41" fmla="*/ 185 h 283"/>
                <a:gd name="T42" fmla="*/ 263 w 351"/>
                <a:gd name="T43" fmla="*/ 224 h 283"/>
                <a:gd name="T44" fmla="*/ 224 w 351"/>
                <a:gd name="T45" fmla="*/ 234 h 283"/>
                <a:gd name="T46" fmla="*/ 175 w 351"/>
                <a:gd name="T47" fmla="*/ 254 h 283"/>
                <a:gd name="T48" fmla="*/ 156 w 351"/>
                <a:gd name="T49" fmla="*/ 254 h 283"/>
                <a:gd name="T50" fmla="*/ 136 w 351"/>
                <a:gd name="T51" fmla="*/ 283 h 283"/>
                <a:gd name="T52" fmla="*/ 78 w 351"/>
                <a:gd name="T53" fmla="*/ 283 h 283"/>
                <a:gd name="T54" fmla="*/ 49 w 351"/>
                <a:gd name="T55" fmla="*/ 234 h 283"/>
                <a:gd name="T56" fmla="*/ 39 w 351"/>
                <a:gd name="T57" fmla="*/ 195 h 283"/>
                <a:gd name="T58" fmla="*/ 29 w 351"/>
                <a:gd name="T59" fmla="*/ 156 h 283"/>
                <a:gd name="T60" fmla="*/ 39 w 351"/>
                <a:gd name="T61" fmla="*/ 146 h 283"/>
                <a:gd name="T62" fmla="*/ 19 w 351"/>
                <a:gd name="T63" fmla="*/ 127 h 283"/>
                <a:gd name="T64" fmla="*/ 29 w 351"/>
                <a:gd name="T65" fmla="*/ 107 h 283"/>
                <a:gd name="T66" fmla="*/ 29 w 351"/>
                <a:gd name="T67" fmla="*/ 98 h 283"/>
                <a:gd name="T68" fmla="*/ 0 w 351"/>
                <a:gd name="T69" fmla="*/ 59 h 2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1"/>
                <a:gd name="T106" fmla="*/ 0 h 283"/>
                <a:gd name="T107" fmla="*/ 351 w 351"/>
                <a:gd name="T108" fmla="*/ 283 h 28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1" h="283">
                  <a:moveTo>
                    <a:pt x="0" y="59"/>
                  </a:moveTo>
                  <a:lnTo>
                    <a:pt x="19" y="59"/>
                  </a:lnTo>
                  <a:lnTo>
                    <a:pt x="19" y="39"/>
                  </a:lnTo>
                  <a:lnTo>
                    <a:pt x="10" y="39"/>
                  </a:lnTo>
                  <a:lnTo>
                    <a:pt x="10" y="29"/>
                  </a:lnTo>
                  <a:lnTo>
                    <a:pt x="29" y="20"/>
                  </a:lnTo>
                  <a:lnTo>
                    <a:pt x="29" y="10"/>
                  </a:lnTo>
                  <a:lnTo>
                    <a:pt x="39" y="0"/>
                  </a:lnTo>
                  <a:lnTo>
                    <a:pt x="68" y="0"/>
                  </a:lnTo>
                  <a:lnTo>
                    <a:pt x="68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27" y="20"/>
                  </a:lnTo>
                  <a:lnTo>
                    <a:pt x="146" y="29"/>
                  </a:lnTo>
                  <a:lnTo>
                    <a:pt x="166" y="5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205" y="39"/>
                  </a:lnTo>
                  <a:lnTo>
                    <a:pt x="224" y="39"/>
                  </a:lnTo>
                  <a:lnTo>
                    <a:pt x="234" y="29"/>
                  </a:lnTo>
                  <a:lnTo>
                    <a:pt x="244" y="20"/>
                  </a:lnTo>
                  <a:lnTo>
                    <a:pt x="244" y="0"/>
                  </a:lnTo>
                  <a:lnTo>
                    <a:pt x="244" y="20"/>
                  </a:lnTo>
                  <a:lnTo>
                    <a:pt x="253" y="39"/>
                  </a:lnTo>
                  <a:lnTo>
                    <a:pt x="273" y="39"/>
                  </a:lnTo>
                  <a:lnTo>
                    <a:pt x="273" y="59"/>
                  </a:lnTo>
                  <a:lnTo>
                    <a:pt x="292" y="59"/>
                  </a:lnTo>
                  <a:lnTo>
                    <a:pt x="292" y="39"/>
                  </a:lnTo>
                  <a:lnTo>
                    <a:pt x="312" y="49"/>
                  </a:lnTo>
                  <a:lnTo>
                    <a:pt x="322" y="59"/>
                  </a:lnTo>
                  <a:lnTo>
                    <a:pt x="322" y="88"/>
                  </a:lnTo>
                  <a:lnTo>
                    <a:pt x="322" y="117"/>
                  </a:lnTo>
                  <a:lnTo>
                    <a:pt x="341" y="107"/>
                  </a:lnTo>
                  <a:lnTo>
                    <a:pt x="351" y="117"/>
                  </a:lnTo>
                  <a:lnTo>
                    <a:pt x="351" y="127"/>
                  </a:lnTo>
                  <a:lnTo>
                    <a:pt x="341" y="127"/>
                  </a:lnTo>
                  <a:lnTo>
                    <a:pt x="331" y="137"/>
                  </a:lnTo>
                  <a:lnTo>
                    <a:pt x="322" y="166"/>
                  </a:lnTo>
                  <a:lnTo>
                    <a:pt x="302" y="176"/>
                  </a:lnTo>
                  <a:lnTo>
                    <a:pt x="273" y="185"/>
                  </a:lnTo>
                  <a:lnTo>
                    <a:pt x="273" y="195"/>
                  </a:lnTo>
                  <a:lnTo>
                    <a:pt x="263" y="224"/>
                  </a:lnTo>
                  <a:lnTo>
                    <a:pt x="253" y="234"/>
                  </a:lnTo>
                  <a:lnTo>
                    <a:pt x="224" y="234"/>
                  </a:lnTo>
                  <a:lnTo>
                    <a:pt x="195" y="234"/>
                  </a:lnTo>
                  <a:lnTo>
                    <a:pt x="175" y="254"/>
                  </a:lnTo>
                  <a:lnTo>
                    <a:pt x="166" y="244"/>
                  </a:lnTo>
                  <a:lnTo>
                    <a:pt x="156" y="254"/>
                  </a:lnTo>
                  <a:lnTo>
                    <a:pt x="156" y="263"/>
                  </a:lnTo>
                  <a:lnTo>
                    <a:pt x="136" y="283"/>
                  </a:lnTo>
                  <a:lnTo>
                    <a:pt x="107" y="283"/>
                  </a:lnTo>
                  <a:lnTo>
                    <a:pt x="78" y="283"/>
                  </a:lnTo>
                  <a:lnTo>
                    <a:pt x="58" y="283"/>
                  </a:lnTo>
                  <a:lnTo>
                    <a:pt x="49" y="234"/>
                  </a:lnTo>
                  <a:lnTo>
                    <a:pt x="39" y="205"/>
                  </a:lnTo>
                  <a:lnTo>
                    <a:pt x="39" y="195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46"/>
                  </a:lnTo>
                  <a:lnTo>
                    <a:pt x="39" y="146"/>
                  </a:lnTo>
                  <a:lnTo>
                    <a:pt x="39" y="137"/>
                  </a:lnTo>
                  <a:lnTo>
                    <a:pt x="19" y="127"/>
                  </a:lnTo>
                  <a:lnTo>
                    <a:pt x="29" y="10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10" y="78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Freeform 350"/>
            <p:cNvSpPr>
              <a:spLocks/>
            </p:cNvSpPr>
            <p:nvPr/>
          </p:nvSpPr>
          <p:spPr bwMode="auto">
            <a:xfrm>
              <a:off x="1590" y="2370"/>
              <a:ext cx="459" cy="500"/>
            </a:xfrm>
            <a:custGeom>
              <a:avLst/>
              <a:gdLst>
                <a:gd name="T0" fmla="*/ 322 w 458"/>
                <a:gd name="T1" fmla="*/ 166 h 497"/>
                <a:gd name="T2" fmla="*/ 332 w 458"/>
                <a:gd name="T3" fmla="*/ 185 h 497"/>
                <a:gd name="T4" fmla="*/ 380 w 458"/>
                <a:gd name="T5" fmla="*/ 195 h 497"/>
                <a:gd name="T6" fmla="*/ 400 w 458"/>
                <a:gd name="T7" fmla="*/ 224 h 497"/>
                <a:gd name="T8" fmla="*/ 429 w 458"/>
                <a:gd name="T9" fmla="*/ 254 h 497"/>
                <a:gd name="T10" fmla="*/ 429 w 458"/>
                <a:gd name="T11" fmla="*/ 273 h 497"/>
                <a:gd name="T12" fmla="*/ 419 w 458"/>
                <a:gd name="T13" fmla="*/ 283 h 497"/>
                <a:gd name="T14" fmla="*/ 429 w 458"/>
                <a:gd name="T15" fmla="*/ 302 h 497"/>
                <a:gd name="T16" fmla="*/ 429 w 458"/>
                <a:gd name="T17" fmla="*/ 322 h 497"/>
                <a:gd name="T18" fmla="*/ 439 w 458"/>
                <a:gd name="T19" fmla="*/ 351 h 497"/>
                <a:gd name="T20" fmla="*/ 449 w 458"/>
                <a:gd name="T21" fmla="*/ 400 h 497"/>
                <a:gd name="T22" fmla="*/ 439 w 458"/>
                <a:gd name="T23" fmla="*/ 449 h 497"/>
                <a:gd name="T24" fmla="*/ 429 w 458"/>
                <a:gd name="T25" fmla="*/ 439 h 497"/>
                <a:gd name="T26" fmla="*/ 390 w 458"/>
                <a:gd name="T27" fmla="*/ 449 h 497"/>
                <a:gd name="T28" fmla="*/ 351 w 458"/>
                <a:gd name="T29" fmla="*/ 439 h 497"/>
                <a:gd name="T30" fmla="*/ 341 w 458"/>
                <a:gd name="T31" fmla="*/ 429 h 497"/>
                <a:gd name="T32" fmla="*/ 322 w 458"/>
                <a:gd name="T33" fmla="*/ 439 h 497"/>
                <a:gd name="T34" fmla="*/ 283 w 458"/>
                <a:gd name="T35" fmla="*/ 439 h 497"/>
                <a:gd name="T36" fmla="*/ 273 w 458"/>
                <a:gd name="T37" fmla="*/ 439 h 497"/>
                <a:gd name="T38" fmla="*/ 254 w 458"/>
                <a:gd name="T39" fmla="*/ 419 h 497"/>
                <a:gd name="T40" fmla="*/ 234 w 458"/>
                <a:gd name="T41" fmla="*/ 429 h 497"/>
                <a:gd name="T42" fmla="*/ 215 w 458"/>
                <a:gd name="T43" fmla="*/ 468 h 497"/>
                <a:gd name="T44" fmla="*/ 215 w 458"/>
                <a:gd name="T45" fmla="*/ 497 h 497"/>
                <a:gd name="T46" fmla="*/ 166 w 458"/>
                <a:gd name="T47" fmla="*/ 468 h 497"/>
                <a:gd name="T48" fmla="*/ 176 w 458"/>
                <a:gd name="T49" fmla="*/ 439 h 497"/>
                <a:gd name="T50" fmla="*/ 176 w 458"/>
                <a:gd name="T51" fmla="*/ 390 h 497"/>
                <a:gd name="T52" fmla="*/ 156 w 458"/>
                <a:gd name="T53" fmla="*/ 380 h 497"/>
                <a:gd name="T54" fmla="*/ 146 w 458"/>
                <a:gd name="T55" fmla="*/ 361 h 497"/>
                <a:gd name="T56" fmla="*/ 136 w 458"/>
                <a:gd name="T57" fmla="*/ 351 h 497"/>
                <a:gd name="T58" fmla="*/ 136 w 458"/>
                <a:gd name="T59" fmla="*/ 312 h 497"/>
                <a:gd name="T60" fmla="*/ 107 w 458"/>
                <a:gd name="T61" fmla="*/ 322 h 497"/>
                <a:gd name="T62" fmla="*/ 107 w 458"/>
                <a:gd name="T63" fmla="*/ 293 h 497"/>
                <a:gd name="T64" fmla="*/ 97 w 458"/>
                <a:gd name="T65" fmla="*/ 273 h 497"/>
                <a:gd name="T66" fmla="*/ 58 w 458"/>
                <a:gd name="T67" fmla="*/ 263 h 497"/>
                <a:gd name="T68" fmla="*/ 78 w 458"/>
                <a:gd name="T69" fmla="*/ 234 h 497"/>
                <a:gd name="T70" fmla="*/ 97 w 458"/>
                <a:gd name="T71" fmla="*/ 176 h 497"/>
                <a:gd name="T72" fmla="*/ 58 w 458"/>
                <a:gd name="T73" fmla="*/ 156 h 497"/>
                <a:gd name="T74" fmla="*/ 49 w 458"/>
                <a:gd name="T75" fmla="*/ 136 h 497"/>
                <a:gd name="T76" fmla="*/ 29 w 458"/>
                <a:gd name="T77" fmla="*/ 127 h 497"/>
                <a:gd name="T78" fmla="*/ 10 w 458"/>
                <a:gd name="T79" fmla="*/ 117 h 497"/>
                <a:gd name="T80" fmla="*/ 0 w 458"/>
                <a:gd name="T81" fmla="*/ 78 h 497"/>
                <a:gd name="T82" fmla="*/ 19 w 458"/>
                <a:gd name="T83" fmla="*/ 49 h 497"/>
                <a:gd name="T84" fmla="*/ 39 w 458"/>
                <a:gd name="T85" fmla="*/ 29 h 497"/>
                <a:gd name="T86" fmla="*/ 68 w 458"/>
                <a:gd name="T87" fmla="*/ 19 h 497"/>
                <a:gd name="T88" fmla="*/ 88 w 458"/>
                <a:gd name="T89" fmla="*/ 0 h 497"/>
                <a:gd name="T90" fmla="*/ 117 w 458"/>
                <a:gd name="T91" fmla="*/ 0 h 497"/>
                <a:gd name="T92" fmla="*/ 146 w 458"/>
                <a:gd name="T93" fmla="*/ 39 h 497"/>
                <a:gd name="T94" fmla="*/ 195 w 458"/>
                <a:gd name="T95" fmla="*/ 58 h 497"/>
                <a:gd name="T96" fmla="*/ 195 w 458"/>
                <a:gd name="T97" fmla="*/ 88 h 497"/>
                <a:gd name="T98" fmla="*/ 215 w 458"/>
                <a:gd name="T99" fmla="*/ 97 h 497"/>
                <a:gd name="T100" fmla="*/ 244 w 458"/>
                <a:gd name="T101" fmla="*/ 117 h 497"/>
                <a:gd name="T102" fmla="*/ 263 w 458"/>
                <a:gd name="T103" fmla="*/ 146 h 497"/>
                <a:gd name="T104" fmla="*/ 302 w 458"/>
                <a:gd name="T105" fmla="*/ 146 h 49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58"/>
                <a:gd name="T160" fmla="*/ 0 h 497"/>
                <a:gd name="T161" fmla="*/ 458 w 458"/>
                <a:gd name="T162" fmla="*/ 497 h 49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58" h="497">
                  <a:moveTo>
                    <a:pt x="312" y="156"/>
                  </a:moveTo>
                  <a:lnTo>
                    <a:pt x="322" y="166"/>
                  </a:lnTo>
                  <a:lnTo>
                    <a:pt x="332" y="176"/>
                  </a:lnTo>
                  <a:lnTo>
                    <a:pt x="332" y="185"/>
                  </a:lnTo>
                  <a:lnTo>
                    <a:pt x="361" y="205"/>
                  </a:lnTo>
                  <a:lnTo>
                    <a:pt x="380" y="195"/>
                  </a:lnTo>
                  <a:lnTo>
                    <a:pt x="380" y="215"/>
                  </a:lnTo>
                  <a:lnTo>
                    <a:pt x="400" y="224"/>
                  </a:lnTo>
                  <a:lnTo>
                    <a:pt x="410" y="234"/>
                  </a:lnTo>
                  <a:lnTo>
                    <a:pt x="429" y="254"/>
                  </a:lnTo>
                  <a:lnTo>
                    <a:pt x="419" y="263"/>
                  </a:lnTo>
                  <a:lnTo>
                    <a:pt x="429" y="273"/>
                  </a:lnTo>
                  <a:lnTo>
                    <a:pt x="419" y="283"/>
                  </a:lnTo>
                  <a:lnTo>
                    <a:pt x="429" y="293"/>
                  </a:lnTo>
                  <a:lnTo>
                    <a:pt x="429" y="302"/>
                  </a:lnTo>
                  <a:lnTo>
                    <a:pt x="429" y="322"/>
                  </a:lnTo>
                  <a:lnTo>
                    <a:pt x="439" y="322"/>
                  </a:lnTo>
                  <a:lnTo>
                    <a:pt x="439" y="351"/>
                  </a:lnTo>
                  <a:lnTo>
                    <a:pt x="439" y="361"/>
                  </a:lnTo>
                  <a:lnTo>
                    <a:pt x="449" y="400"/>
                  </a:lnTo>
                  <a:lnTo>
                    <a:pt x="458" y="439"/>
                  </a:lnTo>
                  <a:lnTo>
                    <a:pt x="439" y="449"/>
                  </a:lnTo>
                  <a:lnTo>
                    <a:pt x="439" y="439"/>
                  </a:lnTo>
                  <a:lnTo>
                    <a:pt x="429" y="439"/>
                  </a:lnTo>
                  <a:lnTo>
                    <a:pt x="419" y="449"/>
                  </a:lnTo>
                  <a:lnTo>
                    <a:pt x="390" y="449"/>
                  </a:lnTo>
                  <a:lnTo>
                    <a:pt x="380" y="439"/>
                  </a:lnTo>
                  <a:lnTo>
                    <a:pt x="351" y="439"/>
                  </a:lnTo>
                  <a:lnTo>
                    <a:pt x="341" y="439"/>
                  </a:lnTo>
                  <a:lnTo>
                    <a:pt x="341" y="429"/>
                  </a:lnTo>
                  <a:lnTo>
                    <a:pt x="332" y="429"/>
                  </a:lnTo>
                  <a:lnTo>
                    <a:pt x="322" y="439"/>
                  </a:lnTo>
                  <a:lnTo>
                    <a:pt x="312" y="439"/>
                  </a:lnTo>
                  <a:lnTo>
                    <a:pt x="283" y="439"/>
                  </a:lnTo>
                  <a:lnTo>
                    <a:pt x="273" y="439"/>
                  </a:lnTo>
                  <a:lnTo>
                    <a:pt x="254" y="439"/>
                  </a:lnTo>
                  <a:lnTo>
                    <a:pt x="254" y="419"/>
                  </a:lnTo>
                  <a:lnTo>
                    <a:pt x="234" y="429"/>
                  </a:lnTo>
                  <a:lnTo>
                    <a:pt x="224" y="439"/>
                  </a:lnTo>
                  <a:lnTo>
                    <a:pt x="215" y="468"/>
                  </a:lnTo>
                  <a:lnTo>
                    <a:pt x="205" y="468"/>
                  </a:lnTo>
                  <a:lnTo>
                    <a:pt x="215" y="497"/>
                  </a:lnTo>
                  <a:lnTo>
                    <a:pt x="166" y="478"/>
                  </a:lnTo>
                  <a:lnTo>
                    <a:pt x="166" y="468"/>
                  </a:lnTo>
                  <a:lnTo>
                    <a:pt x="176" y="458"/>
                  </a:lnTo>
                  <a:lnTo>
                    <a:pt x="176" y="439"/>
                  </a:lnTo>
                  <a:lnTo>
                    <a:pt x="176" y="410"/>
                  </a:lnTo>
                  <a:lnTo>
                    <a:pt x="176" y="390"/>
                  </a:lnTo>
                  <a:lnTo>
                    <a:pt x="166" y="380"/>
                  </a:lnTo>
                  <a:lnTo>
                    <a:pt x="156" y="380"/>
                  </a:lnTo>
                  <a:lnTo>
                    <a:pt x="146" y="371"/>
                  </a:lnTo>
                  <a:lnTo>
                    <a:pt x="146" y="361"/>
                  </a:lnTo>
                  <a:lnTo>
                    <a:pt x="146" y="351"/>
                  </a:lnTo>
                  <a:lnTo>
                    <a:pt x="136" y="351"/>
                  </a:lnTo>
                  <a:lnTo>
                    <a:pt x="146" y="332"/>
                  </a:lnTo>
                  <a:lnTo>
                    <a:pt x="136" y="312"/>
                  </a:lnTo>
                  <a:lnTo>
                    <a:pt x="117" y="322"/>
                  </a:lnTo>
                  <a:lnTo>
                    <a:pt x="107" y="322"/>
                  </a:lnTo>
                  <a:lnTo>
                    <a:pt x="97" y="302"/>
                  </a:lnTo>
                  <a:lnTo>
                    <a:pt x="107" y="293"/>
                  </a:lnTo>
                  <a:lnTo>
                    <a:pt x="107" y="283"/>
                  </a:lnTo>
                  <a:lnTo>
                    <a:pt x="97" y="273"/>
                  </a:lnTo>
                  <a:lnTo>
                    <a:pt x="78" y="283"/>
                  </a:lnTo>
                  <a:lnTo>
                    <a:pt x="58" y="263"/>
                  </a:lnTo>
                  <a:lnTo>
                    <a:pt x="58" y="254"/>
                  </a:lnTo>
                  <a:lnTo>
                    <a:pt x="78" y="234"/>
                  </a:lnTo>
                  <a:lnTo>
                    <a:pt x="107" y="195"/>
                  </a:lnTo>
                  <a:lnTo>
                    <a:pt x="97" y="176"/>
                  </a:lnTo>
                  <a:lnTo>
                    <a:pt x="68" y="146"/>
                  </a:lnTo>
                  <a:lnTo>
                    <a:pt x="58" y="156"/>
                  </a:lnTo>
                  <a:lnTo>
                    <a:pt x="39" y="146"/>
                  </a:lnTo>
                  <a:lnTo>
                    <a:pt x="49" y="136"/>
                  </a:lnTo>
                  <a:lnTo>
                    <a:pt x="58" y="136"/>
                  </a:lnTo>
                  <a:lnTo>
                    <a:pt x="29" y="127"/>
                  </a:lnTo>
                  <a:lnTo>
                    <a:pt x="19" y="127"/>
                  </a:lnTo>
                  <a:lnTo>
                    <a:pt x="10" y="117"/>
                  </a:lnTo>
                  <a:lnTo>
                    <a:pt x="10" y="97"/>
                  </a:lnTo>
                  <a:lnTo>
                    <a:pt x="0" y="78"/>
                  </a:lnTo>
                  <a:lnTo>
                    <a:pt x="19" y="58"/>
                  </a:lnTo>
                  <a:lnTo>
                    <a:pt x="19" y="49"/>
                  </a:lnTo>
                  <a:lnTo>
                    <a:pt x="29" y="29"/>
                  </a:lnTo>
                  <a:lnTo>
                    <a:pt x="39" y="29"/>
                  </a:lnTo>
                  <a:lnTo>
                    <a:pt x="58" y="29"/>
                  </a:lnTo>
                  <a:lnTo>
                    <a:pt x="68" y="19"/>
                  </a:lnTo>
                  <a:lnTo>
                    <a:pt x="78" y="19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17" y="0"/>
                  </a:lnTo>
                  <a:lnTo>
                    <a:pt x="117" y="29"/>
                  </a:lnTo>
                  <a:lnTo>
                    <a:pt x="146" y="39"/>
                  </a:lnTo>
                  <a:lnTo>
                    <a:pt x="166" y="68"/>
                  </a:lnTo>
                  <a:lnTo>
                    <a:pt x="195" y="58"/>
                  </a:lnTo>
                  <a:lnTo>
                    <a:pt x="205" y="78"/>
                  </a:lnTo>
                  <a:lnTo>
                    <a:pt x="195" y="88"/>
                  </a:lnTo>
                  <a:lnTo>
                    <a:pt x="195" y="107"/>
                  </a:lnTo>
                  <a:lnTo>
                    <a:pt x="215" y="97"/>
                  </a:lnTo>
                  <a:lnTo>
                    <a:pt x="224" y="117"/>
                  </a:lnTo>
                  <a:lnTo>
                    <a:pt x="244" y="117"/>
                  </a:lnTo>
                  <a:lnTo>
                    <a:pt x="254" y="146"/>
                  </a:lnTo>
                  <a:lnTo>
                    <a:pt x="263" y="146"/>
                  </a:lnTo>
                  <a:lnTo>
                    <a:pt x="273" y="127"/>
                  </a:lnTo>
                  <a:lnTo>
                    <a:pt x="302" y="146"/>
                  </a:lnTo>
                  <a:lnTo>
                    <a:pt x="312" y="156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Freeform 349"/>
            <p:cNvSpPr>
              <a:spLocks/>
            </p:cNvSpPr>
            <p:nvPr/>
          </p:nvSpPr>
          <p:spPr bwMode="auto">
            <a:xfrm>
              <a:off x="712" y="2477"/>
              <a:ext cx="332" cy="430"/>
            </a:xfrm>
            <a:custGeom>
              <a:avLst/>
              <a:gdLst>
                <a:gd name="T0" fmla="*/ 215 w 332"/>
                <a:gd name="T1" fmla="*/ 361 h 430"/>
                <a:gd name="T2" fmla="*/ 234 w 332"/>
                <a:gd name="T3" fmla="*/ 351 h 430"/>
                <a:gd name="T4" fmla="*/ 244 w 332"/>
                <a:gd name="T5" fmla="*/ 303 h 430"/>
                <a:gd name="T6" fmla="*/ 263 w 332"/>
                <a:gd name="T7" fmla="*/ 283 h 430"/>
                <a:gd name="T8" fmla="*/ 283 w 332"/>
                <a:gd name="T9" fmla="*/ 273 h 430"/>
                <a:gd name="T10" fmla="*/ 312 w 332"/>
                <a:gd name="T11" fmla="*/ 244 h 430"/>
                <a:gd name="T12" fmla="*/ 322 w 332"/>
                <a:gd name="T13" fmla="*/ 215 h 430"/>
                <a:gd name="T14" fmla="*/ 302 w 332"/>
                <a:gd name="T15" fmla="*/ 176 h 430"/>
                <a:gd name="T16" fmla="*/ 322 w 332"/>
                <a:gd name="T17" fmla="*/ 117 h 430"/>
                <a:gd name="T18" fmla="*/ 273 w 332"/>
                <a:gd name="T19" fmla="*/ 108 h 430"/>
                <a:gd name="T20" fmla="*/ 273 w 332"/>
                <a:gd name="T21" fmla="*/ 69 h 430"/>
                <a:gd name="T22" fmla="*/ 263 w 332"/>
                <a:gd name="T23" fmla="*/ 29 h 430"/>
                <a:gd name="T24" fmla="*/ 234 w 332"/>
                <a:gd name="T25" fmla="*/ 39 h 430"/>
                <a:gd name="T26" fmla="*/ 215 w 332"/>
                <a:gd name="T27" fmla="*/ 20 h 430"/>
                <a:gd name="T28" fmla="*/ 195 w 332"/>
                <a:gd name="T29" fmla="*/ 10 h 430"/>
                <a:gd name="T30" fmla="*/ 176 w 332"/>
                <a:gd name="T31" fmla="*/ 39 h 430"/>
                <a:gd name="T32" fmla="*/ 185 w 332"/>
                <a:gd name="T33" fmla="*/ 88 h 430"/>
                <a:gd name="T34" fmla="*/ 176 w 332"/>
                <a:gd name="T35" fmla="*/ 69 h 430"/>
                <a:gd name="T36" fmla="*/ 156 w 332"/>
                <a:gd name="T37" fmla="*/ 59 h 430"/>
                <a:gd name="T38" fmla="*/ 117 w 332"/>
                <a:gd name="T39" fmla="*/ 69 h 430"/>
                <a:gd name="T40" fmla="*/ 98 w 332"/>
                <a:gd name="T41" fmla="*/ 69 h 430"/>
                <a:gd name="T42" fmla="*/ 68 w 332"/>
                <a:gd name="T43" fmla="*/ 88 h 430"/>
                <a:gd name="T44" fmla="*/ 59 w 332"/>
                <a:gd name="T45" fmla="*/ 59 h 430"/>
                <a:gd name="T46" fmla="*/ 49 w 332"/>
                <a:gd name="T47" fmla="*/ 49 h 430"/>
                <a:gd name="T48" fmla="*/ 29 w 332"/>
                <a:gd name="T49" fmla="*/ 29 h 430"/>
                <a:gd name="T50" fmla="*/ 10 w 332"/>
                <a:gd name="T51" fmla="*/ 29 h 430"/>
                <a:gd name="T52" fmla="*/ 10 w 332"/>
                <a:gd name="T53" fmla="*/ 49 h 430"/>
                <a:gd name="T54" fmla="*/ 10 w 332"/>
                <a:gd name="T55" fmla="*/ 88 h 430"/>
                <a:gd name="T56" fmla="*/ 0 w 332"/>
                <a:gd name="T57" fmla="*/ 127 h 430"/>
                <a:gd name="T58" fmla="*/ 10 w 332"/>
                <a:gd name="T59" fmla="*/ 166 h 430"/>
                <a:gd name="T60" fmla="*/ 20 w 332"/>
                <a:gd name="T61" fmla="*/ 205 h 430"/>
                <a:gd name="T62" fmla="*/ 20 w 332"/>
                <a:gd name="T63" fmla="*/ 254 h 430"/>
                <a:gd name="T64" fmla="*/ 20 w 332"/>
                <a:gd name="T65" fmla="*/ 322 h 430"/>
                <a:gd name="T66" fmla="*/ 10 w 332"/>
                <a:gd name="T67" fmla="*/ 361 h 430"/>
                <a:gd name="T68" fmla="*/ 39 w 332"/>
                <a:gd name="T69" fmla="*/ 361 h 430"/>
                <a:gd name="T70" fmla="*/ 59 w 332"/>
                <a:gd name="T71" fmla="*/ 390 h 430"/>
                <a:gd name="T72" fmla="*/ 88 w 332"/>
                <a:gd name="T73" fmla="*/ 390 h 430"/>
                <a:gd name="T74" fmla="*/ 127 w 332"/>
                <a:gd name="T75" fmla="*/ 381 h 430"/>
                <a:gd name="T76" fmla="*/ 137 w 332"/>
                <a:gd name="T77" fmla="*/ 332 h 430"/>
                <a:gd name="T78" fmla="*/ 146 w 332"/>
                <a:gd name="T79" fmla="*/ 303 h 430"/>
                <a:gd name="T80" fmla="*/ 107 w 332"/>
                <a:gd name="T81" fmla="*/ 332 h 430"/>
                <a:gd name="T82" fmla="*/ 68 w 332"/>
                <a:gd name="T83" fmla="*/ 361 h 430"/>
                <a:gd name="T84" fmla="*/ 59 w 332"/>
                <a:gd name="T85" fmla="*/ 342 h 430"/>
                <a:gd name="T86" fmla="*/ 68 w 332"/>
                <a:gd name="T87" fmla="*/ 312 h 430"/>
                <a:gd name="T88" fmla="*/ 88 w 332"/>
                <a:gd name="T89" fmla="*/ 322 h 430"/>
                <a:gd name="T90" fmla="*/ 107 w 332"/>
                <a:gd name="T91" fmla="*/ 303 h 430"/>
                <a:gd name="T92" fmla="*/ 146 w 332"/>
                <a:gd name="T93" fmla="*/ 273 h 430"/>
                <a:gd name="T94" fmla="*/ 127 w 332"/>
                <a:gd name="T95" fmla="*/ 225 h 430"/>
                <a:gd name="T96" fmla="*/ 98 w 332"/>
                <a:gd name="T97" fmla="*/ 195 h 430"/>
                <a:gd name="T98" fmla="*/ 98 w 332"/>
                <a:gd name="T99" fmla="*/ 186 h 430"/>
                <a:gd name="T100" fmla="*/ 137 w 332"/>
                <a:gd name="T101" fmla="*/ 225 h 430"/>
                <a:gd name="T102" fmla="*/ 166 w 332"/>
                <a:gd name="T103" fmla="*/ 244 h 430"/>
                <a:gd name="T104" fmla="*/ 176 w 332"/>
                <a:gd name="T105" fmla="*/ 303 h 430"/>
                <a:gd name="T106" fmla="*/ 146 w 332"/>
                <a:gd name="T107" fmla="*/ 351 h 430"/>
                <a:gd name="T108" fmla="*/ 146 w 332"/>
                <a:gd name="T109" fmla="*/ 400 h 430"/>
                <a:gd name="T110" fmla="*/ 166 w 332"/>
                <a:gd name="T111" fmla="*/ 420 h 430"/>
                <a:gd name="T112" fmla="*/ 215 w 332"/>
                <a:gd name="T113" fmla="*/ 400 h 43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32"/>
                <a:gd name="T172" fmla="*/ 0 h 430"/>
                <a:gd name="T173" fmla="*/ 332 w 332"/>
                <a:gd name="T174" fmla="*/ 430 h 43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32" h="430">
                  <a:moveTo>
                    <a:pt x="215" y="400"/>
                  </a:moveTo>
                  <a:lnTo>
                    <a:pt x="205" y="381"/>
                  </a:lnTo>
                  <a:lnTo>
                    <a:pt x="215" y="361"/>
                  </a:lnTo>
                  <a:lnTo>
                    <a:pt x="224" y="371"/>
                  </a:lnTo>
                  <a:lnTo>
                    <a:pt x="244" y="361"/>
                  </a:lnTo>
                  <a:lnTo>
                    <a:pt x="234" y="351"/>
                  </a:lnTo>
                  <a:lnTo>
                    <a:pt x="244" y="322"/>
                  </a:lnTo>
                  <a:lnTo>
                    <a:pt x="254" y="312"/>
                  </a:lnTo>
                  <a:lnTo>
                    <a:pt x="244" y="303"/>
                  </a:lnTo>
                  <a:lnTo>
                    <a:pt x="254" y="303"/>
                  </a:lnTo>
                  <a:lnTo>
                    <a:pt x="254" y="283"/>
                  </a:lnTo>
                  <a:lnTo>
                    <a:pt x="263" y="283"/>
                  </a:lnTo>
                  <a:lnTo>
                    <a:pt x="263" y="264"/>
                  </a:lnTo>
                  <a:lnTo>
                    <a:pt x="283" y="264"/>
                  </a:lnTo>
                  <a:lnTo>
                    <a:pt x="283" y="273"/>
                  </a:lnTo>
                  <a:lnTo>
                    <a:pt x="302" y="273"/>
                  </a:lnTo>
                  <a:lnTo>
                    <a:pt x="312" y="264"/>
                  </a:lnTo>
                  <a:lnTo>
                    <a:pt x="312" y="244"/>
                  </a:lnTo>
                  <a:lnTo>
                    <a:pt x="322" y="244"/>
                  </a:lnTo>
                  <a:lnTo>
                    <a:pt x="332" y="234"/>
                  </a:lnTo>
                  <a:lnTo>
                    <a:pt x="322" y="215"/>
                  </a:lnTo>
                  <a:lnTo>
                    <a:pt x="302" y="195"/>
                  </a:lnTo>
                  <a:lnTo>
                    <a:pt x="302" y="176"/>
                  </a:lnTo>
                  <a:lnTo>
                    <a:pt x="312" y="156"/>
                  </a:lnTo>
                  <a:lnTo>
                    <a:pt x="322" y="147"/>
                  </a:lnTo>
                  <a:lnTo>
                    <a:pt x="322" y="117"/>
                  </a:lnTo>
                  <a:lnTo>
                    <a:pt x="302" y="88"/>
                  </a:lnTo>
                  <a:lnTo>
                    <a:pt x="293" y="98"/>
                  </a:lnTo>
                  <a:lnTo>
                    <a:pt x="273" y="108"/>
                  </a:lnTo>
                  <a:lnTo>
                    <a:pt x="263" y="98"/>
                  </a:lnTo>
                  <a:lnTo>
                    <a:pt x="263" y="78"/>
                  </a:lnTo>
                  <a:lnTo>
                    <a:pt x="273" y="69"/>
                  </a:lnTo>
                  <a:lnTo>
                    <a:pt x="273" y="49"/>
                  </a:lnTo>
                  <a:lnTo>
                    <a:pt x="263" y="39"/>
                  </a:lnTo>
                  <a:lnTo>
                    <a:pt x="263" y="29"/>
                  </a:lnTo>
                  <a:lnTo>
                    <a:pt x="244" y="29"/>
                  </a:lnTo>
                  <a:lnTo>
                    <a:pt x="244" y="49"/>
                  </a:lnTo>
                  <a:lnTo>
                    <a:pt x="234" y="3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15" y="20"/>
                  </a:lnTo>
                  <a:lnTo>
                    <a:pt x="205" y="10"/>
                  </a:lnTo>
                  <a:lnTo>
                    <a:pt x="205" y="0"/>
                  </a:lnTo>
                  <a:lnTo>
                    <a:pt x="195" y="10"/>
                  </a:lnTo>
                  <a:lnTo>
                    <a:pt x="185" y="20"/>
                  </a:lnTo>
                  <a:lnTo>
                    <a:pt x="176" y="29"/>
                  </a:lnTo>
                  <a:lnTo>
                    <a:pt x="176" y="39"/>
                  </a:lnTo>
                  <a:lnTo>
                    <a:pt x="185" y="59"/>
                  </a:lnTo>
                  <a:lnTo>
                    <a:pt x="185" y="78"/>
                  </a:lnTo>
                  <a:lnTo>
                    <a:pt x="185" y="88"/>
                  </a:lnTo>
                  <a:lnTo>
                    <a:pt x="176" y="88"/>
                  </a:lnTo>
                  <a:lnTo>
                    <a:pt x="176" y="78"/>
                  </a:lnTo>
                  <a:lnTo>
                    <a:pt x="176" y="69"/>
                  </a:lnTo>
                  <a:lnTo>
                    <a:pt x="166" y="69"/>
                  </a:lnTo>
                  <a:lnTo>
                    <a:pt x="156" y="69"/>
                  </a:lnTo>
                  <a:lnTo>
                    <a:pt x="156" y="59"/>
                  </a:lnTo>
                  <a:lnTo>
                    <a:pt x="146" y="59"/>
                  </a:lnTo>
                  <a:lnTo>
                    <a:pt x="137" y="59"/>
                  </a:lnTo>
                  <a:lnTo>
                    <a:pt x="117" y="69"/>
                  </a:lnTo>
                  <a:lnTo>
                    <a:pt x="107" y="59"/>
                  </a:lnTo>
                  <a:lnTo>
                    <a:pt x="98" y="59"/>
                  </a:lnTo>
                  <a:lnTo>
                    <a:pt x="98" y="69"/>
                  </a:lnTo>
                  <a:lnTo>
                    <a:pt x="88" y="88"/>
                  </a:lnTo>
                  <a:lnTo>
                    <a:pt x="78" y="88"/>
                  </a:lnTo>
                  <a:lnTo>
                    <a:pt x="68" y="88"/>
                  </a:lnTo>
                  <a:lnTo>
                    <a:pt x="68" y="78"/>
                  </a:lnTo>
                  <a:lnTo>
                    <a:pt x="59" y="69"/>
                  </a:lnTo>
                  <a:lnTo>
                    <a:pt x="59" y="59"/>
                  </a:lnTo>
                  <a:lnTo>
                    <a:pt x="39" y="59"/>
                  </a:lnTo>
                  <a:lnTo>
                    <a:pt x="49" y="49"/>
                  </a:lnTo>
                  <a:lnTo>
                    <a:pt x="39" y="39"/>
                  </a:lnTo>
                  <a:lnTo>
                    <a:pt x="39" y="29"/>
                  </a:lnTo>
                  <a:lnTo>
                    <a:pt x="29" y="29"/>
                  </a:lnTo>
                  <a:lnTo>
                    <a:pt x="29" y="39"/>
                  </a:lnTo>
                  <a:lnTo>
                    <a:pt x="20" y="3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10" y="49"/>
                  </a:lnTo>
                  <a:lnTo>
                    <a:pt x="10" y="69"/>
                  </a:lnTo>
                  <a:lnTo>
                    <a:pt x="10" y="88"/>
                  </a:lnTo>
                  <a:lnTo>
                    <a:pt x="10" y="98"/>
                  </a:lnTo>
                  <a:lnTo>
                    <a:pt x="0" y="108"/>
                  </a:lnTo>
                  <a:lnTo>
                    <a:pt x="0" y="127"/>
                  </a:lnTo>
                  <a:lnTo>
                    <a:pt x="10" y="137"/>
                  </a:lnTo>
                  <a:lnTo>
                    <a:pt x="10" y="166"/>
                  </a:lnTo>
                  <a:lnTo>
                    <a:pt x="10" y="176"/>
                  </a:lnTo>
                  <a:lnTo>
                    <a:pt x="10" y="195"/>
                  </a:lnTo>
                  <a:lnTo>
                    <a:pt x="20" y="205"/>
                  </a:lnTo>
                  <a:lnTo>
                    <a:pt x="29" y="225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73"/>
                  </a:lnTo>
                  <a:lnTo>
                    <a:pt x="20" y="283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10" y="371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49" y="371"/>
                  </a:lnTo>
                  <a:lnTo>
                    <a:pt x="49" y="381"/>
                  </a:lnTo>
                  <a:lnTo>
                    <a:pt x="59" y="390"/>
                  </a:lnTo>
                  <a:lnTo>
                    <a:pt x="59" y="400"/>
                  </a:lnTo>
                  <a:lnTo>
                    <a:pt x="68" y="410"/>
                  </a:lnTo>
                  <a:lnTo>
                    <a:pt x="88" y="390"/>
                  </a:lnTo>
                  <a:lnTo>
                    <a:pt x="107" y="390"/>
                  </a:lnTo>
                  <a:lnTo>
                    <a:pt x="127" y="381"/>
                  </a:lnTo>
                  <a:lnTo>
                    <a:pt x="137" y="351"/>
                  </a:lnTo>
                  <a:lnTo>
                    <a:pt x="137" y="342"/>
                  </a:lnTo>
                  <a:lnTo>
                    <a:pt x="137" y="332"/>
                  </a:lnTo>
                  <a:lnTo>
                    <a:pt x="146" y="322"/>
                  </a:lnTo>
                  <a:lnTo>
                    <a:pt x="156" y="303"/>
                  </a:lnTo>
                  <a:lnTo>
                    <a:pt x="146" y="303"/>
                  </a:lnTo>
                  <a:lnTo>
                    <a:pt x="137" y="312"/>
                  </a:lnTo>
                  <a:lnTo>
                    <a:pt x="127" y="322"/>
                  </a:lnTo>
                  <a:lnTo>
                    <a:pt x="107" y="332"/>
                  </a:lnTo>
                  <a:lnTo>
                    <a:pt x="98" y="351"/>
                  </a:lnTo>
                  <a:lnTo>
                    <a:pt x="78" y="361"/>
                  </a:lnTo>
                  <a:lnTo>
                    <a:pt x="68" y="361"/>
                  </a:lnTo>
                  <a:lnTo>
                    <a:pt x="68" y="351"/>
                  </a:lnTo>
                  <a:lnTo>
                    <a:pt x="68" y="342"/>
                  </a:lnTo>
                  <a:lnTo>
                    <a:pt x="59" y="342"/>
                  </a:lnTo>
                  <a:lnTo>
                    <a:pt x="49" y="332"/>
                  </a:lnTo>
                  <a:lnTo>
                    <a:pt x="49" y="322"/>
                  </a:lnTo>
                  <a:lnTo>
                    <a:pt x="68" y="312"/>
                  </a:lnTo>
                  <a:lnTo>
                    <a:pt x="78" y="303"/>
                  </a:lnTo>
                  <a:lnTo>
                    <a:pt x="78" y="312"/>
                  </a:lnTo>
                  <a:lnTo>
                    <a:pt x="88" y="322"/>
                  </a:lnTo>
                  <a:lnTo>
                    <a:pt x="98" y="322"/>
                  </a:lnTo>
                  <a:lnTo>
                    <a:pt x="98" y="303"/>
                  </a:lnTo>
                  <a:lnTo>
                    <a:pt x="107" y="303"/>
                  </a:lnTo>
                  <a:lnTo>
                    <a:pt x="117" y="293"/>
                  </a:lnTo>
                  <a:lnTo>
                    <a:pt x="127" y="283"/>
                  </a:lnTo>
                  <a:lnTo>
                    <a:pt x="146" y="273"/>
                  </a:lnTo>
                  <a:lnTo>
                    <a:pt x="146" y="264"/>
                  </a:lnTo>
                  <a:lnTo>
                    <a:pt x="146" y="254"/>
                  </a:lnTo>
                  <a:lnTo>
                    <a:pt x="127" y="225"/>
                  </a:lnTo>
                  <a:lnTo>
                    <a:pt x="117" y="225"/>
                  </a:lnTo>
                  <a:lnTo>
                    <a:pt x="98" y="205"/>
                  </a:lnTo>
                  <a:lnTo>
                    <a:pt x="98" y="195"/>
                  </a:lnTo>
                  <a:lnTo>
                    <a:pt x="88" y="186"/>
                  </a:lnTo>
                  <a:lnTo>
                    <a:pt x="98" y="176"/>
                  </a:lnTo>
                  <a:lnTo>
                    <a:pt x="98" y="186"/>
                  </a:lnTo>
                  <a:lnTo>
                    <a:pt x="117" y="205"/>
                  </a:lnTo>
                  <a:lnTo>
                    <a:pt x="127" y="215"/>
                  </a:lnTo>
                  <a:lnTo>
                    <a:pt x="137" y="225"/>
                  </a:lnTo>
                  <a:lnTo>
                    <a:pt x="156" y="225"/>
                  </a:lnTo>
                  <a:lnTo>
                    <a:pt x="166" y="234"/>
                  </a:lnTo>
                  <a:lnTo>
                    <a:pt x="166" y="244"/>
                  </a:lnTo>
                  <a:lnTo>
                    <a:pt x="185" y="273"/>
                  </a:lnTo>
                  <a:lnTo>
                    <a:pt x="176" y="293"/>
                  </a:lnTo>
                  <a:lnTo>
                    <a:pt x="176" y="303"/>
                  </a:lnTo>
                  <a:lnTo>
                    <a:pt x="176" y="322"/>
                  </a:lnTo>
                  <a:lnTo>
                    <a:pt x="156" y="342"/>
                  </a:lnTo>
                  <a:lnTo>
                    <a:pt x="146" y="351"/>
                  </a:lnTo>
                  <a:lnTo>
                    <a:pt x="137" y="351"/>
                  </a:lnTo>
                  <a:lnTo>
                    <a:pt x="127" y="381"/>
                  </a:lnTo>
                  <a:lnTo>
                    <a:pt x="146" y="400"/>
                  </a:lnTo>
                  <a:lnTo>
                    <a:pt x="137" y="420"/>
                  </a:lnTo>
                  <a:lnTo>
                    <a:pt x="146" y="430"/>
                  </a:lnTo>
                  <a:lnTo>
                    <a:pt x="166" y="420"/>
                  </a:lnTo>
                  <a:lnTo>
                    <a:pt x="185" y="420"/>
                  </a:lnTo>
                  <a:lnTo>
                    <a:pt x="185" y="400"/>
                  </a:lnTo>
                  <a:lnTo>
                    <a:pt x="215" y="400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" name="Freeform 348"/>
            <p:cNvSpPr>
              <a:spLocks/>
            </p:cNvSpPr>
            <p:nvPr/>
          </p:nvSpPr>
          <p:spPr bwMode="auto">
            <a:xfrm>
              <a:off x="898" y="2733"/>
              <a:ext cx="312" cy="427"/>
            </a:xfrm>
            <a:custGeom>
              <a:avLst/>
              <a:gdLst>
                <a:gd name="T0" fmla="*/ 39 w 313"/>
                <a:gd name="T1" fmla="*/ 273 h 429"/>
                <a:gd name="T2" fmla="*/ 39 w 313"/>
                <a:gd name="T3" fmla="*/ 293 h 429"/>
                <a:gd name="T4" fmla="*/ 69 w 313"/>
                <a:gd name="T5" fmla="*/ 312 h 429"/>
                <a:gd name="T6" fmla="*/ 98 w 313"/>
                <a:gd name="T7" fmla="*/ 322 h 429"/>
                <a:gd name="T8" fmla="*/ 117 w 313"/>
                <a:gd name="T9" fmla="*/ 341 h 429"/>
                <a:gd name="T10" fmla="*/ 117 w 313"/>
                <a:gd name="T11" fmla="*/ 361 h 429"/>
                <a:gd name="T12" fmla="*/ 127 w 313"/>
                <a:gd name="T13" fmla="*/ 390 h 429"/>
                <a:gd name="T14" fmla="*/ 166 w 313"/>
                <a:gd name="T15" fmla="*/ 390 h 429"/>
                <a:gd name="T16" fmla="*/ 166 w 313"/>
                <a:gd name="T17" fmla="*/ 419 h 429"/>
                <a:gd name="T18" fmla="*/ 195 w 313"/>
                <a:gd name="T19" fmla="*/ 419 h 429"/>
                <a:gd name="T20" fmla="*/ 215 w 313"/>
                <a:gd name="T21" fmla="*/ 410 h 429"/>
                <a:gd name="T22" fmla="*/ 186 w 313"/>
                <a:gd name="T23" fmla="*/ 380 h 429"/>
                <a:gd name="T24" fmla="*/ 215 w 313"/>
                <a:gd name="T25" fmla="*/ 390 h 429"/>
                <a:gd name="T26" fmla="*/ 225 w 313"/>
                <a:gd name="T27" fmla="*/ 371 h 429"/>
                <a:gd name="T28" fmla="*/ 234 w 313"/>
                <a:gd name="T29" fmla="*/ 351 h 429"/>
                <a:gd name="T30" fmla="*/ 273 w 313"/>
                <a:gd name="T31" fmla="*/ 371 h 429"/>
                <a:gd name="T32" fmla="*/ 293 w 313"/>
                <a:gd name="T33" fmla="*/ 351 h 429"/>
                <a:gd name="T34" fmla="*/ 313 w 313"/>
                <a:gd name="T35" fmla="*/ 322 h 429"/>
                <a:gd name="T36" fmla="*/ 264 w 313"/>
                <a:gd name="T37" fmla="*/ 234 h 429"/>
                <a:gd name="T38" fmla="*/ 273 w 313"/>
                <a:gd name="T39" fmla="*/ 195 h 429"/>
                <a:gd name="T40" fmla="*/ 264 w 313"/>
                <a:gd name="T41" fmla="*/ 156 h 429"/>
                <a:gd name="T42" fmla="*/ 254 w 313"/>
                <a:gd name="T43" fmla="*/ 127 h 429"/>
                <a:gd name="T44" fmla="*/ 244 w 313"/>
                <a:gd name="T45" fmla="*/ 97 h 429"/>
                <a:gd name="T46" fmla="*/ 205 w 313"/>
                <a:gd name="T47" fmla="*/ 88 h 429"/>
                <a:gd name="T48" fmla="*/ 205 w 313"/>
                <a:gd name="T49" fmla="*/ 78 h 429"/>
                <a:gd name="T50" fmla="*/ 186 w 313"/>
                <a:gd name="T51" fmla="*/ 68 h 429"/>
                <a:gd name="T52" fmla="*/ 166 w 313"/>
                <a:gd name="T53" fmla="*/ 58 h 429"/>
                <a:gd name="T54" fmla="*/ 127 w 313"/>
                <a:gd name="T55" fmla="*/ 0 h 429"/>
                <a:gd name="T56" fmla="*/ 98 w 313"/>
                <a:gd name="T57" fmla="*/ 19 h 429"/>
                <a:gd name="T58" fmla="*/ 78 w 313"/>
                <a:gd name="T59" fmla="*/ 10 h 429"/>
                <a:gd name="T60" fmla="*/ 59 w 313"/>
                <a:gd name="T61" fmla="*/ 29 h 429"/>
                <a:gd name="T62" fmla="*/ 59 w 313"/>
                <a:gd name="T63" fmla="*/ 49 h 429"/>
                <a:gd name="T64" fmla="*/ 59 w 313"/>
                <a:gd name="T65" fmla="*/ 68 h 429"/>
                <a:gd name="T66" fmla="*/ 59 w 313"/>
                <a:gd name="T67" fmla="*/ 107 h 429"/>
                <a:gd name="T68" fmla="*/ 30 w 313"/>
                <a:gd name="T69" fmla="*/ 107 h 429"/>
                <a:gd name="T70" fmla="*/ 20 w 313"/>
                <a:gd name="T71" fmla="*/ 146 h 429"/>
                <a:gd name="T72" fmla="*/ 30 w 313"/>
                <a:gd name="T73" fmla="*/ 185 h 429"/>
                <a:gd name="T74" fmla="*/ 49 w 313"/>
                <a:gd name="T75" fmla="*/ 195 h 429"/>
                <a:gd name="T76" fmla="*/ 30 w 313"/>
                <a:gd name="T77" fmla="*/ 215 h 429"/>
                <a:gd name="T78" fmla="*/ 0 w 313"/>
                <a:gd name="T79" fmla="*/ 215 h 429"/>
                <a:gd name="T80" fmla="*/ 20 w 313"/>
                <a:gd name="T81" fmla="*/ 234 h 429"/>
                <a:gd name="T82" fmla="*/ 20 w 313"/>
                <a:gd name="T83" fmla="*/ 263 h 4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13"/>
                <a:gd name="T127" fmla="*/ 0 h 429"/>
                <a:gd name="T128" fmla="*/ 313 w 313"/>
                <a:gd name="T129" fmla="*/ 429 h 4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13" h="429">
                  <a:moveTo>
                    <a:pt x="20" y="263"/>
                  </a:moveTo>
                  <a:lnTo>
                    <a:pt x="39" y="273"/>
                  </a:lnTo>
                  <a:lnTo>
                    <a:pt x="49" y="283"/>
                  </a:lnTo>
                  <a:lnTo>
                    <a:pt x="39" y="293"/>
                  </a:lnTo>
                  <a:lnTo>
                    <a:pt x="59" y="302"/>
                  </a:lnTo>
                  <a:lnTo>
                    <a:pt x="69" y="312"/>
                  </a:lnTo>
                  <a:lnTo>
                    <a:pt x="69" y="322"/>
                  </a:lnTo>
                  <a:lnTo>
                    <a:pt x="98" y="322"/>
                  </a:lnTo>
                  <a:lnTo>
                    <a:pt x="98" y="332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37" y="371"/>
                  </a:lnTo>
                  <a:lnTo>
                    <a:pt x="127" y="390"/>
                  </a:lnTo>
                  <a:lnTo>
                    <a:pt x="137" y="410"/>
                  </a:lnTo>
                  <a:lnTo>
                    <a:pt x="166" y="390"/>
                  </a:lnTo>
                  <a:lnTo>
                    <a:pt x="176" y="410"/>
                  </a:lnTo>
                  <a:lnTo>
                    <a:pt x="166" y="419"/>
                  </a:lnTo>
                  <a:lnTo>
                    <a:pt x="176" y="429"/>
                  </a:lnTo>
                  <a:lnTo>
                    <a:pt x="195" y="419"/>
                  </a:lnTo>
                  <a:lnTo>
                    <a:pt x="205" y="429"/>
                  </a:lnTo>
                  <a:lnTo>
                    <a:pt x="215" y="410"/>
                  </a:lnTo>
                  <a:lnTo>
                    <a:pt x="195" y="400"/>
                  </a:lnTo>
                  <a:lnTo>
                    <a:pt x="186" y="380"/>
                  </a:lnTo>
                  <a:lnTo>
                    <a:pt x="205" y="380"/>
                  </a:lnTo>
                  <a:lnTo>
                    <a:pt x="215" y="390"/>
                  </a:lnTo>
                  <a:lnTo>
                    <a:pt x="225" y="371"/>
                  </a:lnTo>
                  <a:lnTo>
                    <a:pt x="225" y="351"/>
                  </a:lnTo>
                  <a:lnTo>
                    <a:pt x="234" y="351"/>
                  </a:lnTo>
                  <a:lnTo>
                    <a:pt x="254" y="371"/>
                  </a:lnTo>
                  <a:lnTo>
                    <a:pt x="273" y="371"/>
                  </a:lnTo>
                  <a:lnTo>
                    <a:pt x="283" y="361"/>
                  </a:lnTo>
                  <a:lnTo>
                    <a:pt x="293" y="351"/>
                  </a:lnTo>
                  <a:lnTo>
                    <a:pt x="313" y="332"/>
                  </a:lnTo>
                  <a:lnTo>
                    <a:pt x="313" y="322"/>
                  </a:lnTo>
                  <a:lnTo>
                    <a:pt x="293" y="293"/>
                  </a:lnTo>
                  <a:lnTo>
                    <a:pt x="264" y="234"/>
                  </a:lnTo>
                  <a:lnTo>
                    <a:pt x="264" y="215"/>
                  </a:lnTo>
                  <a:lnTo>
                    <a:pt x="273" y="195"/>
                  </a:lnTo>
                  <a:lnTo>
                    <a:pt x="273" y="176"/>
                  </a:lnTo>
                  <a:lnTo>
                    <a:pt x="264" y="156"/>
                  </a:lnTo>
                  <a:lnTo>
                    <a:pt x="254" y="146"/>
                  </a:lnTo>
                  <a:lnTo>
                    <a:pt x="254" y="127"/>
                  </a:lnTo>
                  <a:lnTo>
                    <a:pt x="254" y="117"/>
                  </a:lnTo>
                  <a:lnTo>
                    <a:pt x="244" y="97"/>
                  </a:lnTo>
                  <a:lnTo>
                    <a:pt x="225" y="97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205" y="78"/>
                  </a:lnTo>
                  <a:lnTo>
                    <a:pt x="195" y="68"/>
                  </a:lnTo>
                  <a:lnTo>
                    <a:pt x="186" y="68"/>
                  </a:lnTo>
                  <a:lnTo>
                    <a:pt x="176" y="78"/>
                  </a:lnTo>
                  <a:lnTo>
                    <a:pt x="166" y="58"/>
                  </a:lnTo>
                  <a:lnTo>
                    <a:pt x="156" y="39"/>
                  </a:lnTo>
                  <a:lnTo>
                    <a:pt x="127" y="0"/>
                  </a:lnTo>
                  <a:lnTo>
                    <a:pt x="117" y="10"/>
                  </a:lnTo>
                  <a:lnTo>
                    <a:pt x="98" y="19"/>
                  </a:lnTo>
                  <a:lnTo>
                    <a:pt x="98" y="0"/>
                  </a:lnTo>
                  <a:lnTo>
                    <a:pt x="78" y="10"/>
                  </a:lnTo>
                  <a:lnTo>
                    <a:pt x="69" y="29"/>
                  </a:lnTo>
                  <a:lnTo>
                    <a:pt x="59" y="29"/>
                  </a:lnTo>
                  <a:lnTo>
                    <a:pt x="59" y="49"/>
                  </a:lnTo>
                  <a:lnTo>
                    <a:pt x="69" y="58"/>
                  </a:lnTo>
                  <a:lnTo>
                    <a:pt x="59" y="68"/>
                  </a:lnTo>
                  <a:lnTo>
                    <a:pt x="49" y="97"/>
                  </a:lnTo>
                  <a:lnTo>
                    <a:pt x="59" y="107"/>
                  </a:lnTo>
                  <a:lnTo>
                    <a:pt x="39" y="12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20" y="146"/>
                  </a:lnTo>
                  <a:lnTo>
                    <a:pt x="20" y="166"/>
                  </a:lnTo>
                  <a:lnTo>
                    <a:pt x="30" y="18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10" y="215"/>
                  </a:lnTo>
                  <a:lnTo>
                    <a:pt x="0" y="215"/>
                  </a:lnTo>
                  <a:lnTo>
                    <a:pt x="10" y="224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63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Freeform 347"/>
            <p:cNvSpPr>
              <a:spLocks/>
            </p:cNvSpPr>
            <p:nvPr/>
          </p:nvSpPr>
          <p:spPr bwMode="auto">
            <a:xfrm>
              <a:off x="1052" y="2750"/>
              <a:ext cx="431" cy="430"/>
            </a:xfrm>
            <a:custGeom>
              <a:avLst/>
              <a:gdLst>
                <a:gd name="T0" fmla="*/ 157 w 430"/>
                <a:gd name="T1" fmla="*/ 313 h 430"/>
                <a:gd name="T2" fmla="*/ 137 w 430"/>
                <a:gd name="T3" fmla="*/ 274 h 430"/>
                <a:gd name="T4" fmla="*/ 108 w 430"/>
                <a:gd name="T5" fmla="*/ 196 h 430"/>
                <a:gd name="T6" fmla="*/ 117 w 430"/>
                <a:gd name="T7" fmla="*/ 157 h 430"/>
                <a:gd name="T8" fmla="*/ 98 w 430"/>
                <a:gd name="T9" fmla="*/ 137 h 430"/>
                <a:gd name="T10" fmla="*/ 98 w 430"/>
                <a:gd name="T11" fmla="*/ 98 h 430"/>
                <a:gd name="T12" fmla="*/ 69 w 430"/>
                <a:gd name="T13" fmla="*/ 78 h 430"/>
                <a:gd name="T14" fmla="*/ 39 w 430"/>
                <a:gd name="T15" fmla="*/ 69 h 430"/>
                <a:gd name="T16" fmla="*/ 39 w 430"/>
                <a:gd name="T17" fmla="*/ 49 h 430"/>
                <a:gd name="T18" fmla="*/ 20 w 430"/>
                <a:gd name="T19" fmla="*/ 59 h 430"/>
                <a:gd name="T20" fmla="*/ 0 w 430"/>
                <a:gd name="T21" fmla="*/ 30 h 430"/>
                <a:gd name="T22" fmla="*/ 30 w 430"/>
                <a:gd name="T23" fmla="*/ 10 h 430"/>
                <a:gd name="T24" fmla="*/ 69 w 430"/>
                <a:gd name="T25" fmla="*/ 30 h 430"/>
                <a:gd name="T26" fmla="*/ 78 w 430"/>
                <a:gd name="T27" fmla="*/ 0 h 430"/>
                <a:gd name="T28" fmla="*/ 88 w 430"/>
                <a:gd name="T29" fmla="*/ 39 h 430"/>
                <a:gd name="T30" fmla="*/ 108 w 430"/>
                <a:gd name="T31" fmla="*/ 69 h 430"/>
                <a:gd name="T32" fmla="*/ 117 w 430"/>
                <a:gd name="T33" fmla="*/ 117 h 430"/>
                <a:gd name="T34" fmla="*/ 157 w 430"/>
                <a:gd name="T35" fmla="*/ 137 h 430"/>
                <a:gd name="T36" fmla="*/ 186 w 430"/>
                <a:gd name="T37" fmla="*/ 117 h 430"/>
                <a:gd name="T38" fmla="*/ 196 w 430"/>
                <a:gd name="T39" fmla="*/ 98 h 430"/>
                <a:gd name="T40" fmla="*/ 235 w 430"/>
                <a:gd name="T41" fmla="*/ 98 h 430"/>
                <a:gd name="T42" fmla="*/ 283 w 430"/>
                <a:gd name="T43" fmla="*/ 69 h 430"/>
                <a:gd name="T44" fmla="*/ 264 w 430"/>
                <a:gd name="T45" fmla="*/ 49 h 430"/>
                <a:gd name="T46" fmla="*/ 235 w 430"/>
                <a:gd name="T47" fmla="*/ 49 h 430"/>
                <a:gd name="T48" fmla="*/ 264 w 430"/>
                <a:gd name="T49" fmla="*/ 30 h 430"/>
                <a:gd name="T50" fmla="*/ 283 w 430"/>
                <a:gd name="T51" fmla="*/ 20 h 430"/>
                <a:gd name="T52" fmla="*/ 313 w 430"/>
                <a:gd name="T53" fmla="*/ 39 h 430"/>
                <a:gd name="T54" fmla="*/ 322 w 430"/>
                <a:gd name="T55" fmla="*/ 10 h 430"/>
                <a:gd name="T56" fmla="*/ 342 w 430"/>
                <a:gd name="T57" fmla="*/ 30 h 430"/>
                <a:gd name="T58" fmla="*/ 371 w 430"/>
                <a:gd name="T59" fmla="*/ 39 h 430"/>
                <a:gd name="T60" fmla="*/ 391 w 430"/>
                <a:gd name="T61" fmla="*/ 78 h 430"/>
                <a:gd name="T62" fmla="*/ 391 w 430"/>
                <a:gd name="T63" fmla="*/ 98 h 430"/>
                <a:gd name="T64" fmla="*/ 381 w 430"/>
                <a:gd name="T65" fmla="*/ 147 h 430"/>
                <a:gd name="T66" fmla="*/ 391 w 430"/>
                <a:gd name="T67" fmla="*/ 176 h 430"/>
                <a:gd name="T68" fmla="*/ 430 w 430"/>
                <a:gd name="T69" fmla="*/ 196 h 430"/>
                <a:gd name="T70" fmla="*/ 430 w 430"/>
                <a:gd name="T71" fmla="*/ 205 h 430"/>
                <a:gd name="T72" fmla="*/ 391 w 430"/>
                <a:gd name="T73" fmla="*/ 196 h 430"/>
                <a:gd name="T74" fmla="*/ 371 w 430"/>
                <a:gd name="T75" fmla="*/ 244 h 430"/>
                <a:gd name="T76" fmla="*/ 381 w 430"/>
                <a:gd name="T77" fmla="*/ 283 h 430"/>
                <a:gd name="T78" fmla="*/ 342 w 430"/>
                <a:gd name="T79" fmla="*/ 283 h 430"/>
                <a:gd name="T80" fmla="*/ 322 w 430"/>
                <a:gd name="T81" fmla="*/ 283 h 430"/>
                <a:gd name="T82" fmla="*/ 313 w 430"/>
                <a:gd name="T83" fmla="*/ 293 h 430"/>
                <a:gd name="T84" fmla="*/ 313 w 430"/>
                <a:gd name="T85" fmla="*/ 332 h 430"/>
                <a:gd name="T86" fmla="*/ 274 w 430"/>
                <a:gd name="T87" fmla="*/ 352 h 430"/>
                <a:gd name="T88" fmla="*/ 293 w 430"/>
                <a:gd name="T89" fmla="*/ 381 h 430"/>
                <a:gd name="T90" fmla="*/ 283 w 430"/>
                <a:gd name="T91" fmla="*/ 410 h 430"/>
                <a:gd name="T92" fmla="*/ 254 w 430"/>
                <a:gd name="T93" fmla="*/ 420 h 430"/>
                <a:gd name="T94" fmla="*/ 215 w 430"/>
                <a:gd name="T95" fmla="*/ 430 h 430"/>
                <a:gd name="T96" fmla="*/ 196 w 430"/>
                <a:gd name="T97" fmla="*/ 420 h 430"/>
                <a:gd name="T98" fmla="*/ 205 w 430"/>
                <a:gd name="T99" fmla="*/ 410 h 430"/>
                <a:gd name="T100" fmla="*/ 186 w 430"/>
                <a:gd name="T101" fmla="*/ 400 h 430"/>
                <a:gd name="T102" fmla="*/ 137 w 430"/>
                <a:gd name="T103" fmla="*/ 332 h 43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30"/>
                <a:gd name="T157" fmla="*/ 0 h 430"/>
                <a:gd name="T158" fmla="*/ 430 w 430"/>
                <a:gd name="T159" fmla="*/ 430 h 43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30" h="430">
                  <a:moveTo>
                    <a:pt x="137" y="332"/>
                  </a:moveTo>
                  <a:lnTo>
                    <a:pt x="157" y="313"/>
                  </a:lnTo>
                  <a:lnTo>
                    <a:pt x="157" y="303"/>
                  </a:lnTo>
                  <a:lnTo>
                    <a:pt x="137" y="274"/>
                  </a:lnTo>
                  <a:lnTo>
                    <a:pt x="117" y="225"/>
                  </a:lnTo>
                  <a:lnTo>
                    <a:pt x="108" y="196"/>
                  </a:lnTo>
                  <a:lnTo>
                    <a:pt x="117" y="176"/>
                  </a:lnTo>
                  <a:lnTo>
                    <a:pt x="117" y="157"/>
                  </a:lnTo>
                  <a:lnTo>
                    <a:pt x="117" y="147"/>
                  </a:lnTo>
                  <a:lnTo>
                    <a:pt x="98" y="137"/>
                  </a:lnTo>
                  <a:lnTo>
                    <a:pt x="98" y="117"/>
                  </a:lnTo>
                  <a:lnTo>
                    <a:pt x="98" y="98"/>
                  </a:lnTo>
                  <a:lnTo>
                    <a:pt x="88" y="78"/>
                  </a:lnTo>
                  <a:lnTo>
                    <a:pt x="69" y="78"/>
                  </a:lnTo>
                  <a:lnTo>
                    <a:pt x="49" y="78"/>
                  </a:lnTo>
                  <a:lnTo>
                    <a:pt x="39" y="69"/>
                  </a:lnTo>
                  <a:lnTo>
                    <a:pt x="49" y="59"/>
                  </a:lnTo>
                  <a:lnTo>
                    <a:pt x="39" y="49"/>
                  </a:lnTo>
                  <a:lnTo>
                    <a:pt x="30" y="59"/>
                  </a:lnTo>
                  <a:lnTo>
                    <a:pt x="20" y="59"/>
                  </a:lnTo>
                  <a:lnTo>
                    <a:pt x="10" y="39"/>
                  </a:lnTo>
                  <a:lnTo>
                    <a:pt x="0" y="30"/>
                  </a:lnTo>
                  <a:lnTo>
                    <a:pt x="20" y="10"/>
                  </a:lnTo>
                  <a:lnTo>
                    <a:pt x="30" y="10"/>
                  </a:lnTo>
                  <a:lnTo>
                    <a:pt x="59" y="20"/>
                  </a:lnTo>
                  <a:lnTo>
                    <a:pt x="69" y="3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88" y="30"/>
                  </a:lnTo>
                  <a:lnTo>
                    <a:pt x="88" y="39"/>
                  </a:lnTo>
                  <a:lnTo>
                    <a:pt x="108" y="49"/>
                  </a:lnTo>
                  <a:lnTo>
                    <a:pt x="108" y="69"/>
                  </a:lnTo>
                  <a:lnTo>
                    <a:pt x="117" y="98"/>
                  </a:lnTo>
                  <a:lnTo>
                    <a:pt x="117" y="117"/>
                  </a:lnTo>
                  <a:lnTo>
                    <a:pt x="157" y="117"/>
                  </a:lnTo>
                  <a:lnTo>
                    <a:pt x="157" y="137"/>
                  </a:lnTo>
                  <a:lnTo>
                    <a:pt x="166" y="137"/>
                  </a:lnTo>
                  <a:lnTo>
                    <a:pt x="186" y="117"/>
                  </a:lnTo>
                  <a:lnTo>
                    <a:pt x="176" y="108"/>
                  </a:lnTo>
                  <a:lnTo>
                    <a:pt x="196" y="98"/>
                  </a:lnTo>
                  <a:lnTo>
                    <a:pt x="215" y="108"/>
                  </a:lnTo>
                  <a:lnTo>
                    <a:pt x="235" y="98"/>
                  </a:lnTo>
                  <a:lnTo>
                    <a:pt x="264" y="88"/>
                  </a:lnTo>
                  <a:lnTo>
                    <a:pt x="283" y="69"/>
                  </a:lnTo>
                  <a:lnTo>
                    <a:pt x="274" y="59"/>
                  </a:lnTo>
                  <a:lnTo>
                    <a:pt x="264" y="49"/>
                  </a:lnTo>
                  <a:lnTo>
                    <a:pt x="244" y="59"/>
                  </a:lnTo>
                  <a:lnTo>
                    <a:pt x="235" y="49"/>
                  </a:lnTo>
                  <a:lnTo>
                    <a:pt x="244" y="39"/>
                  </a:lnTo>
                  <a:lnTo>
                    <a:pt x="264" y="30"/>
                  </a:lnTo>
                  <a:lnTo>
                    <a:pt x="264" y="10"/>
                  </a:lnTo>
                  <a:lnTo>
                    <a:pt x="283" y="20"/>
                  </a:lnTo>
                  <a:lnTo>
                    <a:pt x="303" y="30"/>
                  </a:lnTo>
                  <a:lnTo>
                    <a:pt x="313" y="39"/>
                  </a:lnTo>
                  <a:lnTo>
                    <a:pt x="322" y="30"/>
                  </a:lnTo>
                  <a:lnTo>
                    <a:pt x="322" y="10"/>
                  </a:lnTo>
                  <a:lnTo>
                    <a:pt x="342" y="10"/>
                  </a:lnTo>
                  <a:lnTo>
                    <a:pt x="342" y="30"/>
                  </a:lnTo>
                  <a:lnTo>
                    <a:pt x="352" y="39"/>
                  </a:lnTo>
                  <a:lnTo>
                    <a:pt x="371" y="39"/>
                  </a:lnTo>
                  <a:lnTo>
                    <a:pt x="371" y="59"/>
                  </a:lnTo>
                  <a:lnTo>
                    <a:pt x="391" y="78"/>
                  </a:lnTo>
                  <a:lnTo>
                    <a:pt x="381" y="88"/>
                  </a:lnTo>
                  <a:lnTo>
                    <a:pt x="391" y="98"/>
                  </a:lnTo>
                  <a:lnTo>
                    <a:pt x="381" y="117"/>
                  </a:lnTo>
                  <a:lnTo>
                    <a:pt x="381" y="147"/>
                  </a:lnTo>
                  <a:lnTo>
                    <a:pt x="381" y="166"/>
                  </a:lnTo>
                  <a:lnTo>
                    <a:pt x="391" y="176"/>
                  </a:lnTo>
                  <a:lnTo>
                    <a:pt x="410" y="176"/>
                  </a:lnTo>
                  <a:lnTo>
                    <a:pt x="430" y="196"/>
                  </a:lnTo>
                  <a:lnTo>
                    <a:pt x="430" y="205"/>
                  </a:lnTo>
                  <a:lnTo>
                    <a:pt x="410" y="196"/>
                  </a:lnTo>
                  <a:lnTo>
                    <a:pt x="391" y="196"/>
                  </a:lnTo>
                  <a:lnTo>
                    <a:pt x="381" y="225"/>
                  </a:lnTo>
                  <a:lnTo>
                    <a:pt x="371" y="244"/>
                  </a:lnTo>
                  <a:lnTo>
                    <a:pt x="371" y="264"/>
                  </a:lnTo>
                  <a:lnTo>
                    <a:pt x="381" y="283"/>
                  </a:lnTo>
                  <a:lnTo>
                    <a:pt x="361" y="283"/>
                  </a:lnTo>
                  <a:lnTo>
                    <a:pt x="342" y="283"/>
                  </a:lnTo>
                  <a:lnTo>
                    <a:pt x="332" y="293"/>
                  </a:lnTo>
                  <a:lnTo>
                    <a:pt x="322" y="283"/>
                  </a:lnTo>
                  <a:lnTo>
                    <a:pt x="303" y="283"/>
                  </a:lnTo>
                  <a:lnTo>
                    <a:pt x="313" y="293"/>
                  </a:lnTo>
                  <a:lnTo>
                    <a:pt x="303" y="313"/>
                  </a:lnTo>
                  <a:lnTo>
                    <a:pt x="313" y="332"/>
                  </a:lnTo>
                  <a:lnTo>
                    <a:pt x="293" y="342"/>
                  </a:lnTo>
                  <a:lnTo>
                    <a:pt x="274" y="352"/>
                  </a:lnTo>
                  <a:lnTo>
                    <a:pt x="274" y="371"/>
                  </a:lnTo>
                  <a:lnTo>
                    <a:pt x="293" y="381"/>
                  </a:lnTo>
                  <a:lnTo>
                    <a:pt x="293" y="400"/>
                  </a:lnTo>
                  <a:lnTo>
                    <a:pt x="283" y="410"/>
                  </a:lnTo>
                  <a:lnTo>
                    <a:pt x="274" y="420"/>
                  </a:lnTo>
                  <a:lnTo>
                    <a:pt x="254" y="420"/>
                  </a:lnTo>
                  <a:lnTo>
                    <a:pt x="235" y="430"/>
                  </a:lnTo>
                  <a:lnTo>
                    <a:pt x="215" y="430"/>
                  </a:lnTo>
                  <a:lnTo>
                    <a:pt x="215" y="420"/>
                  </a:lnTo>
                  <a:lnTo>
                    <a:pt x="196" y="420"/>
                  </a:lnTo>
                  <a:lnTo>
                    <a:pt x="205" y="410"/>
                  </a:lnTo>
                  <a:lnTo>
                    <a:pt x="196" y="391"/>
                  </a:lnTo>
                  <a:lnTo>
                    <a:pt x="186" y="400"/>
                  </a:lnTo>
                  <a:lnTo>
                    <a:pt x="166" y="352"/>
                  </a:lnTo>
                  <a:lnTo>
                    <a:pt x="137" y="332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" name="Freeform 346"/>
            <p:cNvSpPr>
              <a:spLocks/>
            </p:cNvSpPr>
            <p:nvPr/>
          </p:nvSpPr>
          <p:spPr bwMode="auto">
            <a:xfrm>
              <a:off x="1328" y="2782"/>
              <a:ext cx="242" cy="407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7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34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5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7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39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292"/>
                  </a:lnTo>
                  <a:lnTo>
                    <a:pt x="234" y="253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34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39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5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29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29" name="Group 343"/>
            <p:cNvGrpSpPr>
              <a:grpSpLocks/>
            </p:cNvGrpSpPr>
            <p:nvPr/>
          </p:nvGrpSpPr>
          <p:grpSpPr bwMode="auto">
            <a:xfrm>
              <a:off x="1327" y="2781"/>
              <a:ext cx="243" cy="409"/>
              <a:chOff x="1327" y="2781"/>
              <a:chExt cx="243" cy="409"/>
            </a:xfrm>
          </p:grpSpPr>
          <p:sp>
            <p:nvSpPr>
              <p:cNvPr id="393" name="Freeform 345"/>
              <p:cNvSpPr>
                <a:spLocks/>
              </p:cNvSpPr>
              <p:nvPr/>
            </p:nvSpPr>
            <p:spPr bwMode="auto">
              <a:xfrm>
                <a:off x="1328" y="2782"/>
                <a:ext cx="242" cy="407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4" name="Freeform 344"/>
              <p:cNvSpPr>
                <a:spLocks/>
              </p:cNvSpPr>
              <p:nvPr/>
            </p:nvSpPr>
            <p:spPr bwMode="auto">
              <a:xfrm>
                <a:off x="1328" y="2782"/>
                <a:ext cx="242" cy="407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73" name="Freeform 342"/>
            <p:cNvSpPr>
              <a:spLocks/>
            </p:cNvSpPr>
            <p:nvPr/>
          </p:nvSpPr>
          <p:spPr bwMode="auto">
            <a:xfrm>
              <a:off x="1483" y="1150"/>
              <a:ext cx="293" cy="383"/>
            </a:xfrm>
            <a:custGeom>
              <a:avLst/>
              <a:gdLst>
                <a:gd name="T0" fmla="*/ 107 w 292"/>
                <a:gd name="T1" fmla="*/ 352 h 381"/>
                <a:gd name="T2" fmla="*/ 78 w 292"/>
                <a:gd name="T3" fmla="*/ 371 h 381"/>
                <a:gd name="T4" fmla="*/ 48 w 292"/>
                <a:gd name="T5" fmla="*/ 361 h 381"/>
                <a:gd name="T6" fmla="*/ 29 w 292"/>
                <a:gd name="T7" fmla="*/ 352 h 381"/>
                <a:gd name="T8" fmla="*/ 39 w 292"/>
                <a:gd name="T9" fmla="*/ 322 h 381"/>
                <a:gd name="T10" fmla="*/ 19 w 292"/>
                <a:gd name="T11" fmla="*/ 293 h 381"/>
                <a:gd name="T12" fmla="*/ 0 w 292"/>
                <a:gd name="T13" fmla="*/ 273 h 381"/>
                <a:gd name="T14" fmla="*/ 19 w 292"/>
                <a:gd name="T15" fmla="*/ 254 h 381"/>
                <a:gd name="T16" fmla="*/ 9 w 292"/>
                <a:gd name="T17" fmla="*/ 234 h 381"/>
                <a:gd name="T18" fmla="*/ 0 w 292"/>
                <a:gd name="T19" fmla="*/ 215 h 381"/>
                <a:gd name="T20" fmla="*/ 0 w 292"/>
                <a:gd name="T21" fmla="*/ 195 h 381"/>
                <a:gd name="T22" fmla="*/ 0 w 292"/>
                <a:gd name="T23" fmla="*/ 176 h 381"/>
                <a:gd name="T24" fmla="*/ 29 w 292"/>
                <a:gd name="T25" fmla="*/ 166 h 381"/>
                <a:gd name="T26" fmla="*/ 39 w 292"/>
                <a:gd name="T27" fmla="*/ 147 h 381"/>
                <a:gd name="T28" fmla="*/ 58 w 292"/>
                <a:gd name="T29" fmla="*/ 127 h 381"/>
                <a:gd name="T30" fmla="*/ 58 w 292"/>
                <a:gd name="T31" fmla="*/ 108 h 381"/>
                <a:gd name="T32" fmla="*/ 78 w 292"/>
                <a:gd name="T33" fmla="*/ 98 h 381"/>
                <a:gd name="T34" fmla="*/ 107 w 292"/>
                <a:gd name="T35" fmla="*/ 88 h 381"/>
                <a:gd name="T36" fmla="*/ 126 w 292"/>
                <a:gd name="T37" fmla="*/ 59 h 381"/>
                <a:gd name="T38" fmla="*/ 146 w 292"/>
                <a:gd name="T39" fmla="*/ 49 h 381"/>
                <a:gd name="T40" fmla="*/ 185 w 292"/>
                <a:gd name="T41" fmla="*/ 49 h 381"/>
                <a:gd name="T42" fmla="*/ 195 w 292"/>
                <a:gd name="T43" fmla="*/ 39 h 381"/>
                <a:gd name="T44" fmla="*/ 224 w 292"/>
                <a:gd name="T45" fmla="*/ 30 h 381"/>
                <a:gd name="T46" fmla="*/ 253 w 292"/>
                <a:gd name="T47" fmla="*/ 10 h 381"/>
                <a:gd name="T48" fmla="*/ 283 w 292"/>
                <a:gd name="T49" fmla="*/ 0 h 381"/>
                <a:gd name="T50" fmla="*/ 292 w 292"/>
                <a:gd name="T51" fmla="*/ 10 h 381"/>
                <a:gd name="T52" fmla="*/ 292 w 292"/>
                <a:gd name="T53" fmla="*/ 30 h 381"/>
                <a:gd name="T54" fmla="*/ 292 w 292"/>
                <a:gd name="T55" fmla="*/ 69 h 381"/>
                <a:gd name="T56" fmla="*/ 283 w 292"/>
                <a:gd name="T57" fmla="*/ 98 h 381"/>
                <a:gd name="T58" fmla="*/ 283 w 292"/>
                <a:gd name="T59" fmla="*/ 117 h 381"/>
                <a:gd name="T60" fmla="*/ 263 w 292"/>
                <a:gd name="T61" fmla="*/ 127 h 381"/>
                <a:gd name="T62" fmla="*/ 243 w 292"/>
                <a:gd name="T63" fmla="*/ 127 h 381"/>
                <a:gd name="T64" fmla="*/ 253 w 292"/>
                <a:gd name="T65" fmla="*/ 176 h 381"/>
                <a:gd name="T66" fmla="*/ 224 w 292"/>
                <a:gd name="T67" fmla="*/ 215 h 381"/>
                <a:gd name="T68" fmla="*/ 195 w 292"/>
                <a:gd name="T69" fmla="*/ 215 h 381"/>
                <a:gd name="T70" fmla="*/ 185 w 292"/>
                <a:gd name="T71" fmla="*/ 244 h 381"/>
                <a:gd name="T72" fmla="*/ 165 w 292"/>
                <a:gd name="T73" fmla="*/ 264 h 381"/>
                <a:gd name="T74" fmla="*/ 156 w 292"/>
                <a:gd name="T75" fmla="*/ 283 h 381"/>
                <a:gd name="T76" fmla="*/ 136 w 292"/>
                <a:gd name="T77" fmla="*/ 293 h 381"/>
                <a:gd name="T78" fmla="*/ 136 w 292"/>
                <a:gd name="T79" fmla="*/ 313 h 381"/>
                <a:gd name="T80" fmla="*/ 117 w 292"/>
                <a:gd name="T81" fmla="*/ 332 h 38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92"/>
                <a:gd name="T124" fmla="*/ 0 h 381"/>
                <a:gd name="T125" fmla="*/ 292 w 292"/>
                <a:gd name="T126" fmla="*/ 381 h 38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92" h="381">
                  <a:moveTo>
                    <a:pt x="117" y="332"/>
                  </a:moveTo>
                  <a:lnTo>
                    <a:pt x="107" y="352"/>
                  </a:lnTo>
                  <a:lnTo>
                    <a:pt x="97" y="361"/>
                  </a:lnTo>
                  <a:lnTo>
                    <a:pt x="78" y="371"/>
                  </a:lnTo>
                  <a:lnTo>
                    <a:pt x="48" y="381"/>
                  </a:lnTo>
                  <a:lnTo>
                    <a:pt x="48" y="361"/>
                  </a:lnTo>
                  <a:lnTo>
                    <a:pt x="39" y="352"/>
                  </a:lnTo>
                  <a:lnTo>
                    <a:pt x="29" y="352"/>
                  </a:lnTo>
                  <a:lnTo>
                    <a:pt x="29" y="342"/>
                  </a:lnTo>
                  <a:lnTo>
                    <a:pt x="39" y="322"/>
                  </a:lnTo>
                  <a:lnTo>
                    <a:pt x="39" y="303"/>
                  </a:lnTo>
                  <a:lnTo>
                    <a:pt x="19" y="293"/>
                  </a:lnTo>
                  <a:lnTo>
                    <a:pt x="9" y="283"/>
                  </a:lnTo>
                  <a:lnTo>
                    <a:pt x="0" y="273"/>
                  </a:lnTo>
                  <a:lnTo>
                    <a:pt x="9" y="264"/>
                  </a:lnTo>
                  <a:lnTo>
                    <a:pt x="19" y="254"/>
                  </a:lnTo>
                  <a:lnTo>
                    <a:pt x="19" y="244"/>
                  </a:lnTo>
                  <a:lnTo>
                    <a:pt x="9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9" y="19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0" y="176"/>
                  </a:lnTo>
                  <a:lnTo>
                    <a:pt x="9" y="166"/>
                  </a:lnTo>
                  <a:lnTo>
                    <a:pt x="29" y="166"/>
                  </a:lnTo>
                  <a:lnTo>
                    <a:pt x="39" y="156"/>
                  </a:lnTo>
                  <a:lnTo>
                    <a:pt x="39" y="14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58" y="117"/>
                  </a:lnTo>
                  <a:lnTo>
                    <a:pt x="58" y="108"/>
                  </a:lnTo>
                  <a:lnTo>
                    <a:pt x="68" y="98"/>
                  </a:lnTo>
                  <a:lnTo>
                    <a:pt x="78" y="98"/>
                  </a:lnTo>
                  <a:lnTo>
                    <a:pt x="97" y="98"/>
                  </a:lnTo>
                  <a:lnTo>
                    <a:pt x="107" y="88"/>
                  </a:lnTo>
                  <a:lnTo>
                    <a:pt x="117" y="69"/>
                  </a:lnTo>
                  <a:lnTo>
                    <a:pt x="126" y="59"/>
                  </a:lnTo>
                  <a:lnTo>
                    <a:pt x="136" y="49"/>
                  </a:lnTo>
                  <a:lnTo>
                    <a:pt x="146" y="49"/>
                  </a:lnTo>
                  <a:lnTo>
                    <a:pt x="165" y="59"/>
                  </a:lnTo>
                  <a:lnTo>
                    <a:pt x="185" y="49"/>
                  </a:lnTo>
                  <a:lnTo>
                    <a:pt x="195" y="39"/>
                  </a:lnTo>
                  <a:lnTo>
                    <a:pt x="204" y="30"/>
                  </a:lnTo>
                  <a:lnTo>
                    <a:pt x="224" y="30"/>
                  </a:lnTo>
                  <a:lnTo>
                    <a:pt x="234" y="20"/>
                  </a:lnTo>
                  <a:lnTo>
                    <a:pt x="253" y="10"/>
                  </a:lnTo>
                  <a:lnTo>
                    <a:pt x="273" y="10"/>
                  </a:lnTo>
                  <a:lnTo>
                    <a:pt x="283" y="0"/>
                  </a:lnTo>
                  <a:lnTo>
                    <a:pt x="292" y="10"/>
                  </a:lnTo>
                  <a:lnTo>
                    <a:pt x="283" y="30"/>
                  </a:lnTo>
                  <a:lnTo>
                    <a:pt x="292" y="30"/>
                  </a:lnTo>
                  <a:lnTo>
                    <a:pt x="292" y="49"/>
                  </a:lnTo>
                  <a:lnTo>
                    <a:pt x="292" y="69"/>
                  </a:lnTo>
                  <a:lnTo>
                    <a:pt x="283" y="78"/>
                  </a:lnTo>
                  <a:lnTo>
                    <a:pt x="283" y="98"/>
                  </a:lnTo>
                  <a:lnTo>
                    <a:pt x="283" y="108"/>
                  </a:lnTo>
                  <a:lnTo>
                    <a:pt x="283" y="117"/>
                  </a:lnTo>
                  <a:lnTo>
                    <a:pt x="283" y="127"/>
                  </a:lnTo>
                  <a:lnTo>
                    <a:pt x="263" y="127"/>
                  </a:lnTo>
                  <a:lnTo>
                    <a:pt x="263" y="117"/>
                  </a:lnTo>
                  <a:lnTo>
                    <a:pt x="243" y="127"/>
                  </a:lnTo>
                  <a:lnTo>
                    <a:pt x="243" y="166"/>
                  </a:lnTo>
                  <a:lnTo>
                    <a:pt x="253" y="176"/>
                  </a:lnTo>
                  <a:lnTo>
                    <a:pt x="224" y="195"/>
                  </a:lnTo>
                  <a:lnTo>
                    <a:pt x="224" y="215"/>
                  </a:lnTo>
                  <a:lnTo>
                    <a:pt x="195" y="215"/>
                  </a:lnTo>
                  <a:lnTo>
                    <a:pt x="204" y="234"/>
                  </a:lnTo>
                  <a:lnTo>
                    <a:pt x="185" y="244"/>
                  </a:lnTo>
                  <a:lnTo>
                    <a:pt x="165" y="254"/>
                  </a:lnTo>
                  <a:lnTo>
                    <a:pt x="165" y="264"/>
                  </a:lnTo>
                  <a:lnTo>
                    <a:pt x="175" y="283"/>
                  </a:lnTo>
                  <a:lnTo>
                    <a:pt x="156" y="283"/>
                  </a:lnTo>
                  <a:lnTo>
                    <a:pt x="146" y="283"/>
                  </a:lnTo>
                  <a:lnTo>
                    <a:pt x="136" y="293"/>
                  </a:lnTo>
                  <a:lnTo>
                    <a:pt x="136" y="303"/>
                  </a:lnTo>
                  <a:lnTo>
                    <a:pt x="136" y="313"/>
                  </a:lnTo>
                  <a:lnTo>
                    <a:pt x="126" y="322"/>
                  </a:lnTo>
                  <a:lnTo>
                    <a:pt x="117" y="332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Freeform 341"/>
            <p:cNvSpPr>
              <a:spLocks/>
            </p:cNvSpPr>
            <p:nvPr/>
          </p:nvSpPr>
          <p:spPr bwMode="auto">
            <a:xfrm>
              <a:off x="839" y="2994"/>
              <a:ext cx="174" cy="128"/>
            </a:xfrm>
            <a:custGeom>
              <a:avLst/>
              <a:gdLst>
                <a:gd name="T0" fmla="*/ 39 w 175"/>
                <a:gd name="T1" fmla="*/ 98 h 127"/>
                <a:gd name="T2" fmla="*/ 39 w 175"/>
                <a:gd name="T3" fmla="*/ 69 h 127"/>
                <a:gd name="T4" fmla="*/ 29 w 175"/>
                <a:gd name="T5" fmla="*/ 49 h 127"/>
                <a:gd name="T6" fmla="*/ 10 w 175"/>
                <a:gd name="T7" fmla="*/ 39 h 127"/>
                <a:gd name="T8" fmla="*/ 10 w 175"/>
                <a:gd name="T9" fmla="*/ 20 h 127"/>
                <a:gd name="T10" fmla="*/ 0 w 175"/>
                <a:gd name="T11" fmla="*/ 10 h 127"/>
                <a:gd name="T12" fmla="*/ 29 w 175"/>
                <a:gd name="T13" fmla="*/ 0 h 127"/>
                <a:gd name="T14" fmla="*/ 49 w 175"/>
                <a:gd name="T15" fmla="*/ 0 h 127"/>
                <a:gd name="T16" fmla="*/ 78 w 175"/>
                <a:gd name="T17" fmla="*/ 0 h 127"/>
                <a:gd name="T18" fmla="*/ 97 w 175"/>
                <a:gd name="T19" fmla="*/ 10 h 127"/>
                <a:gd name="T20" fmla="*/ 107 w 175"/>
                <a:gd name="T21" fmla="*/ 20 h 127"/>
                <a:gd name="T22" fmla="*/ 97 w 175"/>
                <a:gd name="T23" fmla="*/ 30 h 127"/>
                <a:gd name="T24" fmla="*/ 127 w 175"/>
                <a:gd name="T25" fmla="*/ 39 h 127"/>
                <a:gd name="T26" fmla="*/ 127 w 175"/>
                <a:gd name="T27" fmla="*/ 49 h 127"/>
                <a:gd name="T28" fmla="*/ 127 w 175"/>
                <a:gd name="T29" fmla="*/ 59 h 127"/>
                <a:gd name="T30" fmla="*/ 156 w 175"/>
                <a:gd name="T31" fmla="*/ 49 h 127"/>
                <a:gd name="T32" fmla="*/ 156 w 175"/>
                <a:gd name="T33" fmla="*/ 69 h 127"/>
                <a:gd name="T34" fmla="*/ 175 w 175"/>
                <a:gd name="T35" fmla="*/ 69 h 127"/>
                <a:gd name="T36" fmla="*/ 175 w 175"/>
                <a:gd name="T37" fmla="*/ 88 h 127"/>
                <a:gd name="T38" fmla="*/ 175 w 175"/>
                <a:gd name="T39" fmla="*/ 98 h 127"/>
                <a:gd name="T40" fmla="*/ 156 w 175"/>
                <a:gd name="T41" fmla="*/ 117 h 127"/>
                <a:gd name="T42" fmla="*/ 146 w 175"/>
                <a:gd name="T43" fmla="*/ 117 h 127"/>
                <a:gd name="T44" fmla="*/ 127 w 175"/>
                <a:gd name="T45" fmla="*/ 127 h 127"/>
                <a:gd name="T46" fmla="*/ 107 w 175"/>
                <a:gd name="T47" fmla="*/ 117 h 127"/>
                <a:gd name="T48" fmla="*/ 97 w 175"/>
                <a:gd name="T49" fmla="*/ 117 h 127"/>
                <a:gd name="T50" fmla="*/ 78 w 175"/>
                <a:gd name="T51" fmla="*/ 117 h 127"/>
                <a:gd name="T52" fmla="*/ 49 w 175"/>
                <a:gd name="T53" fmla="*/ 117 h 127"/>
                <a:gd name="T54" fmla="*/ 39 w 175"/>
                <a:gd name="T55" fmla="*/ 117 h 127"/>
                <a:gd name="T56" fmla="*/ 39 w 175"/>
                <a:gd name="T57" fmla="*/ 98 h 1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5"/>
                <a:gd name="T88" fmla="*/ 0 h 127"/>
                <a:gd name="T89" fmla="*/ 175 w 175"/>
                <a:gd name="T90" fmla="*/ 127 h 1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4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1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49"/>
                  </a:lnTo>
                  <a:lnTo>
                    <a:pt x="156" y="69"/>
                  </a:lnTo>
                  <a:lnTo>
                    <a:pt x="175" y="69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17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17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32" name="Group 338"/>
            <p:cNvGrpSpPr>
              <a:grpSpLocks/>
            </p:cNvGrpSpPr>
            <p:nvPr/>
          </p:nvGrpSpPr>
          <p:grpSpPr bwMode="auto">
            <a:xfrm>
              <a:off x="839" y="2995"/>
              <a:ext cx="175" cy="127"/>
              <a:chOff x="839" y="2995"/>
              <a:chExt cx="175" cy="127"/>
            </a:xfrm>
          </p:grpSpPr>
          <p:sp>
            <p:nvSpPr>
              <p:cNvPr id="391" name="Freeform 340"/>
              <p:cNvSpPr>
                <a:spLocks/>
              </p:cNvSpPr>
              <p:nvPr/>
            </p:nvSpPr>
            <p:spPr bwMode="auto">
              <a:xfrm>
                <a:off x="839" y="2994"/>
                <a:ext cx="174" cy="128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2" name="Freeform 339"/>
              <p:cNvSpPr>
                <a:spLocks/>
              </p:cNvSpPr>
              <p:nvPr/>
            </p:nvSpPr>
            <p:spPr bwMode="auto">
              <a:xfrm>
                <a:off x="839" y="2994"/>
                <a:ext cx="174" cy="128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76" name="Freeform 337"/>
            <p:cNvSpPr>
              <a:spLocks/>
            </p:cNvSpPr>
            <p:nvPr/>
          </p:nvSpPr>
          <p:spPr bwMode="auto">
            <a:xfrm>
              <a:off x="878" y="3093"/>
              <a:ext cx="155" cy="107"/>
            </a:xfrm>
            <a:custGeom>
              <a:avLst/>
              <a:gdLst>
                <a:gd name="T0" fmla="*/ 146 w 156"/>
                <a:gd name="T1" fmla="*/ 29 h 107"/>
                <a:gd name="T2" fmla="*/ 14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2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146 w 156"/>
                <a:gd name="T65" fmla="*/ 29 h 1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07"/>
                <a:gd name="T101" fmla="*/ 156 w 156"/>
                <a:gd name="T102" fmla="*/ 107 h 1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07">
                  <a:moveTo>
                    <a:pt x="146" y="29"/>
                  </a:moveTo>
                  <a:lnTo>
                    <a:pt x="146" y="39"/>
                  </a:ln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2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  <a:lnTo>
                    <a:pt x="146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34" name="Group 334"/>
            <p:cNvGrpSpPr>
              <a:grpSpLocks/>
            </p:cNvGrpSpPr>
            <p:nvPr/>
          </p:nvGrpSpPr>
          <p:grpSpPr bwMode="auto">
            <a:xfrm>
              <a:off x="878" y="3093"/>
              <a:ext cx="156" cy="107"/>
              <a:chOff x="878" y="3093"/>
              <a:chExt cx="156" cy="107"/>
            </a:xfrm>
          </p:grpSpPr>
          <p:sp>
            <p:nvSpPr>
              <p:cNvPr id="389" name="Freeform 336"/>
              <p:cNvSpPr>
                <a:spLocks/>
              </p:cNvSpPr>
              <p:nvPr/>
            </p:nvSpPr>
            <p:spPr bwMode="auto">
              <a:xfrm>
                <a:off x="878" y="3093"/>
                <a:ext cx="155" cy="107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146 w 156"/>
                  <a:gd name="T65" fmla="*/ 39 h 10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6"/>
                  <a:gd name="T100" fmla="*/ 0 h 107"/>
                  <a:gd name="T101" fmla="*/ 156 w 156"/>
                  <a:gd name="T102" fmla="*/ 107 h 10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  <a:lnTo>
                      <a:pt x="146" y="39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0" name="Freeform 335"/>
              <p:cNvSpPr>
                <a:spLocks/>
              </p:cNvSpPr>
              <p:nvPr/>
            </p:nvSpPr>
            <p:spPr bwMode="auto">
              <a:xfrm>
                <a:off x="878" y="3093"/>
                <a:ext cx="155" cy="107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56"/>
                  <a:gd name="T97" fmla="*/ 0 h 107"/>
                  <a:gd name="T98" fmla="*/ 156 w 156"/>
                  <a:gd name="T99" fmla="*/ 107 h 10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78" name="Freeform 333"/>
            <p:cNvSpPr>
              <a:spLocks/>
            </p:cNvSpPr>
            <p:nvPr/>
          </p:nvSpPr>
          <p:spPr bwMode="auto">
            <a:xfrm>
              <a:off x="937" y="3122"/>
              <a:ext cx="96" cy="116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3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107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3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107"/>
                  </a:lnTo>
                  <a:lnTo>
                    <a:pt x="30" y="11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36" name="Group 330"/>
            <p:cNvGrpSpPr>
              <a:grpSpLocks/>
            </p:cNvGrpSpPr>
            <p:nvPr/>
          </p:nvGrpSpPr>
          <p:grpSpPr bwMode="auto">
            <a:xfrm>
              <a:off x="936" y="3122"/>
              <a:ext cx="98" cy="117"/>
              <a:chOff x="936" y="3122"/>
              <a:chExt cx="98" cy="117"/>
            </a:xfrm>
          </p:grpSpPr>
          <p:sp>
            <p:nvSpPr>
              <p:cNvPr id="387" name="Freeform 332"/>
              <p:cNvSpPr>
                <a:spLocks/>
              </p:cNvSpPr>
              <p:nvPr/>
            </p:nvSpPr>
            <p:spPr bwMode="auto">
              <a:xfrm>
                <a:off x="937" y="3122"/>
                <a:ext cx="96" cy="116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8" name="Freeform 331"/>
              <p:cNvSpPr>
                <a:spLocks/>
              </p:cNvSpPr>
              <p:nvPr/>
            </p:nvSpPr>
            <p:spPr bwMode="auto">
              <a:xfrm>
                <a:off x="937" y="3122"/>
                <a:ext cx="96" cy="116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0" name="Freeform 329"/>
            <p:cNvSpPr>
              <a:spLocks/>
            </p:cNvSpPr>
            <p:nvPr/>
          </p:nvSpPr>
          <p:spPr bwMode="auto">
            <a:xfrm>
              <a:off x="965" y="3122"/>
              <a:ext cx="174" cy="177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6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6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2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88 h 176"/>
                <a:gd name="T48" fmla="*/ 146 w 175"/>
                <a:gd name="T49" fmla="*/ 88 h 176"/>
                <a:gd name="T50" fmla="*/ 136 w 175"/>
                <a:gd name="T51" fmla="*/ 78 h 176"/>
                <a:gd name="T52" fmla="*/ 146 w 175"/>
                <a:gd name="T53" fmla="*/ 59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97 w 175"/>
                <a:gd name="T65" fmla="*/ 29 h 176"/>
                <a:gd name="T66" fmla="*/ 97 w 175"/>
                <a:gd name="T67" fmla="*/ 10 h 176"/>
                <a:gd name="T68" fmla="*/ 97 w 175"/>
                <a:gd name="T69" fmla="*/ 0 h 176"/>
                <a:gd name="T70" fmla="*/ 68 w 175"/>
                <a:gd name="T71" fmla="*/ 2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176"/>
                <a:gd name="T110" fmla="*/ 175 w 175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6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6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2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88"/>
                  </a:lnTo>
                  <a:lnTo>
                    <a:pt x="146" y="88"/>
                  </a:lnTo>
                  <a:lnTo>
                    <a:pt x="136" y="78"/>
                  </a:lnTo>
                  <a:lnTo>
                    <a:pt x="146" y="59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97" y="29"/>
                  </a:lnTo>
                  <a:lnTo>
                    <a:pt x="97" y="10"/>
                  </a:lnTo>
                  <a:lnTo>
                    <a:pt x="97" y="0"/>
                  </a:lnTo>
                  <a:lnTo>
                    <a:pt x="68" y="2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38" name="Group 326"/>
            <p:cNvGrpSpPr>
              <a:grpSpLocks/>
            </p:cNvGrpSpPr>
            <p:nvPr/>
          </p:nvGrpSpPr>
          <p:grpSpPr bwMode="auto">
            <a:xfrm>
              <a:off x="966" y="3122"/>
              <a:ext cx="175" cy="176"/>
              <a:chOff x="966" y="3122"/>
              <a:chExt cx="175" cy="176"/>
            </a:xfrm>
          </p:grpSpPr>
          <p:sp>
            <p:nvSpPr>
              <p:cNvPr id="385" name="Freeform 328"/>
              <p:cNvSpPr>
                <a:spLocks/>
              </p:cNvSpPr>
              <p:nvPr/>
            </p:nvSpPr>
            <p:spPr bwMode="auto">
              <a:xfrm>
                <a:off x="965" y="3122"/>
                <a:ext cx="174" cy="177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68 w 175"/>
                  <a:gd name="T71" fmla="*/ 20 h 17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75"/>
                  <a:gd name="T109" fmla="*/ 0 h 176"/>
                  <a:gd name="T110" fmla="*/ 175 w 175"/>
                  <a:gd name="T111" fmla="*/ 176 h 17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  <a:lnTo>
                      <a:pt x="68" y="20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6" name="Freeform 327"/>
              <p:cNvSpPr>
                <a:spLocks/>
              </p:cNvSpPr>
              <p:nvPr/>
            </p:nvSpPr>
            <p:spPr bwMode="auto">
              <a:xfrm>
                <a:off x="965" y="3122"/>
                <a:ext cx="174" cy="177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5"/>
                  <a:gd name="T106" fmla="*/ 0 h 176"/>
                  <a:gd name="T107" fmla="*/ 175 w 175"/>
                  <a:gd name="T108" fmla="*/ 176 h 17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2" name="Freeform 325"/>
            <p:cNvSpPr>
              <a:spLocks/>
            </p:cNvSpPr>
            <p:nvPr/>
          </p:nvSpPr>
          <p:spPr bwMode="auto">
            <a:xfrm>
              <a:off x="957" y="3073"/>
              <a:ext cx="301" cy="439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88 w 302"/>
                <a:gd name="T101" fmla="*/ 225 h 4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2"/>
                <a:gd name="T154" fmla="*/ 0 h 439"/>
                <a:gd name="T155" fmla="*/ 302 w 302"/>
                <a:gd name="T156" fmla="*/ 439 h 4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1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  <a:lnTo>
                    <a:pt x="88" y="22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40" name="Group 322"/>
            <p:cNvGrpSpPr>
              <a:grpSpLocks/>
            </p:cNvGrpSpPr>
            <p:nvPr/>
          </p:nvGrpSpPr>
          <p:grpSpPr bwMode="auto">
            <a:xfrm>
              <a:off x="956" y="3073"/>
              <a:ext cx="302" cy="439"/>
              <a:chOff x="956" y="3073"/>
              <a:chExt cx="302" cy="439"/>
            </a:xfrm>
          </p:grpSpPr>
          <p:sp>
            <p:nvSpPr>
              <p:cNvPr id="383" name="Freeform 324"/>
              <p:cNvSpPr>
                <a:spLocks/>
              </p:cNvSpPr>
              <p:nvPr/>
            </p:nvSpPr>
            <p:spPr bwMode="auto">
              <a:xfrm>
                <a:off x="957" y="3073"/>
                <a:ext cx="301" cy="439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88 w 302"/>
                  <a:gd name="T101" fmla="*/ 225 h 43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2"/>
                  <a:gd name="T154" fmla="*/ 0 h 439"/>
                  <a:gd name="T155" fmla="*/ 302 w 302"/>
                  <a:gd name="T156" fmla="*/ 439 h 43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  <a:lnTo>
                      <a:pt x="88" y="225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4" name="Freeform 323"/>
              <p:cNvSpPr>
                <a:spLocks/>
              </p:cNvSpPr>
              <p:nvPr/>
            </p:nvSpPr>
            <p:spPr bwMode="auto">
              <a:xfrm>
                <a:off x="957" y="3073"/>
                <a:ext cx="301" cy="439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02"/>
                  <a:gd name="T151" fmla="*/ 0 h 439"/>
                  <a:gd name="T152" fmla="*/ 302 w 302"/>
                  <a:gd name="T153" fmla="*/ 439 h 43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4" name="Freeform 321"/>
            <p:cNvSpPr>
              <a:spLocks/>
            </p:cNvSpPr>
            <p:nvPr/>
          </p:nvSpPr>
          <p:spPr bwMode="auto">
            <a:xfrm>
              <a:off x="3171" y="2692"/>
              <a:ext cx="692" cy="529"/>
            </a:xfrm>
            <a:custGeom>
              <a:avLst/>
              <a:gdLst>
                <a:gd name="T0" fmla="*/ 263 w 693"/>
                <a:gd name="T1" fmla="*/ 517 h 527"/>
                <a:gd name="T2" fmla="*/ 283 w 693"/>
                <a:gd name="T3" fmla="*/ 497 h 527"/>
                <a:gd name="T4" fmla="*/ 293 w 693"/>
                <a:gd name="T5" fmla="*/ 468 h 527"/>
                <a:gd name="T6" fmla="*/ 312 w 693"/>
                <a:gd name="T7" fmla="*/ 449 h 527"/>
                <a:gd name="T8" fmla="*/ 322 w 693"/>
                <a:gd name="T9" fmla="*/ 449 h 527"/>
                <a:gd name="T10" fmla="*/ 332 w 693"/>
                <a:gd name="T11" fmla="*/ 429 h 527"/>
                <a:gd name="T12" fmla="*/ 342 w 693"/>
                <a:gd name="T13" fmla="*/ 429 h 527"/>
                <a:gd name="T14" fmla="*/ 342 w 693"/>
                <a:gd name="T15" fmla="*/ 410 h 527"/>
                <a:gd name="T16" fmla="*/ 361 w 693"/>
                <a:gd name="T17" fmla="*/ 400 h 527"/>
                <a:gd name="T18" fmla="*/ 361 w 693"/>
                <a:gd name="T19" fmla="*/ 390 h 527"/>
                <a:gd name="T20" fmla="*/ 400 w 693"/>
                <a:gd name="T21" fmla="*/ 390 h 527"/>
                <a:gd name="T22" fmla="*/ 410 w 693"/>
                <a:gd name="T23" fmla="*/ 371 h 527"/>
                <a:gd name="T24" fmla="*/ 390 w 693"/>
                <a:gd name="T25" fmla="*/ 312 h 527"/>
                <a:gd name="T26" fmla="*/ 351 w 693"/>
                <a:gd name="T27" fmla="*/ 293 h 527"/>
                <a:gd name="T28" fmla="*/ 381 w 693"/>
                <a:gd name="T29" fmla="*/ 293 h 527"/>
                <a:gd name="T30" fmla="*/ 390 w 693"/>
                <a:gd name="T31" fmla="*/ 283 h 527"/>
                <a:gd name="T32" fmla="*/ 390 w 693"/>
                <a:gd name="T33" fmla="*/ 234 h 527"/>
                <a:gd name="T34" fmla="*/ 439 w 693"/>
                <a:gd name="T35" fmla="*/ 185 h 527"/>
                <a:gd name="T36" fmla="*/ 449 w 693"/>
                <a:gd name="T37" fmla="*/ 215 h 527"/>
                <a:gd name="T38" fmla="*/ 449 w 693"/>
                <a:gd name="T39" fmla="*/ 244 h 527"/>
                <a:gd name="T40" fmla="*/ 468 w 693"/>
                <a:gd name="T41" fmla="*/ 254 h 527"/>
                <a:gd name="T42" fmla="*/ 507 w 693"/>
                <a:gd name="T43" fmla="*/ 293 h 527"/>
                <a:gd name="T44" fmla="*/ 546 w 693"/>
                <a:gd name="T45" fmla="*/ 293 h 527"/>
                <a:gd name="T46" fmla="*/ 595 w 693"/>
                <a:gd name="T47" fmla="*/ 302 h 527"/>
                <a:gd name="T48" fmla="*/ 624 w 693"/>
                <a:gd name="T49" fmla="*/ 312 h 527"/>
                <a:gd name="T50" fmla="*/ 654 w 693"/>
                <a:gd name="T51" fmla="*/ 293 h 527"/>
                <a:gd name="T52" fmla="*/ 683 w 693"/>
                <a:gd name="T53" fmla="*/ 283 h 527"/>
                <a:gd name="T54" fmla="*/ 663 w 693"/>
                <a:gd name="T55" fmla="*/ 263 h 527"/>
                <a:gd name="T56" fmla="*/ 624 w 693"/>
                <a:gd name="T57" fmla="*/ 234 h 527"/>
                <a:gd name="T58" fmla="*/ 585 w 693"/>
                <a:gd name="T59" fmla="*/ 205 h 527"/>
                <a:gd name="T60" fmla="*/ 585 w 693"/>
                <a:gd name="T61" fmla="*/ 175 h 527"/>
                <a:gd name="T62" fmla="*/ 566 w 693"/>
                <a:gd name="T63" fmla="*/ 166 h 527"/>
                <a:gd name="T64" fmla="*/ 566 w 693"/>
                <a:gd name="T65" fmla="*/ 136 h 527"/>
                <a:gd name="T66" fmla="*/ 537 w 693"/>
                <a:gd name="T67" fmla="*/ 68 h 527"/>
                <a:gd name="T68" fmla="*/ 498 w 693"/>
                <a:gd name="T69" fmla="*/ 39 h 527"/>
                <a:gd name="T70" fmla="*/ 468 w 693"/>
                <a:gd name="T71" fmla="*/ 19 h 527"/>
                <a:gd name="T72" fmla="*/ 449 w 693"/>
                <a:gd name="T73" fmla="*/ 0 h 527"/>
                <a:gd name="T74" fmla="*/ 420 w 693"/>
                <a:gd name="T75" fmla="*/ 0 h 527"/>
                <a:gd name="T76" fmla="*/ 410 w 693"/>
                <a:gd name="T77" fmla="*/ 19 h 527"/>
                <a:gd name="T78" fmla="*/ 361 w 693"/>
                <a:gd name="T79" fmla="*/ 29 h 527"/>
                <a:gd name="T80" fmla="*/ 332 w 693"/>
                <a:gd name="T81" fmla="*/ 49 h 527"/>
                <a:gd name="T82" fmla="*/ 303 w 693"/>
                <a:gd name="T83" fmla="*/ 49 h 527"/>
                <a:gd name="T84" fmla="*/ 263 w 693"/>
                <a:gd name="T85" fmla="*/ 39 h 527"/>
                <a:gd name="T86" fmla="*/ 234 w 693"/>
                <a:gd name="T87" fmla="*/ 39 h 527"/>
                <a:gd name="T88" fmla="*/ 215 w 693"/>
                <a:gd name="T89" fmla="*/ 68 h 527"/>
                <a:gd name="T90" fmla="*/ 176 w 693"/>
                <a:gd name="T91" fmla="*/ 58 h 527"/>
                <a:gd name="T92" fmla="*/ 166 w 693"/>
                <a:gd name="T93" fmla="*/ 117 h 527"/>
                <a:gd name="T94" fmla="*/ 107 w 693"/>
                <a:gd name="T95" fmla="*/ 117 h 527"/>
                <a:gd name="T96" fmla="*/ 49 w 693"/>
                <a:gd name="T97" fmla="*/ 146 h 527"/>
                <a:gd name="T98" fmla="*/ 49 w 693"/>
                <a:gd name="T99" fmla="*/ 185 h 527"/>
                <a:gd name="T100" fmla="*/ 0 w 693"/>
                <a:gd name="T101" fmla="*/ 224 h 527"/>
                <a:gd name="T102" fmla="*/ 10 w 693"/>
                <a:gd name="T103" fmla="*/ 263 h 527"/>
                <a:gd name="T104" fmla="*/ 29 w 693"/>
                <a:gd name="T105" fmla="*/ 312 h 527"/>
                <a:gd name="T106" fmla="*/ 78 w 693"/>
                <a:gd name="T107" fmla="*/ 341 h 527"/>
                <a:gd name="T108" fmla="*/ 88 w 693"/>
                <a:gd name="T109" fmla="*/ 380 h 527"/>
                <a:gd name="T110" fmla="*/ 127 w 693"/>
                <a:gd name="T111" fmla="*/ 410 h 527"/>
                <a:gd name="T112" fmla="*/ 146 w 693"/>
                <a:gd name="T113" fmla="*/ 419 h 527"/>
                <a:gd name="T114" fmla="*/ 166 w 693"/>
                <a:gd name="T115" fmla="*/ 468 h 527"/>
                <a:gd name="T116" fmla="*/ 195 w 693"/>
                <a:gd name="T117" fmla="*/ 468 h 527"/>
                <a:gd name="T118" fmla="*/ 205 w 693"/>
                <a:gd name="T119" fmla="*/ 478 h 527"/>
                <a:gd name="T120" fmla="*/ 234 w 693"/>
                <a:gd name="T121" fmla="*/ 517 h 527"/>
                <a:gd name="T122" fmla="*/ 254 w 693"/>
                <a:gd name="T123" fmla="*/ 517 h 52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93"/>
                <a:gd name="T187" fmla="*/ 0 h 527"/>
                <a:gd name="T188" fmla="*/ 693 w 693"/>
                <a:gd name="T189" fmla="*/ 527 h 52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93" h="527">
                  <a:moveTo>
                    <a:pt x="263" y="517"/>
                  </a:moveTo>
                  <a:lnTo>
                    <a:pt x="263" y="517"/>
                  </a:lnTo>
                  <a:lnTo>
                    <a:pt x="263" y="497"/>
                  </a:lnTo>
                  <a:lnTo>
                    <a:pt x="283" y="497"/>
                  </a:lnTo>
                  <a:lnTo>
                    <a:pt x="293" y="488"/>
                  </a:lnTo>
                  <a:lnTo>
                    <a:pt x="293" y="468"/>
                  </a:lnTo>
                  <a:lnTo>
                    <a:pt x="293" y="458"/>
                  </a:lnTo>
                  <a:lnTo>
                    <a:pt x="312" y="449"/>
                  </a:lnTo>
                  <a:lnTo>
                    <a:pt x="322" y="449"/>
                  </a:lnTo>
                  <a:lnTo>
                    <a:pt x="322" y="429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32" y="419"/>
                  </a:lnTo>
                  <a:lnTo>
                    <a:pt x="342" y="410"/>
                  </a:lnTo>
                  <a:lnTo>
                    <a:pt x="361" y="410"/>
                  </a:lnTo>
                  <a:lnTo>
                    <a:pt x="361" y="400"/>
                  </a:lnTo>
                  <a:lnTo>
                    <a:pt x="361" y="390"/>
                  </a:lnTo>
                  <a:lnTo>
                    <a:pt x="381" y="410"/>
                  </a:lnTo>
                  <a:lnTo>
                    <a:pt x="400" y="390"/>
                  </a:lnTo>
                  <a:lnTo>
                    <a:pt x="410" y="380"/>
                  </a:lnTo>
                  <a:lnTo>
                    <a:pt x="410" y="371"/>
                  </a:lnTo>
                  <a:lnTo>
                    <a:pt x="400" y="332"/>
                  </a:lnTo>
                  <a:lnTo>
                    <a:pt x="390" y="312"/>
                  </a:lnTo>
                  <a:lnTo>
                    <a:pt x="361" y="312"/>
                  </a:lnTo>
                  <a:lnTo>
                    <a:pt x="351" y="293"/>
                  </a:lnTo>
                  <a:lnTo>
                    <a:pt x="361" y="293"/>
                  </a:lnTo>
                  <a:lnTo>
                    <a:pt x="381" y="293"/>
                  </a:lnTo>
                  <a:lnTo>
                    <a:pt x="390" y="293"/>
                  </a:lnTo>
                  <a:lnTo>
                    <a:pt x="390" y="283"/>
                  </a:lnTo>
                  <a:lnTo>
                    <a:pt x="390" y="254"/>
                  </a:lnTo>
                  <a:lnTo>
                    <a:pt x="390" y="234"/>
                  </a:lnTo>
                  <a:lnTo>
                    <a:pt x="420" y="205"/>
                  </a:lnTo>
                  <a:lnTo>
                    <a:pt x="439" y="185"/>
                  </a:lnTo>
                  <a:lnTo>
                    <a:pt x="449" y="195"/>
                  </a:lnTo>
                  <a:lnTo>
                    <a:pt x="449" y="215"/>
                  </a:lnTo>
                  <a:lnTo>
                    <a:pt x="449" y="234"/>
                  </a:lnTo>
                  <a:lnTo>
                    <a:pt x="449" y="244"/>
                  </a:lnTo>
                  <a:lnTo>
                    <a:pt x="449" y="254"/>
                  </a:lnTo>
                  <a:lnTo>
                    <a:pt x="468" y="254"/>
                  </a:lnTo>
                  <a:lnTo>
                    <a:pt x="488" y="263"/>
                  </a:lnTo>
                  <a:lnTo>
                    <a:pt x="507" y="293"/>
                  </a:lnTo>
                  <a:lnTo>
                    <a:pt x="527" y="293"/>
                  </a:lnTo>
                  <a:lnTo>
                    <a:pt x="546" y="293"/>
                  </a:lnTo>
                  <a:lnTo>
                    <a:pt x="566" y="283"/>
                  </a:lnTo>
                  <a:lnTo>
                    <a:pt x="595" y="302"/>
                  </a:lnTo>
                  <a:lnTo>
                    <a:pt x="605" y="312"/>
                  </a:lnTo>
                  <a:lnTo>
                    <a:pt x="624" y="312"/>
                  </a:lnTo>
                  <a:lnTo>
                    <a:pt x="644" y="302"/>
                  </a:lnTo>
                  <a:lnTo>
                    <a:pt x="654" y="293"/>
                  </a:lnTo>
                  <a:lnTo>
                    <a:pt x="663" y="283"/>
                  </a:lnTo>
                  <a:lnTo>
                    <a:pt x="683" y="283"/>
                  </a:lnTo>
                  <a:lnTo>
                    <a:pt x="693" y="273"/>
                  </a:lnTo>
                  <a:lnTo>
                    <a:pt x="663" y="263"/>
                  </a:lnTo>
                  <a:lnTo>
                    <a:pt x="654" y="254"/>
                  </a:lnTo>
                  <a:lnTo>
                    <a:pt x="624" y="234"/>
                  </a:lnTo>
                  <a:lnTo>
                    <a:pt x="605" y="224"/>
                  </a:lnTo>
                  <a:lnTo>
                    <a:pt x="585" y="205"/>
                  </a:lnTo>
                  <a:lnTo>
                    <a:pt x="576" y="185"/>
                  </a:lnTo>
                  <a:lnTo>
                    <a:pt x="585" y="175"/>
                  </a:lnTo>
                  <a:lnTo>
                    <a:pt x="585" y="166"/>
                  </a:lnTo>
                  <a:lnTo>
                    <a:pt x="566" y="166"/>
                  </a:lnTo>
                  <a:lnTo>
                    <a:pt x="566" y="156"/>
                  </a:lnTo>
                  <a:lnTo>
                    <a:pt x="566" y="136"/>
                  </a:lnTo>
                  <a:lnTo>
                    <a:pt x="566" y="107"/>
                  </a:lnTo>
                  <a:lnTo>
                    <a:pt x="537" y="68"/>
                  </a:lnTo>
                  <a:lnTo>
                    <a:pt x="517" y="49"/>
                  </a:lnTo>
                  <a:lnTo>
                    <a:pt x="498" y="39"/>
                  </a:lnTo>
                  <a:lnTo>
                    <a:pt x="478" y="29"/>
                  </a:lnTo>
                  <a:lnTo>
                    <a:pt x="468" y="19"/>
                  </a:lnTo>
                  <a:lnTo>
                    <a:pt x="449" y="19"/>
                  </a:lnTo>
                  <a:lnTo>
                    <a:pt x="449" y="0"/>
                  </a:lnTo>
                  <a:lnTo>
                    <a:pt x="429" y="0"/>
                  </a:lnTo>
                  <a:lnTo>
                    <a:pt x="420" y="0"/>
                  </a:lnTo>
                  <a:lnTo>
                    <a:pt x="420" y="10"/>
                  </a:lnTo>
                  <a:lnTo>
                    <a:pt x="410" y="19"/>
                  </a:lnTo>
                  <a:lnTo>
                    <a:pt x="381" y="29"/>
                  </a:lnTo>
                  <a:lnTo>
                    <a:pt x="361" y="29"/>
                  </a:lnTo>
                  <a:lnTo>
                    <a:pt x="361" y="49"/>
                  </a:lnTo>
                  <a:lnTo>
                    <a:pt x="332" y="49"/>
                  </a:lnTo>
                  <a:lnTo>
                    <a:pt x="322" y="39"/>
                  </a:lnTo>
                  <a:lnTo>
                    <a:pt x="303" y="49"/>
                  </a:lnTo>
                  <a:lnTo>
                    <a:pt x="283" y="49"/>
                  </a:lnTo>
                  <a:lnTo>
                    <a:pt x="263" y="39"/>
                  </a:lnTo>
                  <a:lnTo>
                    <a:pt x="254" y="39"/>
                  </a:lnTo>
                  <a:lnTo>
                    <a:pt x="234" y="39"/>
                  </a:lnTo>
                  <a:lnTo>
                    <a:pt x="234" y="68"/>
                  </a:lnTo>
                  <a:lnTo>
                    <a:pt x="215" y="68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66" y="88"/>
                  </a:lnTo>
                  <a:lnTo>
                    <a:pt x="166" y="117"/>
                  </a:lnTo>
                  <a:lnTo>
                    <a:pt x="127" y="117"/>
                  </a:lnTo>
                  <a:lnTo>
                    <a:pt x="107" y="117"/>
                  </a:lnTo>
                  <a:lnTo>
                    <a:pt x="59" y="117"/>
                  </a:lnTo>
                  <a:lnTo>
                    <a:pt x="49" y="146"/>
                  </a:lnTo>
                  <a:lnTo>
                    <a:pt x="49" y="166"/>
                  </a:lnTo>
                  <a:lnTo>
                    <a:pt x="49" y="185"/>
                  </a:lnTo>
                  <a:lnTo>
                    <a:pt x="20" y="205"/>
                  </a:lnTo>
                  <a:lnTo>
                    <a:pt x="0" y="224"/>
                  </a:lnTo>
                  <a:lnTo>
                    <a:pt x="0" y="244"/>
                  </a:lnTo>
                  <a:lnTo>
                    <a:pt x="10" y="263"/>
                  </a:lnTo>
                  <a:lnTo>
                    <a:pt x="20" y="283"/>
                  </a:lnTo>
                  <a:lnTo>
                    <a:pt x="29" y="312"/>
                  </a:lnTo>
                  <a:lnTo>
                    <a:pt x="49" y="332"/>
                  </a:lnTo>
                  <a:lnTo>
                    <a:pt x="78" y="341"/>
                  </a:lnTo>
                  <a:lnTo>
                    <a:pt x="88" y="361"/>
                  </a:lnTo>
                  <a:lnTo>
                    <a:pt x="88" y="380"/>
                  </a:lnTo>
                  <a:lnTo>
                    <a:pt x="107" y="390"/>
                  </a:lnTo>
                  <a:lnTo>
                    <a:pt x="127" y="410"/>
                  </a:lnTo>
                  <a:lnTo>
                    <a:pt x="146" y="400"/>
                  </a:lnTo>
                  <a:lnTo>
                    <a:pt x="146" y="419"/>
                  </a:lnTo>
                  <a:lnTo>
                    <a:pt x="156" y="429"/>
                  </a:lnTo>
                  <a:lnTo>
                    <a:pt x="166" y="468"/>
                  </a:lnTo>
                  <a:lnTo>
                    <a:pt x="185" y="468"/>
                  </a:lnTo>
                  <a:lnTo>
                    <a:pt x="195" y="468"/>
                  </a:lnTo>
                  <a:lnTo>
                    <a:pt x="195" y="478"/>
                  </a:lnTo>
                  <a:lnTo>
                    <a:pt x="205" y="478"/>
                  </a:lnTo>
                  <a:lnTo>
                    <a:pt x="215" y="497"/>
                  </a:lnTo>
                  <a:lnTo>
                    <a:pt x="234" y="517"/>
                  </a:lnTo>
                  <a:lnTo>
                    <a:pt x="244" y="527"/>
                  </a:lnTo>
                  <a:lnTo>
                    <a:pt x="254" y="517"/>
                  </a:lnTo>
                  <a:lnTo>
                    <a:pt x="263" y="517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5" name="Freeform 320"/>
            <p:cNvSpPr>
              <a:spLocks/>
            </p:cNvSpPr>
            <p:nvPr/>
          </p:nvSpPr>
          <p:spPr bwMode="auto">
            <a:xfrm>
              <a:off x="3413" y="2878"/>
              <a:ext cx="450" cy="616"/>
            </a:xfrm>
            <a:custGeom>
              <a:avLst/>
              <a:gdLst>
                <a:gd name="T0" fmla="*/ 166 w 449"/>
                <a:gd name="T1" fmla="*/ 195 h 615"/>
                <a:gd name="T2" fmla="*/ 146 w 449"/>
                <a:gd name="T3" fmla="*/ 127 h 615"/>
                <a:gd name="T4" fmla="*/ 117 w 449"/>
                <a:gd name="T5" fmla="*/ 108 h 615"/>
                <a:gd name="T6" fmla="*/ 146 w 449"/>
                <a:gd name="T7" fmla="*/ 98 h 615"/>
                <a:gd name="T8" fmla="*/ 176 w 449"/>
                <a:gd name="T9" fmla="*/ 20 h 615"/>
                <a:gd name="T10" fmla="*/ 205 w 449"/>
                <a:gd name="T11" fmla="*/ 30 h 615"/>
                <a:gd name="T12" fmla="*/ 205 w 449"/>
                <a:gd name="T13" fmla="*/ 69 h 615"/>
                <a:gd name="T14" fmla="*/ 273 w 449"/>
                <a:gd name="T15" fmla="*/ 108 h 615"/>
                <a:gd name="T16" fmla="*/ 322 w 449"/>
                <a:gd name="T17" fmla="*/ 98 h 615"/>
                <a:gd name="T18" fmla="*/ 380 w 449"/>
                <a:gd name="T19" fmla="*/ 127 h 615"/>
                <a:gd name="T20" fmla="*/ 419 w 449"/>
                <a:gd name="T21" fmla="*/ 98 h 615"/>
                <a:gd name="T22" fmla="*/ 449 w 449"/>
                <a:gd name="T23" fmla="*/ 108 h 615"/>
                <a:gd name="T24" fmla="*/ 419 w 449"/>
                <a:gd name="T25" fmla="*/ 127 h 615"/>
                <a:gd name="T26" fmla="*/ 419 w 449"/>
                <a:gd name="T27" fmla="*/ 147 h 615"/>
                <a:gd name="T28" fmla="*/ 449 w 449"/>
                <a:gd name="T29" fmla="*/ 186 h 615"/>
                <a:gd name="T30" fmla="*/ 419 w 449"/>
                <a:gd name="T31" fmla="*/ 225 h 615"/>
                <a:gd name="T32" fmla="*/ 429 w 449"/>
                <a:gd name="T33" fmla="*/ 293 h 615"/>
                <a:gd name="T34" fmla="*/ 410 w 449"/>
                <a:gd name="T35" fmla="*/ 332 h 615"/>
                <a:gd name="T36" fmla="*/ 410 w 449"/>
                <a:gd name="T37" fmla="*/ 371 h 615"/>
                <a:gd name="T38" fmla="*/ 390 w 449"/>
                <a:gd name="T39" fmla="*/ 381 h 615"/>
                <a:gd name="T40" fmla="*/ 341 w 449"/>
                <a:gd name="T41" fmla="*/ 381 h 615"/>
                <a:gd name="T42" fmla="*/ 322 w 449"/>
                <a:gd name="T43" fmla="*/ 410 h 615"/>
                <a:gd name="T44" fmla="*/ 302 w 449"/>
                <a:gd name="T45" fmla="*/ 430 h 615"/>
                <a:gd name="T46" fmla="*/ 302 w 449"/>
                <a:gd name="T47" fmla="*/ 488 h 615"/>
                <a:gd name="T48" fmla="*/ 322 w 449"/>
                <a:gd name="T49" fmla="*/ 527 h 615"/>
                <a:gd name="T50" fmla="*/ 293 w 449"/>
                <a:gd name="T51" fmla="*/ 547 h 615"/>
                <a:gd name="T52" fmla="*/ 283 w 449"/>
                <a:gd name="T53" fmla="*/ 586 h 615"/>
                <a:gd name="T54" fmla="*/ 254 w 449"/>
                <a:gd name="T55" fmla="*/ 605 h 615"/>
                <a:gd name="T56" fmla="*/ 195 w 449"/>
                <a:gd name="T57" fmla="*/ 605 h 615"/>
                <a:gd name="T58" fmla="*/ 166 w 449"/>
                <a:gd name="T59" fmla="*/ 615 h 615"/>
                <a:gd name="T60" fmla="*/ 137 w 449"/>
                <a:gd name="T61" fmla="*/ 595 h 615"/>
                <a:gd name="T62" fmla="*/ 107 w 449"/>
                <a:gd name="T63" fmla="*/ 595 h 615"/>
                <a:gd name="T64" fmla="*/ 127 w 449"/>
                <a:gd name="T65" fmla="*/ 556 h 615"/>
                <a:gd name="T66" fmla="*/ 156 w 449"/>
                <a:gd name="T67" fmla="*/ 547 h 615"/>
                <a:gd name="T68" fmla="*/ 127 w 449"/>
                <a:gd name="T69" fmla="*/ 547 h 615"/>
                <a:gd name="T70" fmla="*/ 107 w 449"/>
                <a:gd name="T71" fmla="*/ 517 h 615"/>
                <a:gd name="T72" fmla="*/ 88 w 449"/>
                <a:gd name="T73" fmla="*/ 527 h 615"/>
                <a:gd name="T74" fmla="*/ 78 w 449"/>
                <a:gd name="T75" fmla="*/ 508 h 615"/>
                <a:gd name="T76" fmla="*/ 78 w 449"/>
                <a:gd name="T77" fmla="*/ 478 h 615"/>
                <a:gd name="T78" fmla="*/ 68 w 449"/>
                <a:gd name="T79" fmla="*/ 488 h 615"/>
                <a:gd name="T80" fmla="*/ 49 w 449"/>
                <a:gd name="T81" fmla="*/ 478 h 615"/>
                <a:gd name="T82" fmla="*/ 19 w 449"/>
                <a:gd name="T83" fmla="*/ 478 h 615"/>
                <a:gd name="T84" fmla="*/ 0 w 449"/>
                <a:gd name="T85" fmla="*/ 469 h 615"/>
                <a:gd name="T86" fmla="*/ 19 w 449"/>
                <a:gd name="T87" fmla="*/ 430 h 615"/>
                <a:gd name="T88" fmla="*/ 29 w 449"/>
                <a:gd name="T89" fmla="*/ 400 h 615"/>
                <a:gd name="T90" fmla="*/ 39 w 449"/>
                <a:gd name="T91" fmla="*/ 351 h 615"/>
                <a:gd name="T92" fmla="*/ 29 w 449"/>
                <a:gd name="T93" fmla="*/ 312 h 615"/>
                <a:gd name="T94" fmla="*/ 49 w 449"/>
                <a:gd name="T95" fmla="*/ 293 h 615"/>
                <a:gd name="T96" fmla="*/ 78 w 449"/>
                <a:gd name="T97" fmla="*/ 273 h 615"/>
                <a:gd name="T98" fmla="*/ 88 w 449"/>
                <a:gd name="T99" fmla="*/ 254 h 615"/>
                <a:gd name="T100" fmla="*/ 98 w 449"/>
                <a:gd name="T101" fmla="*/ 234 h 615"/>
                <a:gd name="T102" fmla="*/ 117 w 449"/>
                <a:gd name="T103" fmla="*/ 215 h 615"/>
                <a:gd name="T104" fmla="*/ 137 w 449"/>
                <a:gd name="T105" fmla="*/ 225 h 6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49"/>
                <a:gd name="T160" fmla="*/ 0 h 615"/>
                <a:gd name="T161" fmla="*/ 449 w 449"/>
                <a:gd name="T162" fmla="*/ 615 h 6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49" h="615">
                  <a:moveTo>
                    <a:pt x="137" y="225"/>
                  </a:moveTo>
                  <a:lnTo>
                    <a:pt x="156" y="215"/>
                  </a:lnTo>
                  <a:lnTo>
                    <a:pt x="166" y="195"/>
                  </a:lnTo>
                  <a:lnTo>
                    <a:pt x="166" y="186"/>
                  </a:lnTo>
                  <a:lnTo>
                    <a:pt x="156" y="156"/>
                  </a:lnTo>
                  <a:lnTo>
                    <a:pt x="146" y="12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117" y="108"/>
                  </a:lnTo>
                  <a:lnTo>
                    <a:pt x="137" y="108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46" y="69"/>
                  </a:lnTo>
                  <a:lnTo>
                    <a:pt x="146" y="59"/>
                  </a:lnTo>
                  <a:lnTo>
                    <a:pt x="176" y="20"/>
                  </a:lnTo>
                  <a:lnTo>
                    <a:pt x="195" y="0"/>
                  </a:lnTo>
                  <a:lnTo>
                    <a:pt x="205" y="20"/>
                  </a:lnTo>
                  <a:lnTo>
                    <a:pt x="205" y="30"/>
                  </a:lnTo>
                  <a:lnTo>
                    <a:pt x="205" y="49"/>
                  </a:lnTo>
                  <a:lnTo>
                    <a:pt x="205" y="59"/>
                  </a:lnTo>
                  <a:lnTo>
                    <a:pt x="205" y="69"/>
                  </a:lnTo>
                  <a:lnTo>
                    <a:pt x="224" y="69"/>
                  </a:lnTo>
                  <a:lnTo>
                    <a:pt x="244" y="78"/>
                  </a:lnTo>
                  <a:lnTo>
                    <a:pt x="273" y="108"/>
                  </a:lnTo>
                  <a:lnTo>
                    <a:pt x="283" y="117"/>
                  </a:lnTo>
                  <a:lnTo>
                    <a:pt x="302" y="108"/>
                  </a:lnTo>
                  <a:lnTo>
                    <a:pt x="322" y="98"/>
                  </a:lnTo>
                  <a:lnTo>
                    <a:pt x="351" y="117"/>
                  </a:lnTo>
                  <a:lnTo>
                    <a:pt x="361" y="127"/>
                  </a:lnTo>
                  <a:lnTo>
                    <a:pt x="380" y="127"/>
                  </a:lnTo>
                  <a:lnTo>
                    <a:pt x="400" y="117"/>
                  </a:lnTo>
                  <a:lnTo>
                    <a:pt x="410" y="117"/>
                  </a:lnTo>
                  <a:lnTo>
                    <a:pt x="419" y="98"/>
                  </a:lnTo>
                  <a:lnTo>
                    <a:pt x="439" y="98"/>
                  </a:lnTo>
                  <a:lnTo>
                    <a:pt x="449" y="88"/>
                  </a:lnTo>
                  <a:lnTo>
                    <a:pt x="449" y="108"/>
                  </a:lnTo>
                  <a:lnTo>
                    <a:pt x="439" y="117"/>
                  </a:lnTo>
                  <a:lnTo>
                    <a:pt x="429" y="117"/>
                  </a:lnTo>
                  <a:lnTo>
                    <a:pt x="419" y="127"/>
                  </a:lnTo>
                  <a:lnTo>
                    <a:pt x="429" y="137"/>
                  </a:lnTo>
                  <a:lnTo>
                    <a:pt x="429" y="147"/>
                  </a:lnTo>
                  <a:lnTo>
                    <a:pt x="419" y="147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49" y="186"/>
                  </a:lnTo>
                  <a:lnTo>
                    <a:pt x="429" y="195"/>
                  </a:lnTo>
                  <a:lnTo>
                    <a:pt x="429" y="215"/>
                  </a:lnTo>
                  <a:lnTo>
                    <a:pt x="419" y="225"/>
                  </a:lnTo>
                  <a:lnTo>
                    <a:pt x="429" y="244"/>
                  </a:lnTo>
                  <a:lnTo>
                    <a:pt x="429" y="254"/>
                  </a:lnTo>
                  <a:lnTo>
                    <a:pt x="429" y="293"/>
                  </a:lnTo>
                  <a:lnTo>
                    <a:pt x="429" y="312"/>
                  </a:lnTo>
                  <a:lnTo>
                    <a:pt x="429" y="332"/>
                  </a:lnTo>
                  <a:lnTo>
                    <a:pt x="410" y="332"/>
                  </a:lnTo>
                  <a:lnTo>
                    <a:pt x="400" y="332"/>
                  </a:lnTo>
                  <a:lnTo>
                    <a:pt x="390" y="351"/>
                  </a:lnTo>
                  <a:lnTo>
                    <a:pt x="410" y="371"/>
                  </a:lnTo>
                  <a:lnTo>
                    <a:pt x="410" y="381"/>
                  </a:lnTo>
                  <a:lnTo>
                    <a:pt x="400" y="381"/>
                  </a:lnTo>
                  <a:lnTo>
                    <a:pt x="390" y="381"/>
                  </a:lnTo>
                  <a:lnTo>
                    <a:pt x="380" y="371"/>
                  </a:lnTo>
                  <a:lnTo>
                    <a:pt x="371" y="381"/>
                  </a:lnTo>
                  <a:lnTo>
                    <a:pt x="341" y="381"/>
                  </a:lnTo>
                  <a:lnTo>
                    <a:pt x="332" y="391"/>
                  </a:lnTo>
                  <a:lnTo>
                    <a:pt x="332" y="410"/>
                  </a:lnTo>
                  <a:lnTo>
                    <a:pt x="322" y="410"/>
                  </a:lnTo>
                  <a:lnTo>
                    <a:pt x="312" y="410"/>
                  </a:lnTo>
                  <a:lnTo>
                    <a:pt x="312" y="430"/>
                  </a:lnTo>
                  <a:lnTo>
                    <a:pt x="302" y="430"/>
                  </a:lnTo>
                  <a:lnTo>
                    <a:pt x="293" y="449"/>
                  </a:lnTo>
                  <a:lnTo>
                    <a:pt x="293" y="469"/>
                  </a:lnTo>
                  <a:lnTo>
                    <a:pt x="302" y="488"/>
                  </a:lnTo>
                  <a:lnTo>
                    <a:pt x="312" y="498"/>
                  </a:lnTo>
                  <a:lnTo>
                    <a:pt x="322" y="517"/>
                  </a:lnTo>
                  <a:lnTo>
                    <a:pt x="322" y="527"/>
                  </a:lnTo>
                  <a:lnTo>
                    <a:pt x="312" y="527"/>
                  </a:lnTo>
                  <a:lnTo>
                    <a:pt x="302" y="527"/>
                  </a:lnTo>
                  <a:lnTo>
                    <a:pt x="293" y="547"/>
                  </a:lnTo>
                  <a:lnTo>
                    <a:pt x="293" y="566"/>
                  </a:lnTo>
                  <a:lnTo>
                    <a:pt x="283" y="576"/>
                  </a:lnTo>
                  <a:lnTo>
                    <a:pt x="283" y="586"/>
                  </a:lnTo>
                  <a:lnTo>
                    <a:pt x="273" y="586"/>
                  </a:lnTo>
                  <a:lnTo>
                    <a:pt x="273" y="595"/>
                  </a:lnTo>
                  <a:lnTo>
                    <a:pt x="254" y="605"/>
                  </a:lnTo>
                  <a:lnTo>
                    <a:pt x="244" y="605"/>
                  </a:lnTo>
                  <a:lnTo>
                    <a:pt x="215" y="605"/>
                  </a:lnTo>
                  <a:lnTo>
                    <a:pt x="195" y="605"/>
                  </a:lnTo>
                  <a:lnTo>
                    <a:pt x="185" y="605"/>
                  </a:lnTo>
                  <a:lnTo>
                    <a:pt x="185" y="615"/>
                  </a:lnTo>
                  <a:lnTo>
                    <a:pt x="166" y="615"/>
                  </a:lnTo>
                  <a:lnTo>
                    <a:pt x="166" y="605"/>
                  </a:lnTo>
                  <a:lnTo>
                    <a:pt x="156" y="605"/>
                  </a:lnTo>
                  <a:lnTo>
                    <a:pt x="137" y="595"/>
                  </a:lnTo>
                  <a:lnTo>
                    <a:pt x="127" y="595"/>
                  </a:lnTo>
                  <a:lnTo>
                    <a:pt x="117" y="595"/>
                  </a:lnTo>
                  <a:lnTo>
                    <a:pt x="107" y="595"/>
                  </a:lnTo>
                  <a:lnTo>
                    <a:pt x="107" y="576"/>
                  </a:lnTo>
                  <a:lnTo>
                    <a:pt x="107" y="566"/>
                  </a:lnTo>
                  <a:lnTo>
                    <a:pt x="127" y="556"/>
                  </a:lnTo>
                  <a:lnTo>
                    <a:pt x="137" y="556"/>
                  </a:lnTo>
                  <a:lnTo>
                    <a:pt x="156" y="556"/>
                  </a:lnTo>
                  <a:lnTo>
                    <a:pt x="156" y="547"/>
                  </a:lnTo>
                  <a:lnTo>
                    <a:pt x="146" y="547"/>
                  </a:lnTo>
                  <a:lnTo>
                    <a:pt x="137" y="547"/>
                  </a:lnTo>
                  <a:lnTo>
                    <a:pt x="127" y="547"/>
                  </a:lnTo>
                  <a:lnTo>
                    <a:pt x="117" y="537"/>
                  </a:lnTo>
                  <a:lnTo>
                    <a:pt x="107" y="527"/>
                  </a:lnTo>
                  <a:lnTo>
                    <a:pt x="107" y="517"/>
                  </a:lnTo>
                  <a:lnTo>
                    <a:pt x="98" y="508"/>
                  </a:lnTo>
                  <a:lnTo>
                    <a:pt x="88" y="517"/>
                  </a:lnTo>
                  <a:lnTo>
                    <a:pt x="88" y="527"/>
                  </a:lnTo>
                  <a:lnTo>
                    <a:pt x="78" y="517"/>
                  </a:lnTo>
                  <a:lnTo>
                    <a:pt x="68" y="517"/>
                  </a:lnTo>
                  <a:lnTo>
                    <a:pt x="78" y="508"/>
                  </a:lnTo>
                  <a:lnTo>
                    <a:pt x="78" y="498"/>
                  </a:lnTo>
                  <a:lnTo>
                    <a:pt x="78" y="488"/>
                  </a:lnTo>
                  <a:lnTo>
                    <a:pt x="78" y="478"/>
                  </a:lnTo>
                  <a:lnTo>
                    <a:pt x="68" y="478"/>
                  </a:lnTo>
                  <a:lnTo>
                    <a:pt x="68" y="488"/>
                  </a:lnTo>
                  <a:lnTo>
                    <a:pt x="59" y="488"/>
                  </a:lnTo>
                  <a:lnTo>
                    <a:pt x="49" y="478"/>
                  </a:lnTo>
                  <a:lnTo>
                    <a:pt x="39" y="478"/>
                  </a:lnTo>
                  <a:lnTo>
                    <a:pt x="29" y="488"/>
                  </a:lnTo>
                  <a:lnTo>
                    <a:pt x="19" y="478"/>
                  </a:lnTo>
                  <a:lnTo>
                    <a:pt x="19" y="469"/>
                  </a:lnTo>
                  <a:lnTo>
                    <a:pt x="10" y="469"/>
                  </a:lnTo>
                  <a:lnTo>
                    <a:pt x="0" y="469"/>
                  </a:lnTo>
                  <a:lnTo>
                    <a:pt x="0" y="459"/>
                  </a:lnTo>
                  <a:lnTo>
                    <a:pt x="10" y="439"/>
                  </a:lnTo>
                  <a:lnTo>
                    <a:pt x="19" y="430"/>
                  </a:lnTo>
                  <a:lnTo>
                    <a:pt x="19" y="420"/>
                  </a:lnTo>
                  <a:lnTo>
                    <a:pt x="39" y="410"/>
                  </a:lnTo>
                  <a:lnTo>
                    <a:pt x="29" y="400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39" y="351"/>
                  </a:lnTo>
                  <a:lnTo>
                    <a:pt x="39" y="332"/>
                  </a:lnTo>
                  <a:lnTo>
                    <a:pt x="19" y="332"/>
                  </a:lnTo>
                  <a:lnTo>
                    <a:pt x="29" y="312"/>
                  </a:lnTo>
                  <a:lnTo>
                    <a:pt x="39" y="312"/>
                  </a:lnTo>
                  <a:lnTo>
                    <a:pt x="49" y="303"/>
                  </a:lnTo>
                  <a:lnTo>
                    <a:pt x="49" y="293"/>
                  </a:lnTo>
                  <a:lnTo>
                    <a:pt x="49" y="273"/>
                  </a:lnTo>
                  <a:lnTo>
                    <a:pt x="68" y="273"/>
                  </a:lnTo>
                  <a:lnTo>
                    <a:pt x="78" y="273"/>
                  </a:lnTo>
                  <a:lnTo>
                    <a:pt x="78" y="264"/>
                  </a:lnTo>
                  <a:lnTo>
                    <a:pt x="78" y="254"/>
                  </a:lnTo>
                  <a:lnTo>
                    <a:pt x="88" y="254"/>
                  </a:lnTo>
                  <a:lnTo>
                    <a:pt x="98" y="254"/>
                  </a:lnTo>
                  <a:lnTo>
                    <a:pt x="98" y="244"/>
                  </a:lnTo>
                  <a:lnTo>
                    <a:pt x="98" y="234"/>
                  </a:lnTo>
                  <a:lnTo>
                    <a:pt x="117" y="225"/>
                  </a:lnTo>
                  <a:lnTo>
                    <a:pt x="117" y="215"/>
                  </a:lnTo>
                  <a:lnTo>
                    <a:pt x="127" y="205"/>
                  </a:lnTo>
                  <a:lnTo>
                    <a:pt x="137" y="225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6" name="Freeform 319"/>
            <p:cNvSpPr>
              <a:spLocks/>
            </p:cNvSpPr>
            <p:nvPr/>
          </p:nvSpPr>
          <p:spPr bwMode="auto">
            <a:xfrm>
              <a:off x="3833" y="2771"/>
              <a:ext cx="850" cy="674"/>
            </a:xfrm>
            <a:custGeom>
              <a:avLst/>
              <a:gdLst>
                <a:gd name="T0" fmla="*/ 576 w 849"/>
                <a:gd name="T1" fmla="*/ 644 h 673"/>
                <a:gd name="T2" fmla="*/ 615 w 849"/>
                <a:gd name="T3" fmla="*/ 624 h 673"/>
                <a:gd name="T4" fmla="*/ 664 w 849"/>
                <a:gd name="T5" fmla="*/ 634 h 673"/>
                <a:gd name="T6" fmla="*/ 712 w 849"/>
                <a:gd name="T7" fmla="*/ 634 h 673"/>
                <a:gd name="T8" fmla="*/ 761 w 849"/>
                <a:gd name="T9" fmla="*/ 615 h 673"/>
                <a:gd name="T10" fmla="*/ 781 w 849"/>
                <a:gd name="T11" fmla="*/ 605 h 673"/>
                <a:gd name="T12" fmla="*/ 781 w 849"/>
                <a:gd name="T13" fmla="*/ 576 h 673"/>
                <a:gd name="T14" fmla="*/ 800 w 849"/>
                <a:gd name="T15" fmla="*/ 566 h 673"/>
                <a:gd name="T16" fmla="*/ 820 w 849"/>
                <a:gd name="T17" fmla="*/ 546 h 673"/>
                <a:gd name="T18" fmla="*/ 839 w 849"/>
                <a:gd name="T19" fmla="*/ 498 h 673"/>
                <a:gd name="T20" fmla="*/ 791 w 849"/>
                <a:gd name="T21" fmla="*/ 458 h 673"/>
                <a:gd name="T22" fmla="*/ 771 w 849"/>
                <a:gd name="T23" fmla="*/ 410 h 673"/>
                <a:gd name="T24" fmla="*/ 830 w 849"/>
                <a:gd name="T25" fmla="*/ 380 h 673"/>
                <a:gd name="T26" fmla="*/ 820 w 849"/>
                <a:gd name="T27" fmla="*/ 341 h 673"/>
                <a:gd name="T28" fmla="*/ 791 w 849"/>
                <a:gd name="T29" fmla="*/ 341 h 673"/>
                <a:gd name="T30" fmla="*/ 751 w 849"/>
                <a:gd name="T31" fmla="*/ 273 h 673"/>
                <a:gd name="T32" fmla="*/ 732 w 849"/>
                <a:gd name="T33" fmla="*/ 244 h 673"/>
                <a:gd name="T34" fmla="*/ 654 w 849"/>
                <a:gd name="T35" fmla="*/ 244 h 673"/>
                <a:gd name="T36" fmla="*/ 615 w 849"/>
                <a:gd name="T37" fmla="*/ 205 h 673"/>
                <a:gd name="T38" fmla="*/ 634 w 849"/>
                <a:gd name="T39" fmla="*/ 166 h 673"/>
                <a:gd name="T40" fmla="*/ 634 w 849"/>
                <a:gd name="T41" fmla="*/ 127 h 673"/>
                <a:gd name="T42" fmla="*/ 595 w 849"/>
                <a:gd name="T43" fmla="*/ 107 h 673"/>
                <a:gd name="T44" fmla="*/ 547 w 849"/>
                <a:gd name="T45" fmla="*/ 97 h 673"/>
                <a:gd name="T46" fmla="*/ 517 w 849"/>
                <a:gd name="T47" fmla="*/ 117 h 673"/>
                <a:gd name="T48" fmla="*/ 469 w 849"/>
                <a:gd name="T49" fmla="*/ 107 h 673"/>
                <a:gd name="T50" fmla="*/ 430 w 849"/>
                <a:gd name="T51" fmla="*/ 88 h 673"/>
                <a:gd name="T52" fmla="*/ 410 w 849"/>
                <a:gd name="T53" fmla="*/ 68 h 673"/>
                <a:gd name="T54" fmla="*/ 371 w 849"/>
                <a:gd name="T55" fmla="*/ 68 h 673"/>
                <a:gd name="T56" fmla="*/ 293 w 849"/>
                <a:gd name="T57" fmla="*/ 29 h 673"/>
                <a:gd name="T58" fmla="*/ 264 w 849"/>
                <a:gd name="T59" fmla="*/ 10 h 673"/>
                <a:gd name="T60" fmla="*/ 235 w 849"/>
                <a:gd name="T61" fmla="*/ 0 h 673"/>
                <a:gd name="T62" fmla="*/ 205 w 849"/>
                <a:gd name="T63" fmla="*/ 29 h 673"/>
                <a:gd name="T64" fmla="*/ 176 w 849"/>
                <a:gd name="T65" fmla="*/ 68 h 673"/>
                <a:gd name="T66" fmla="*/ 156 w 849"/>
                <a:gd name="T67" fmla="*/ 117 h 673"/>
                <a:gd name="T68" fmla="*/ 108 w 849"/>
                <a:gd name="T69" fmla="*/ 137 h 673"/>
                <a:gd name="T70" fmla="*/ 78 w 849"/>
                <a:gd name="T71" fmla="*/ 176 h 673"/>
                <a:gd name="T72" fmla="*/ 30 w 849"/>
                <a:gd name="T73" fmla="*/ 215 h 673"/>
                <a:gd name="T74" fmla="*/ 10 w 849"/>
                <a:gd name="T75" fmla="*/ 234 h 673"/>
                <a:gd name="T76" fmla="*/ 0 w 849"/>
                <a:gd name="T77" fmla="*/ 254 h 673"/>
                <a:gd name="T78" fmla="*/ 30 w 849"/>
                <a:gd name="T79" fmla="*/ 293 h 673"/>
                <a:gd name="T80" fmla="*/ 10 w 849"/>
                <a:gd name="T81" fmla="*/ 332 h 673"/>
                <a:gd name="T82" fmla="*/ 30 w 849"/>
                <a:gd name="T83" fmla="*/ 371 h 673"/>
                <a:gd name="T84" fmla="*/ 88 w 849"/>
                <a:gd name="T85" fmla="*/ 400 h 673"/>
                <a:gd name="T86" fmla="*/ 156 w 849"/>
                <a:gd name="T87" fmla="*/ 429 h 673"/>
                <a:gd name="T88" fmla="*/ 215 w 849"/>
                <a:gd name="T89" fmla="*/ 478 h 673"/>
                <a:gd name="T90" fmla="*/ 254 w 849"/>
                <a:gd name="T91" fmla="*/ 527 h 673"/>
                <a:gd name="T92" fmla="*/ 313 w 849"/>
                <a:gd name="T93" fmla="*/ 527 h 673"/>
                <a:gd name="T94" fmla="*/ 332 w 849"/>
                <a:gd name="T95" fmla="*/ 576 h 673"/>
                <a:gd name="T96" fmla="*/ 381 w 849"/>
                <a:gd name="T97" fmla="*/ 585 h 673"/>
                <a:gd name="T98" fmla="*/ 410 w 849"/>
                <a:gd name="T99" fmla="*/ 576 h 673"/>
                <a:gd name="T100" fmla="*/ 420 w 849"/>
                <a:gd name="T101" fmla="*/ 605 h 673"/>
                <a:gd name="T102" fmla="*/ 420 w 849"/>
                <a:gd name="T103" fmla="*/ 654 h 673"/>
                <a:gd name="T104" fmla="*/ 430 w 849"/>
                <a:gd name="T105" fmla="*/ 673 h 673"/>
                <a:gd name="T106" fmla="*/ 459 w 849"/>
                <a:gd name="T107" fmla="*/ 654 h 673"/>
                <a:gd name="T108" fmla="*/ 508 w 849"/>
                <a:gd name="T109" fmla="*/ 654 h 67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49"/>
                <a:gd name="T166" fmla="*/ 0 h 673"/>
                <a:gd name="T167" fmla="*/ 849 w 849"/>
                <a:gd name="T168" fmla="*/ 673 h 67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49" h="673">
                  <a:moveTo>
                    <a:pt x="537" y="644"/>
                  </a:moveTo>
                  <a:lnTo>
                    <a:pt x="566" y="654"/>
                  </a:lnTo>
                  <a:lnTo>
                    <a:pt x="576" y="644"/>
                  </a:lnTo>
                  <a:lnTo>
                    <a:pt x="576" y="634"/>
                  </a:lnTo>
                  <a:lnTo>
                    <a:pt x="595" y="624"/>
                  </a:lnTo>
                  <a:lnTo>
                    <a:pt x="615" y="624"/>
                  </a:lnTo>
                  <a:lnTo>
                    <a:pt x="634" y="624"/>
                  </a:lnTo>
                  <a:lnTo>
                    <a:pt x="664" y="634"/>
                  </a:lnTo>
                  <a:lnTo>
                    <a:pt x="683" y="634"/>
                  </a:lnTo>
                  <a:lnTo>
                    <a:pt x="703" y="624"/>
                  </a:lnTo>
                  <a:lnTo>
                    <a:pt x="712" y="634"/>
                  </a:lnTo>
                  <a:lnTo>
                    <a:pt x="732" y="624"/>
                  </a:lnTo>
                  <a:lnTo>
                    <a:pt x="751" y="624"/>
                  </a:lnTo>
                  <a:lnTo>
                    <a:pt x="761" y="615"/>
                  </a:lnTo>
                  <a:lnTo>
                    <a:pt x="771" y="624"/>
                  </a:lnTo>
                  <a:lnTo>
                    <a:pt x="781" y="634"/>
                  </a:lnTo>
                  <a:lnTo>
                    <a:pt x="781" y="605"/>
                  </a:lnTo>
                  <a:lnTo>
                    <a:pt x="791" y="585"/>
                  </a:lnTo>
                  <a:lnTo>
                    <a:pt x="781" y="576"/>
                  </a:lnTo>
                  <a:lnTo>
                    <a:pt x="791" y="566"/>
                  </a:lnTo>
                  <a:lnTo>
                    <a:pt x="800" y="576"/>
                  </a:lnTo>
                  <a:lnTo>
                    <a:pt x="800" y="566"/>
                  </a:lnTo>
                  <a:lnTo>
                    <a:pt x="810" y="546"/>
                  </a:lnTo>
                  <a:lnTo>
                    <a:pt x="820" y="546"/>
                  </a:lnTo>
                  <a:lnTo>
                    <a:pt x="830" y="537"/>
                  </a:lnTo>
                  <a:lnTo>
                    <a:pt x="849" y="517"/>
                  </a:lnTo>
                  <a:lnTo>
                    <a:pt x="839" y="498"/>
                  </a:lnTo>
                  <a:lnTo>
                    <a:pt x="820" y="478"/>
                  </a:lnTo>
                  <a:lnTo>
                    <a:pt x="810" y="468"/>
                  </a:lnTo>
                  <a:lnTo>
                    <a:pt x="791" y="458"/>
                  </a:lnTo>
                  <a:lnTo>
                    <a:pt x="781" y="458"/>
                  </a:lnTo>
                  <a:lnTo>
                    <a:pt x="771" y="449"/>
                  </a:lnTo>
                  <a:lnTo>
                    <a:pt x="771" y="410"/>
                  </a:lnTo>
                  <a:lnTo>
                    <a:pt x="791" y="400"/>
                  </a:lnTo>
                  <a:lnTo>
                    <a:pt x="810" y="390"/>
                  </a:lnTo>
                  <a:lnTo>
                    <a:pt x="830" y="380"/>
                  </a:lnTo>
                  <a:lnTo>
                    <a:pt x="830" y="371"/>
                  </a:lnTo>
                  <a:lnTo>
                    <a:pt x="820" y="351"/>
                  </a:lnTo>
                  <a:lnTo>
                    <a:pt x="820" y="341"/>
                  </a:lnTo>
                  <a:lnTo>
                    <a:pt x="810" y="332"/>
                  </a:lnTo>
                  <a:lnTo>
                    <a:pt x="800" y="341"/>
                  </a:lnTo>
                  <a:lnTo>
                    <a:pt x="791" y="341"/>
                  </a:lnTo>
                  <a:lnTo>
                    <a:pt x="781" y="293"/>
                  </a:lnTo>
                  <a:lnTo>
                    <a:pt x="761" y="273"/>
                  </a:lnTo>
                  <a:lnTo>
                    <a:pt x="751" y="273"/>
                  </a:lnTo>
                  <a:lnTo>
                    <a:pt x="751" y="263"/>
                  </a:lnTo>
                  <a:lnTo>
                    <a:pt x="751" y="254"/>
                  </a:lnTo>
                  <a:lnTo>
                    <a:pt x="732" y="244"/>
                  </a:lnTo>
                  <a:lnTo>
                    <a:pt x="703" y="244"/>
                  </a:lnTo>
                  <a:lnTo>
                    <a:pt x="673" y="234"/>
                  </a:lnTo>
                  <a:lnTo>
                    <a:pt x="654" y="244"/>
                  </a:lnTo>
                  <a:lnTo>
                    <a:pt x="644" y="244"/>
                  </a:lnTo>
                  <a:lnTo>
                    <a:pt x="615" y="224"/>
                  </a:lnTo>
                  <a:lnTo>
                    <a:pt x="615" y="205"/>
                  </a:lnTo>
                  <a:lnTo>
                    <a:pt x="634" y="195"/>
                  </a:lnTo>
                  <a:lnTo>
                    <a:pt x="634" y="185"/>
                  </a:lnTo>
                  <a:lnTo>
                    <a:pt x="634" y="166"/>
                  </a:lnTo>
                  <a:lnTo>
                    <a:pt x="634" y="146"/>
                  </a:lnTo>
                  <a:lnTo>
                    <a:pt x="625" y="137"/>
                  </a:lnTo>
                  <a:lnTo>
                    <a:pt x="634" y="127"/>
                  </a:lnTo>
                  <a:lnTo>
                    <a:pt x="615" y="117"/>
                  </a:lnTo>
                  <a:lnTo>
                    <a:pt x="595" y="107"/>
                  </a:lnTo>
                  <a:lnTo>
                    <a:pt x="586" y="97"/>
                  </a:lnTo>
                  <a:lnTo>
                    <a:pt x="566" y="88"/>
                  </a:lnTo>
                  <a:lnTo>
                    <a:pt x="547" y="97"/>
                  </a:lnTo>
                  <a:lnTo>
                    <a:pt x="527" y="97"/>
                  </a:lnTo>
                  <a:lnTo>
                    <a:pt x="517" y="107"/>
                  </a:lnTo>
                  <a:lnTo>
                    <a:pt x="517" y="117"/>
                  </a:lnTo>
                  <a:lnTo>
                    <a:pt x="498" y="117"/>
                  </a:lnTo>
                  <a:lnTo>
                    <a:pt x="478" y="117"/>
                  </a:lnTo>
                  <a:lnTo>
                    <a:pt x="469" y="107"/>
                  </a:lnTo>
                  <a:lnTo>
                    <a:pt x="459" y="97"/>
                  </a:lnTo>
                  <a:lnTo>
                    <a:pt x="439" y="97"/>
                  </a:lnTo>
                  <a:lnTo>
                    <a:pt x="430" y="88"/>
                  </a:lnTo>
                  <a:lnTo>
                    <a:pt x="430" y="68"/>
                  </a:lnTo>
                  <a:lnTo>
                    <a:pt x="420" y="68"/>
                  </a:lnTo>
                  <a:lnTo>
                    <a:pt x="410" y="68"/>
                  </a:lnTo>
                  <a:lnTo>
                    <a:pt x="391" y="78"/>
                  </a:lnTo>
                  <a:lnTo>
                    <a:pt x="381" y="68"/>
                  </a:lnTo>
                  <a:lnTo>
                    <a:pt x="371" y="68"/>
                  </a:lnTo>
                  <a:lnTo>
                    <a:pt x="332" y="58"/>
                  </a:lnTo>
                  <a:lnTo>
                    <a:pt x="322" y="29"/>
                  </a:lnTo>
                  <a:lnTo>
                    <a:pt x="293" y="29"/>
                  </a:lnTo>
                  <a:lnTo>
                    <a:pt x="274" y="19"/>
                  </a:lnTo>
                  <a:lnTo>
                    <a:pt x="274" y="29"/>
                  </a:lnTo>
                  <a:lnTo>
                    <a:pt x="264" y="10"/>
                  </a:lnTo>
                  <a:lnTo>
                    <a:pt x="254" y="10"/>
                  </a:lnTo>
                  <a:lnTo>
                    <a:pt x="235" y="10"/>
                  </a:lnTo>
                  <a:lnTo>
                    <a:pt x="235" y="0"/>
                  </a:lnTo>
                  <a:lnTo>
                    <a:pt x="215" y="10"/>
                  </a:lnTo>
                  <a:lnTo>
                    <a:pt x="215" y="29"/>
                  </a:lnTo>
                  <a:lnTo>
                    <a:pt x="205" y="29"/>
                  </a:lnTo>
                  <a:lnTo>
                    <a:pt x="195" y="29"/>
                  </a:lnTo>
                  <a:lnTo>
                    <a:pt x="195" y="58"/>
                  </a:lnTo>
                  <a:lnTo>
                    <a:pt x="176" y="68"/>
                  </a:lnTo>
                  <a:lnTo>
                    <a:pt x="176" y="107"/>
                  </a:lnTo>
                  <a:lnTo>
                    <a:pt x="166" y="117"/>
                  </a:lnTo>
                  <a:lnTo>
                    <a:pt x="156" y="117"/>
                  </a:lnTo>
                  <a:lnTo>
                    <a:pt x="137" y="117"/>
                  </a:lnTo>
                  <a:lnTo>
                    <a:pt x="117" y="127"/>
                  </a:lnTo>
                  <a:lnTo>
                    <a:pt x="108" y="137"/>
                  </a:lnTo>
                  <a:lnTo>
                    <a:pt x="88" y="146"/>
                  </a:lnTo>
                  <a:lnTo>
                    <a:pt x="78" y="156"/>
                  </a:lnTo>
                  <a:lnTo>
                    <a:pt x="78" y="176"/>
                  </a:lnTo>
                  <a:lnTo>
                    <a:pt x="59" y="185"/>
                  </a:lnTo>
                  <a:lnTo>
                    <a:pt x="30" y="195"/>
                  </a:lnTo>
                  <a:lnTo>
                    <a:pt x="30" y="215"/>
                  </a:lnTo>
                  <a:lnTo>
                    <a:pt x="20" y="215"/>
                  </a:lnTo>
                  <a:lnTo>
                    <a:pt x="10" y="224"/>
                  </a:lnTo>
                  <a:lnTo>
                    <a:pt x="10" y="234"/>
                  </a:lnTo>
                  <a:lnTo>
                    <a:pt x="10" y="244"/>
                  </a:lnTo>
                  <a:lnTo>
                    <a:pt x="10" y="254"/>
                  </a:lnTo>
                  <a:lnTo>
                    <a:pt x="0" y="254"/>
                  </a:lnTo>
                  <a:lnTo>
                    <a:pt x="10" y="263"/>
                  </a:lnTo>
                  <a:lnTo>
                    <a:pt x="20" y="273"/>
                  </a:lnTo>
                  <a:lnTo>
                    <a:pt x="30" y="293"/>
                  </a:lnTo>
                  <a:lnTo>
                    <a:pt x="10" y="302"/>
                  </a:lnTo>
                  <a:lnTo>
                    <a:pt x="10" y="322"/>
                  </a:lnTo>
                  <a:lnTo>
                    <a:pt x="10" y="33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30" y="371"/>
                  </a:lnTo>
                  <a:lnTo>
                    <a:pt x="59" y="380"/>
                  </a:lnTo>
                  <a:lnTo>
                    <a:pt x="69" y="390"/>
                  </a:lnTo>
                  <a:lnTo>
                    <a:pt x="88" y="400"/>
                  </a:lnTo>
                  <a:lnTo>
                    <a:pt x="117" y="410"/>
                  </a:lnTo>
                  <a:lnTo>
                    <a:pt x="147" y="419"/>
                  </a:lnTo>
                  <a:lnTo>
                    <a:pt x="156" y="429"/>
                  </a:lnTo>
                  <a:lnTo>
                    <a:pt x="166" y="439"/>
                  </a:lnTo>
                  <a:lnTo>
                    <a:pt x="186" y="449"/>
                  </a:lnTo>
                  <a:lnTo>
                    <a:pt x="215" y="478"/>
                  </a:lnTo>
                  <a:lnTo>
                    <a:pt x="235" y="507"/>
                  </a:lnTo>
                  <a:lnTo>
                    <a:pt x="244" y="527"/>
                  </a:lnTo>
                  <a:lnTo>
                    <a:pt x="254" y="527"/>
                  </a:lnTo>
                  <a:lnTo>
                    <a:pt x="274" y="527"/>
                  </a:lnTo>
                  <a:lnTo>
                    <a:pt x="293" y="527"/>
                  </a:lnTo>
                  <a:lnTo>
                    <a:pt x="313" y="527"/>
                  </a:lnTo>
                  <a:lnTo>
                    <a:pt x="313" y="546"/>
                  </a:lnTo>
                  <a:lnTo>
                    <a:pt x="322" y="576"/>
                  </a:lnTo>
                  <a:lnTo>
                    <a:pt x="332" y="576"/>
                  </a:lnTo>
                  <a:lnTo>
                    <a:pt x="342" y="585"/>
                  </a:lnTo>
                  <a:lnTo>
                    <a:pt x="371" y="585"/>
                  </a:lnTo>
                  <a:lnTo>
                    <a:pt x="381" y="585"/>
                  </a:lnTo>
                  <a:lnTo>
                    <a:pt x="400" y="595"/>
                  </a:lnTo>
                  <a:lnTo>
                    <a:pt x="400" y="585"/>
                  </a:lnTo>
                  <a:lnTo>
                    <a:pt x="410" y="576"/>
                  </a:lnTo>
                  <a:lnTo>
                    <a:pt x="420" y="585"/>
                  </a:lnTo>
                  <a:lnTo>
                    <a:pt x="430" y="585"/>
                  </a:lnTo>
                  <a:lnTo>
                    <a:pt x="420" y="605"/>
                  </a:lnTo>
                  <a:lnTo>
                    <a:pt x="420" y="624"/>
                  </a:lnTo>
                  <a:lnTo>
                    <a:pt x="420" y="654"/>
                  </a:lnTo>
                  <a:lnTo>
                    <a:pt x="420" y="663"/>
                  </a:lnTo>
                  <a:lnTo>
                    <a:pt x="430" y="67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59" y="654"/>
                  </a:lnTo>
                  <a:lnTo>
                    <a:pt x="478" y="654"/>
                  </a:lnTo>
                  <a:lnTo>
                    <a:pt x="488" y="654"/>
                  </a:lnTo>
                  <a:lnTo>
                    <a:pt x="508" y="654"/>
                  </a:lnTo>
                  <a:lnTo>
                    <a:pt x="517" y="654"/>
                  </a:lnTo>
                  <a:lnTo>
                    <a:pt x="537" y="644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7" name="Freeform 318"/>
            <p:cNvSpPr>
              <a:spLocks/>
            </p:cNvSpPr>
            <p:nvPr/>
          </p:nvSpPr>
          <p:spPr bwMode="auto">
            <a:xfrm>
              <a:off x="1649" y="1269"/>
              <a:ext cx="352" cy="331"/>
            </a:xfrm>
            <a:custGeom>
              <a:avLst/>
              <a:gdLst>
                <a:gd name="T0" fmla="*/ 342 w 352"/>
                <a:gd name="T1" fmla="*/ 225 h 332"/>
                <a:gd name="T2" fmla="*/ 332 w 352"/>
                <a:gd name="T3" fmla="*/ 244 h 332"/>
                <a:gd name="T4" fmla="*/ 342 w 352"/>
                <a:gd name="T5" fmla="*/ 264 h 332"/>
                <a:gd name="T6" fmla="*/ 352 w 352"/>
                <a:gd name="T7" fmla="*/ 303 h 332"/>
                <a:gd name="T8" fmla="*/ 313 w 352"/>
                <a:gd name="T9" fmla="*/ 322 h 332"/>
                <a:gd name="T10" fmla="*/ 274 w 352"/>
                <a:gd name="T11" fmla="*/ 283 h 332"/>
                <a:gd name="T12" fmla="*/ 244 w 352"/>
                <a:gd name="T13" fmla="*/ 274 h 332"/>
                <a:gd name="T14" fmla="*/ 225 w 352"/>
                <a:gd name="T15" fmla="*/ 225 h 332"/>
                <a:gd name="T16" fmla="*/ 205 w 352"/>
                <a:gd name="T17" fmla="*/ 225 h 332"/>
                <a:gd name="T18" fmla="*/ 186 w 352"/>
                <a:gd name="T19" fmla="*/ 235 h 332"/>
                <a:gd name="T20" fmla="*/ 147 w 352"/>
                <a:gd name="T21" fmla="*/ 235 h 332"/>
                <a:gd name="T22" fmla="*/ 127 w 352"/>
                <a:gd name="T23" fmla="*/ 225 h 332"/>
                <a:gd name="T24" fmla="*/ 88 w 352"/>
                <a:gd name="T25" fmla="*/ 215 h 332"/>
                <a:gd name="T26" fmla="*/ 88 w 352"/>
                <a:gd name="T27" fmla="*/ 205 h 332"/>
                <a:gd name="T28" fmla="*/ 49 w 352"/>
                <a:gd name="T29" fmla="*/ 186 h 332"/>
                <a:gd name="T30" fmla="*/ 30 w 352"/>
                <a:gd name="T31" fmla="*/ 186 h 332"/>
                <a:gd name="T32" fmla="*/ 20 w 352"/>
                <a:gd name="T33" fmla="*/ 166 h 332"/>
                <a:gd name="T34" fmla="*/ 0 w 352"/>
                <a:gd name="T35" fmla="*/ 147 h 332"/>
                <a:gd name="T36" fmla="*/ 20 w 352"/>
                <a:gd name="T37" fmla="*/ 127 h 332"/>
                <a:gd name="T38" fmla="*/ 30 w 352"/>
                <a:gd name="T39" fmla="*/ 108 h 332"/>
                <a:gd name="T40" fmla="*/ 59 w 352"/>
                <a:gd name="T41" fmla="*/ 98 h 332"/>
                <a:gd name="T42" fmla="*/ 88 w 352"/>
                <a:gd name="T43" fmla="*/ 59 h 332"/>
                <a:gd name="T44" fmla="*/ 78 w 352"/>
                <a:gd name="T45" fmla="*/ 10 h 332"/>
                <a:gd name="T46" fmla="*/ 98 w 352"/>
                <a:gd name="T47" fmla="*/ 10 h 332"/>
                <a:gd name="T48" fmla="*/ 118 w 352"/>
                <a:gd name="T49" fmla="*/ 0 h 332"/>
                <a:gd name="T50" fmla="*/ 147 w 352"/>
                <a:gd name="T51" fmla="*/ 10 h 332"/>
                <a:gd name="T52" fmla="*/ 166 w 352"/>
                <a:gd name="T53" fmla="*/ 10 h 332"/>
                <a:gd name="T54" fmla="*/ 176 w 352"/>
                <a:gd name="T55" fmla="*/ 30 h 332"/>
                <a:gd name="T56" fmla="*/ 205 w 352"/>
                <a:gd name="T57" fmla="*/ 20 h 332"/>
                <a:gd name="T58" fmla="*/ 225 w 352"/>
                <a:gd name="T59" fmla="*/ 49 h 332"/>
                <a:gd name="T60" fmla="*/ 274 w 352"/>
                <a:gd name="T61" fmla="*/ 49 h 332"/>
                <a:gd name="T62" fmla="*/ 293 w 352"/>
                <a:gd name="T63" fmla="*/ 69 h 332"/>
                <a:gd name="T64" fmla="*/ 274 w 352"/>
                <a:gd name="T65" fmla="*/ 98 h 332"/>
                <a:gd name="T66" fmla="*/ 303 w 352"/>
                <a:gd name="T67" fmla="*/ 108 h 332"/>
                <a:gd name="T68" fmla="*/ 332 w 352"/>
                <a:gd name="T69" fmla="*/ 127 h 332"/>
                <a:gd name="T70" fmla="*/ 322 w 352"/>
                <a:gd name="T71" fmla="*/ 156 h 332"/>
                <a:gd name="T72" fmla="*/ 342 w 352"/>
                <a:gd name="T73" fmla="*/ 156 h 332"/>
                <a:gd name="T74" fmla="*/ 332 w 352"/>
                <a:gd name="T75" fmla="*/ 186 h 332"/>
                <a:gd name="T76" fmla="*/ 342 w 352"/>
                <a:gd name="T77" fmla="*/ 215 h 33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52"/>
                <a:gd name="T118" fmla="*/ 0 h 332"/>
                <a:gd name="T119" fmla="*/ 352 w 352"/>
                <a:gd name="T120" fmla="*/ 332 h 33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52" h="332">
                  <a:moveTo>
                    <a:pt x="342" y="215"/>
                  </a:moveTo>
                  <a:lnTo>
                    <a:pt x="342" y="225"/>
                  </a:lnTo>
                  <a:lnTo>
                    <a:pt x="342" y="244"/>
                  </a:lnTo>
                  <a:lnTo>
                    <a:pt x="332" y="244"/>
                  </a:lnTo>
                  <a:lnTo>
                    <a:pt x="332" y="254"/>
                  </a:lnTo>
                  <a:lnTo>
                    <a:pt x="342" y="264"/>
                  </a:lnTo>
                  <a:lnTo>
                    <a:pt x="352" y="274"/>
                  </a:lnTo>
                  <a:lnTo>
                    <a:pt x="352" y="303"/>
                  </a:lnTo>
                  <a:lnTo>
                    <a:pt x="342" y="332"/>
                  </a:lnTo>
                  <a:lnTo>
                    <a:pt x="313" y="322"/>
                  </a:lnTo>
                  <a:lnTo>
                    <a:pt x="283" y="283"/>
                  </a:lnTo>
                  <a:lnTo>
                    <a:pt x="274" y="283"/>
                  </a:lnTo>
                  <a:lnTo>
                    <a:pt x="254" y="274"/>
                  </a:lnTo>
                  <a:lnTo>
                    <a:pt x="244" y="274"/>
                  </a:lnTo>
                  <a:lnTo>
                    <a:pt x="235" y="264"/>
                  </a:lnTo>
                  <a:lnTo>
                    <a:pt x="225" y="225"/>
                  </a:lnTo>
                  <a:lnTo>
                    <a:pt x="225" y="215"/>
                  </a:lnTo>
                  <a:lnTo>
                    <a:pt x="205" y="225"/>
                  </a:lnTo>
                  <a:lnTo>
                    <a:pt x="196" y="235"/>
                  </a:lnTo>
                  <a:lnTo>
                    <a:pt x="186" y="235"/>
                  </a:lnTo>
                  <a:lnTo>
                    <a:pt x="176" y="244"/>
                  </a:lnTo>
                  <a:lnTo>
                    <a:pt x="147" y="235"/>
                  </a:lnTo>
                  <a:lnTo>
                    <a:pt x="127" y="244"/>
                  </a:lnTo>
                  <a:lnTo>
                    <a:pt x="127" y="225"/>
                  </a:lnTo>
                  <a:lnTo>
                    <a:pt x="118" y="215"/>
                  </a:lnTo>
                  <a:lnTo>
                    <a:pt x="88" y="215"/>
                  </a:lnTo>
                  <a:lnTo>
                    <a:pt x="88" y="205"/>
                  </a:lnTo>
                  <a:lnTo>
                    <a:pt x="69" y="205"/>
                  </a:lnTo>
                  <a:lnTo>
                    <a:pt x="49" y="186"/>
                  </a:lnTo>
                  <a:lnTo>
                    <a:pt x="39" y="186"/>
                  </a:lnTo>
                  <a:lnTo>
                    <a:pt x="30" y="186"/>
                  </a:lnTo>
                  <a:lnTo>
                    <a:pt x="30" y="176"/>
                  </a:lnTo>
                  <a:lnTo>
                    <a:pt x="20" y="166"/>
                  </a:lnTo>
                  <a:lnTo>
                    <a:pt x="10" y="166"/>
                  </a:lnTo>
                  <a:lnTo>
                    <a:pt x="0" y="147"/>
                  </a:lnTo>
                  <a:lnTo>
                    <a:pt x="0" y="137"/>
                  </a:lnTo>
                  <a:lnTo>
                    <a:pt x="20" y="127"/>
                  </a:lnTo>
                  <a:lnTo>
                    <a:pt x="39" y="127"/>
                  </a:lnTo>
                  <a:lnTo>
                    <a:pt x="30" y="108"/>
                  </a:lnTo>
                  <a:lnTo>
                    <a:pt x="30" y="98"/>
                  </a:lnTo>
                  <a:lnTo>
                    <a:pt x="59" y="98"/>
                  </a:lnTo>
                  <a:lnTo>
                    <a:pt x="59" y="78"/>
                  </a:lnTo>
                  <a:lnTo>
                    <a:pt x="88" y="59"/>
                  </a:lnTo>
                  <a:lnTo>
                    <a:pt x="78" y="49"/>
                  </a:lnTo>
                  <a:lnTo>
                    <a:pt x="78" y="10"/>
                  </a:lnTo>
                  <a:lnTo>
                    <a:pt x="98" y="0"/>
                  </a:lnTo>
                  <a:lnTo>
                    <a:pt x="98" y="10"/>
                  </a:lnTo>
                  <a:lnTo>
                    <a:pt x="118" y="10"/>
                  </a:lnTo>
                  <a:lnTo>
                    <a:pt x="118" y="0"/>
                  </a:lnTo>
                  <a:lnTo>
                    <a:pt x="127" y="10"/>
                  </a:lnTo>
                  <a:lnTo>
                    <a:pt x="147" y="10"/>
                  </a:lnTo>
                  <a:lnTo>
                    <a:pt x="157" y="0"/>
                  </a:lnTo>
                  <a:lnTo>
                    <a:pt x="166" y="10"/>
                  </a:lnTo>
                  <a:lnTo>
                    <a:pt x="166" y="20"/>
                  </a:lnTo>
                  <a:lnTo>
                    <a:pt x="176" y="30"/>
                  </a:lnTo>
                  <a:lnTo>
                    <a:pt x="186" y="30"/>
                  </a:lnTo>
                  <a:lnTo>
                    <a:pt x="205" y="20"/>
                  </a:lnTo>
                  <a:lnTo>
                    <a:pt x="215" y="30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74" y="49"/>
                  </a:lnTo>
                  <a:lnTo>
                    <a:pt x="283" y="49"/>
                  </a:lnTo>
                  <a:lnTo>
                    <a:pt x="293" y="69"/>
                  </a:lnTo>
                  <a:lnTo>
                    <a:pt x="283" y="78"/>
                  </a:lnTo>
                  <a:lnTo>
                    <a:pt x="274" y="98"/>
                  </a:lnTo>
                  <a:lnTo>
                    <a:pt x="283" y="108"/>
                  </a:lnTo>
                  <a:lnTo>
                    <a:pt x="303" y="108"/>
                  </a:lnTo>
                  <a:lnTo>
                    <a:pt x="322" y="108"/>
                  </a:lnTo>
                  <a:lnTo>
                    <a:pt x="332" y="127"/>
                  </a:lnTo>
                  <a:lnTo>
                    <a:pt x="332" y="137"/>
                  </a:lnTo>
                  <a:lnTo>
                    <a:pt x="322" y="156"/>
                  </a:lnTo>
                  <a:lnTo>
                    <a:pt x="342" y="156"/>
                  </a:lnTo>
                  <a:lnTo>
                    <a:pt x="332" y="176"/>
                  </a:lnTo>
                  <a:lnTo>
                    <a:pt x="332" y="186"/>
                  </a:lnTo>
                  <a:lnTo>
                    <a:pt x="342" y="186"/>
                  </a:lnTo>
                  <a:lnTo>
                    <a:pt x="342" y="215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" name="Freeform 317"/>
            <p:cNvSpPr>
              <a:spLocks/>
            </p:cNvSpPr>
            <p:nvPr/>
          </p:nvSpPr>
          <p:spPr bwMode="auto">
            <a:xfrm>
              <a:off x="4311" y="3386"/>
              <a:ext cx="343" cy="505"/>
            </a:xfrm>
            <a:custGeom>
              <a:avLst/>
              <a:gdLst>
                <a:gd name="T0" fmla="*/ 20 w 342"/>
                <a:gd name="T1" fmla="*/ 253 h 507"/>
                <a:gd name="T2" fmla="*/ 49 w 342"/>
                <a:gd name="T3" fmla="*/ 263 h 507"/>
                <a:gd name="T4" fmla="*/ 69 w 342"/>
                <a:gd name="T5" fmla="*/ 283 h 507"/>
                <a:gd name="T6" fmla="*/ 88 w 342"/>
                <a:gd name="T7" fmla="*/ 322 h 507"/>
                <a:gd name="T8" fmla="*/ 117 w 342"/>
                <a:gd name="T9" fmla="*/ 341 h 507"/>
                <a:gd name="T10" fmla="*/ 117 w 342"/>
                <a:gd name="T11" fmla="*/ 361 h 507"/>
                <a:gd name="T12" fmla="*/ 98 w 342"/>
                <a:gd name="T13" fmla="*/ 370 h 507"/>
                <a:gd name="T14" fmla="*/ 98 w 342"/>
                <a:gd name="T15" fmla="*/ 390 h 507"/>
                <a:gd name="T16" fmla="*/ 98 w 342"/>
                <a:gd name="T17" fmla="*/ 419 h 507"/>
                <a:gd name="T18" fmla="*/ 108 w 342"/>
                <a:gd name="T19" fmla="*/ 448 h 507"/>
                <a:gd name="T20" fmla="*/ 137 w 342"/>
                <a:gd name="T21" fmla="*/ 487 h 507"/>
                <a:gd name="T22" fmla="*/ 166 w 342"/>
                <a:gd name="T23" fmla="*/ 478 h 507"/>
                <a:gd name="T24" fmla="*/ 195 w 342"/>
                <a:gd name="T25" fmla="*/ 507 h 507"/>
                <a:gd name="T26" fmla="*/ 215 w 342"/>
                <a:gd name="T27" fmla="*/ 507 h 507"/>
                <a:gd name="T28" fmla="*/ 234 w 342"/>
                <a:gd name="T29" fmla="*/ 478 h 507"/>
                <a:gd name="T30" fmla="*/ 264 w 342"/>
                <a:gd name="T31" fmla="*/ 458 h 507"/>
                <a:gd name="T32" fmla="*/ 244 w 342"/>
                <a:gd name="T33" fmla="*/ 439 h 507"/>
                <a:gd name="T34" fmla="*/ 234 w 342"/>
                <a:gd name="T35" fmla="*/ 419 h 507"/>
                <a:gd name="T36" fmla="*/ 254 w 342"/>
                <a:gd name="T37" fmla="*/ 419 h 507"/>
                <a:gd name="T38" fmla="*/ 254 w 342"/>
                <a:gd name="T39" fmla="*/ 390 h 507"/>
                <a:gd name="T40" fmla="*/ 244 w 342"/>
                <a:gd name="T41" fmla="*/ 380 h 507"/>
                <a:gd name="T42" fmla="*/ 264 w 342"/>
                <a:gd name="T43" fmla="*/ 351 h 507"/>
                <a:gd name="T44" fmla="*/ 283 w 342"/>
                <a:gd name="T45" fmla="*/ 322 h 507"/>
                <a:gd name="T46" fmla="*/ 283 w 342"/>
                <a:gd name="T47" fmla="*/ 312 h 507"/>
                <a:gd name="T48" fmla="*/ 283 w 342"/>
                <a:gd name="T49" fmla="*/ 292 h 507"/>
                <a:gd name="T50" fmla="*/ 273 w 342"/>
                <a:gd name="T51" fmla="*/ 283 h 507"/>
                <a:gd name="T52" fmla="*/ 254 w 342"/>
                <a:gd name="T53" fmla="*/ 283 h 507"/>
                <a:gd name="T54" fmla="*/ 244 w 342"/>
                <a:gd name="T55" fmla="*/ 283 h 507"/>
                <a:gd name="T56" fmla="*/ 264 w 342"/>
                <a:gd name="T57" fmla="*/ 253 h 507"/>
                <a:gd name="T58" fmla="*/ 273 w 342"/>
                <a:gd name="T59" fmla="*/ 224 h 507"/>
                <a:gd name="T60" fmla="*/ 264 w 342"/>
                <a:gd name="T61" fmla="*/ 175 h 507"/>
                <a:gd name="T62" fmla="*/ 283 w 342"/>
                <a:gd name="T63" fmla="*/ 165 h 507"/>
                <a:gd name="T64" fmla="*/ 313 w 342"/>
                <a:gd name="T65" fmla="*/ 136 h 507"/>
                <a:gd name="T66" fmla="*/ 342 w 342"/>
                <a:gd name="T67" fmla="*/ 126 h 507"/>
                <a:gd name="T68" fmla="*/ 342 w 342"/>
                <a:gd name="T69" fmla="*/ 107 h 507"/>
                <a:gd name="T70" fmla="*/ 342 w 342"/>
                <a:gd name="T71" fmla="*/ 87 h 507"/>
                <a:gd name="T72" fmla="*/ 313 w 342"/>
                <a:gd name="T73" fmla="*/ 68 h 507"/>
                <a:gd name="T74" fmla="*/ 303 w 342"/>
                <a:gd name="T75" fmla="*/ 39 h 507"/>
                <a:gd name="T76" fmla="*/ 303 w 342"/>
                <a:gd name="T77" fmla="*/ 19 h 507"/>
                <a:gd name="T78" fmla="*/ 283 w 342"/>
                <a:gd name="T79" fmla="*/ 0 h 507"/>
                <a:gd name="T80" fmla="*/ 254 w 342"/>
                <a:gd name="T81" fmla="*/ 19 h 507"/>
                <a:gd name="T82" fmla="*/ 225 w 342"/>
                <a:gd name="T83" fmla="*/ 9 h 507"/>
                <a:gd name="T84" fmla="*/ 176 w 342"/>
                <a:gd name="T85" fmla="*/ 19 h 507"/>
                <a:gd name="T86" fmla="*/ 137 w 342"/>
                <a:gd name="T87" fmla="*/ 9 h 507"/>
                <a:gd name="T88" fmla="*/ 117 w 342"/>
                <a:gd name="T89" fmla="*/ 19 h 507"/>
                <a:gd name="T90" fmla="*/ 98 w 342"/>
                <a:gd name="T91" fmla="*/ 29 h 507"/>
                <a:gd name="T92" fmla="*/ 59 w 342"/>
                <a:gd name="T93" fmla="*/ 39 h 507"/>
                <a:gd name="T94" fmla="*/ 30 w 342"/>
                <a:gd name="T95" fmla="*/ 39 h 507"/>
                <a:gd name="T96" fmla="*/ 10 w 342"/>
                <a:gd name="T97" fmla="*/ 58 h 507"/>
                <a:gd name="T98" fmla="*/ 20 w 342"/>
                <a:gd name="T99" fmla="*/ 78 h 507"/>
                <a:gd name="T100" fmla="*/ 20 w 342"/>
                <a:gd name="T101" fmla="*/ 97 h 507"/>
                <a:gd name="T102" fmla="*/ 10 w 342"/>
                <a:gd name="T103" fmla="*/ 107 h 507"/>
                <a:gd name="T104" fmla="*/ 20 w 342"/>
                <a:gd name="T105" fmla="*/ 136 h 507"/>
                <a:gd name="T106" fmla="*/ 10 w 342"/>
                <a:gd name="T107" fmla="*/ 156 h 507"/>
                <a:gd name="T108" fmla="*/ 20 w 342"/>
                <a:gd name="T109" fmla="*/ 175 h 507"/>
                <a:gd name="T110" fmla="*/ 10 w 342"/>
                <a:gd name="T111" fmla="*/ 185 h 507"/>
                <a:gd name="T112" fmla="*/ 0 w 342"/>
                <a:gd name="T113" fmla="*/ 204 h 507"/>
                <a:gd name="T114" fmla="*/ 20 w 342"/>
                <a:gd name="T115" fmla="*/ 234 h 5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507"/>
                <a:gd name="T176" fmla="*/ 342 w 342"/>
                <a:gd name="T177" fmla="*/ 507 h 5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507">
                  <a:moveTo>
                    <a:pt x="20" y="234"/>
                  </a:moveTo>
                  <a:lnTo>
                    <a:pt x="20" y="253"/>
                  </a:lnTo>
                  <a:lnTo>
                    <a:pt x="39" y="253"/>
                  </a:lnTo>
                  <a:lnTo>
                    <a:pt x="49" y="263"/>
                  </a:lnTo>
                  <a:lnTo>
                    <a:pt x="59" y="283"/>
                  </a:lnTo>
                  <a:lnTo>
                    <a:pt x="69" y="283"/>
                  </a:lnTo>
                  <a:lnTo>
                    <a:pt x="69" y="302"/>
                  </a:lnTo>
                  <a:lnTo>
                    <a:pt x="88" y="322"/>
                  </a:lnTo>
                  <a:lnTo>
                    <a:pt x="98" y="341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08" y="370"/>
                  </a:lnTo>
                  <a:lnTo>
                    <a:pt x="98" y="370"/>
                  </a:lnTo>
                  <a:lnTo>
                    <a:pt x="88" y="380"/>
                  </a:lnTo>
                  <a:lnTo>
                    <a:pt x="98" y="390"/>
                  </a:lnTo>
                  <a:lnTo>
                    <a:pt x="108" y="400"/>
                  </a:lnTo>
                  <a:lnTo>
                    <a:pt x="98" y="419"/>
                  </a:lnTo>
                  <a:lnTo>
                    <a:pt x="98" y="439"/>
                  </a:lnTo>
                  <a:lnTo>
                    <a:pt x="108" y="448"/>
                  </a:lnTo>
                  <a:lnTo>
                    <a:pt x="117" y="468"/>
                  </a:lnTo>
                  <a:lnTo>
                    <a:pt x="137" y="487"/>
                  </a:lnTo>
                  <a:lnTo>
                    <a:pt x="147" y="478"/>
                  </a:lnTo>
                  <a:lnTo>
                    <a:pt x="166" y="478"/>
                  </a:lnTo>
                  <a:lnTo>
                    <a:pt x="186" y="487"/>
                  </a:lnTo>
                  <a:lnTo>
                    <a:pt x="195" y="507"/>
                  </a:lnTo>
                  <a:lnTo>
                    <a:pt x="205" y="507"/>
                  </a:lnTo>
                  <a:lnTo>
                    <a:pt x="215" y="507"/>
                  </a:lnTo>
                  <a:lnTo>
                    <a:pt x="225" y="487"/>
                  </a:lnTo>
                  <a:lnTo>
                    <a:pt x="234" y="478"/>
                  </a:lnTo>
                  <a:lnTo>
                    <a:pt x="244" y="468"/>
                  </a:lnTo>
                  <a:lnTo>
                    <a:pt x="264" y="458"/>
                  </a:lnTo>
                  <a:lnTo>
                    <a:pt x="264" y="448"/>
                  </a:lnTo>
                  <a:lnTo>
                    <a:pt x="244" y="439"/>
                  </a:lnTo>
                  <a:lnTo>
                    <a:pt x="244" y="429"/>
                  </a:lnTo>
                  <a:lnTo>
                    <a:pt x="234" y="419"/>
                  </a:lnTo>
                  <a:lnTo>
                    <a:pt x="244" y="419"/>
                  </a:lnTo>
                  <a:lnTo>
                    <a:pt x="254" y="419"/>
                  </a:lnTo>
                  <a:lnTo>
                    <a:pt x="254" y="409"/>
                  </a:lnTo>
                  <a:lnTo>
                    <a:pt x="254" y="390"/>
                  </a:lnTo>
                  <a:lnTo>
                    <a:pt x="254" y="380"/>
                  </a:lnTo>
                  <a:lnTo>
                    <a:pt x="244" y="380"/>
                  </a:lnTo>
                  <a:lnTo>
                    <a:pt x="244" y="361"/>
                  </a:lnTo>
                  <a:lnTo>
                    <a:pt x="264" y="351"/>
                  </a:lnTo>
                  <a:lnTo>
                    <a:pt x="273" y="351"/>
                  </a:lnTo>
                  <a:lnTo>
                    <a:pt x="283" y="322"/>
                  </a:lnTo>
                  <a:lnTo>
                    <a:pt x="273" y="322"/>
                  </a:lnTo>
                  <a:lnTo>
                    <a:pt x="283" y="312"/>
                  </a:lnTo>
                  <a:lnTo>
                    <a:pt x="283" y="302"/>
                  </a:lnTo>
                  <a:lnTo>
                    <a:pt x="283" y="292"/>
                  </a:lnTo>
                  <a:lnTo>
                    <a:pt x="273" y="292"/>
                  </a:lnTo>
                  <a:lnTo>
                    <a:pt x="273" y="283"/>
                  </a:lnTo>
                  <a:lnTo>
                    <a:pt x="264" y="263"/>
                  </a:lnTo>
                  <a:lnTo>
                    <a:pt x="254" y="283"/>
                  </a:lnTo>
                  <a:lnTo>
                    <a:pt x="244" y="283"/>
                  </a:lnTo>
                  <a:lnTo>
                    <a:pt x="244" y="273"/>
                  </a:lnTo>
                  <a:lnTo>
                    <a:pt x="264" y="253"/>
                  </a:lnTo>
                  <a:lnTo>
                    <a:pt x="264" y="244"/>
                  </a:lnTo>
                  <a:lnTo>
                    <a:pt x="273" y="224"/>
                  </a:lnTo>
                  <a:lnTo>
                    <a:pt x="264" y="185"/>
                  </a:lnTo>
                  <a:lnTo>
                    <a:pt x="264" y="175"/>
                  </a:lnTo>
                  <a:lnTo>
                    <a:pt x="273" y="175"/>
                  </a:lnTo>
                  <a:lnTo>
                    <a:pt x="283" y="165"/>
                  </a:lnTo>
                  <a:lnTo>
                    <a:pt x="293" y="156"/>
                  </a:lnTo>
                  <a:lnTo>
                    <a:pt x="313" y="136"/>
                  </a:lnTo>
                  <a:lnTo>
                    <a:pt x="322" y="126"/>
                  </a:lnTo>
                  <a:lnTo>
                    <a:pt x="342" y="126"/>
                  </a:lnTo>
                  <a:lnTo>
                    <a:pt x="342" y="117"/>
                  </a:lnTo>
                  <a:lnTo>
                    <a:pt x="342" y="107"/>
                  </a:lnTo>
                  <a:lnTo>
                    <a:pt x="342" y="97"/>
                  </a:lnTo>
                  <a:lnTo>
                    <a:pt x="342" y="87"/>
                  </a:lnTo>
                  <a:lnTo>
                    <a:pt x="332" y="78"/>
                  </a:lnTo>
                  <a:lnTo>
                    <a:pt x="313" y="68"/>
                  </a:lnTo>
                  <a:lnTo>
                    <a:pt x="303" y="58"/>
                  </a:lnTo>
                  <a:lnTo>
                    <a:pt x="303" y="39"/>
                  </a:lnTo>
                  <a:lnTo>
                    <a:pt x="303" y="29"/>
                  </a:lnTo>
                  <a:lnTo>
                    <a:pt x="303" y="19"/>
                  </a:lnTo>
                  <a:lnTo>
                    <a:pt x="293" y="9"/>
                  </a:lnTo>
                  <a:lnTo>
                    <a:pt x="283" y="0"/>
                  </a:lnTo>
                  <a:lnTo>
                    <a:pt x="273" y="9"/>
                  </a:lnTo>
                  <a:lnTo>
                    <a:pt x="254" y="19"/>
                  </a:lnTo>
                  <a:lnTo>
                    <a:pt x="234" y="19"/>
                  </a:lnTo>
                  <a:lnTo>
                    <a:pt x="225" y="9"/>
                  </a:lnTo>
                  <a:lnTo>
                    <a:pt x="205" y="19"/>
                  </a:lnTo>
                  <a:lnTo>
                    <a:pt x="176" y="1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19"/>
                  </a:lnTo>
                  <a:lnTo>
                    <a:pt x="117" y="19"/>
                  </a:lnTo>
                  <a:lnTo>
                    <a:pt x="98" y="19"/>
                  </a:lnTo>
                  <a:lnTo>
                    <a:pt x="98" y="29"/>
                  </a:lnTo>
                  <a:lnTo>
                    <a:pt x="88" y="39"/>
                  </a:lnTo>
                  <a:lnTo>
                    <a:pt x="59" y="39"/>
                  </a:lnTo>
                  <a:lnTo>
                    <a:pt x="39" y="39"/>
                  </a:lnTo>
                  <a:lnTo>
                    <a:pt x="30" y="39"/>
                  </a:lnTo>
                  <a:lnTo>
                    <a:pt x="10" y="39"/>
                  </a:lnTo>
                  <a:lnTo>
                    <a:pt x="10" y="58"/>
                  </a:lnTo>
                  <a:lnTo>
                    <a:pt x="10" y="68"/>
                  </a:lnTo>
                  <a:lnTo>
                    <a:pt x="20" y="78"/>
                  </a:lnTo>
                  <a:lnTo>
                    <a:pt x="30" y="87"/>
                  </a:lnTo>
                  <a:lnTo>
                    <a:pt x="20" y="97"/>
                  </a:lnTo>
                  <a:lnTo>
                    <a:pt x="10" y="97"/>
                  </a:lnTo>
                  <a:lnTo>
                    <a:pt x="10" y="107"/>
                  </a:lnTo>
                  <a:lnTo>
                    <a:pt x="30" y="117"/>
                  </a:lnTo>
                  <a:lnTo>
                    <a:pt x="20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10" y="165"/>
                  </a:lnTo>
                  <a:lnTo>
                    <a:pt x="20" y="175"/>
                  </a:lnTo>
                  <a:lnTo>
                    <a:pt x="20" y="185"/>
                  </a:lnTo>
                  <a:lnTo>
                    <a:pt x="10" y="185"/>
                  </a:lnTo>
                  <a:lnTo>
                    <a:pt x="10" y="195"/>
                  </a:lnTo>
                  <a:lnTo>
                    <a:pt x="0" y="204"/>
                  </a:lnTo>
                  <a:lnTo>
                    <a:pt x="10" y="224"/>
                  </a:lnTo>
                  <a:lnTo>
                    <a:pt x="20" y="234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" name="Freeform 316"/>
            <p:cNvSpPr>
              <a:spLocks/>
            </p:cNvSpPr>
            <p:nvPr/>
          </p:nvSpPr>
          <p:spPr bwMode="auto">
            <a:xfrm>
              <a:off x="4505" y="3796"/>
              <a:ext cx="802" cy="459"/>
            </a:xfrm>
            <a:custGeom>
              <a:avLst/>
              <a:gdLst>
                <a:gd name="T0" fmla="*/ 20 w 800"/>
                <a:gd name="T1" fmla="*/ 215 h 459"/>
                <a:gd name="T2" fmla="*/ 30 w 800"/>
                <a:gd name="T3" fmla="*/ 264 h 459"/>
                <a:gd name="T4" fmla="*/ 69 w 800"/>
                <a:gd name="T5" fmla="*/ 332 h 459"/>
                <a:gd name="T6" fmla="*/ 39 w 800"/>
                <a:gd name="T7" fmla="*/ 322 h 459"/>
                <a:gd name="T8" fmla="*/ 20 w 800"/>
                <a:gd name="T9" fmla="*/ 342 h 459"/>
                <a:gd name="T10" fmla="*/ 39 w 800"/>
                <a:gd name="T11" fmla="*/ 361 h 459"/>
                <a:gd name="T12" fmla="*/ 49 w 800"/>
                <a:gd name="T13" fmla="*/ 381 h 459"/>
                <a:gd name="T14" fmla="*/ 98 w 800"/>
                <a:gd name="T15" fmla="*/ 371 h 459"/>
                <a:gd name="T16" fmla="*/ 147 w 800"/>
                <a:gd name="T17" fmla="*/ 352 h 459"/>
                <a:gd name="T18" fmla="*/ 176 w 800"/>
                <a:gd name="T19" fmla="*/ 352 h 459"/>
                <a:gd name="T20" fmla="*/ 215 w 800"/>
                <a:gd name="T21" fmla="*/ 322 h 459"/>
                <a:gd name="T22" fmla="*/ 264 w 800"/>
                <a:gd name="T23" fmla="*/ 322 h 459"/>
                <a:gd name="T24" fmla="*/ 293 w 800"/>
                <a:gd name="T25" fmla="*/ 322 h 459"/>
                <a:gd name="T26" fmla="*/ 313 w 800"/>
                <a:gd name="T27" fmla="*/ 332 h 459"/>
                <a:gd name="T28" fmla="*/ 322 w 800"/>
                <a:gd name="T29" fmla="*/ 342 h 459"/>
                <a:gd name="T30" fmla="*/ 381 w 800"/>
                <a:gd name="T31" fmla="*/ 352 h 459"/>
                <a:gd name="T32" fmla="*/ 430 w 800"/>
                <a:gd name="T33" fmla="*/ 361 h 459"/>
                <a:gd name="T34" fmla="*/ 469 w 800"/>
                <a:gd name="T35" fmla="*/ 420 h 459"/>
                <a:gd name="T36" fmla="*/ 517 w 800"/>
                <a:gd name="T37" fmla="*/ 439 h 459"/>
                <a:gd name="T38" fmla="*/ 556 w 800"/>
                <a:gd name="T39" fmla="*/ 430 h 459"/>
                <a:gd name="T40" fmla="*/ 586 w 800"/>
                <a:gd name="T41" fmla="*/ 449 h 459"/>
                <a:gd name="T42" fmla="*/ 625 w 800"/>
                <a:gd name="T43" fmla="*/ 439 h 459"/>
                <a:gd name="T44" fmla="*/ 664 w 800"/>
                <a:gd name="T45" fmla="*/ 459 h 459"/>
                <a:gd name="T46" fmla="*/ 713 w 800"/>
                <a:gd name="T47" fmla="*/ 439 h 459"/>
                <a:gd name="T48" fmla="*/ 742 w 800"/>
                <a:gd name="T49" fmla="*/ 400 h 459"/>
                <a:gd name="T50" fmla="*/ 732 w 800"/>
                <a:gd name="T51" fmla="*/ 361 h 459"/>
                <a:gd name="T52" fmla="*/ 713 w 800"/>
                <a:gd name="T53" fmla="*/ 313 h 459"/>
                <a:gd name="T54" fmla="*/ 713 w 800"/>
                <a:gd name="T55" fmla="*/ 264 h 459"/>
                <a:gd name="T56" fmla="*/ 752 w 800"/>
                <a:gd name="T57" fmla="*/ 235 h 459"/>
                <a:gd name="T58" fmla="*/ 791 w 800"/>
                <a:gd name="T59" fmla="*/ 186 h 459"/>
                <a:gd name="T60" fmla="*/ 791 w 800"/>
                <a:gd name="T61" fmla="*/ 137 h 459"/>
                <a:gd name="T62" fmla="*/ 771 w 800"/>
                <a:gd name="T63" fmla="*/ 98 h 459"/>
                <a:gd name="T64" fmla="*/ 791 w 800"/>
                <a:gd name="T65" fmla="*/ 78 h 459"/>
                <a:gd name="T66" fmla="*/ 752 w 800"/>
                <a:gd name="T67" fmla="*/ 78 h 459"/>
                <a:gd name="T68" fmla="*/ 722 w 800"/>
                <a:gd name="T69" fmla="*/ 69 h 459"/>
                <a:gd name="T70" fmla="*/ 674 w 800"/>
                <a:gd name="T71" fmla="*/ 30 h 459"/>
                <a:gd name="T72" fmla="*/ 634 w 800"/>
                <a:gd name="T73" fmla="*/ 10 h 459"/>
                <a:gd name="T74" fmla="*/ 605 w 800"/>
                <a:gd name="T75" fmla="*/ 30 h 459"/>
                <a:gd name="T76" fmla="*/ 566 w 800"/>
                <a:gd name="T77" fmla="*/ 39 h 459"/>
                <a:gd name="T78" fmla="*/ 517 w 800"/>
                <a:gd name="T79" fmla="*/ 39 h 459"/>
                <a:gd name="T80" fmla="*/ 478 w 800"/>
                <a:gd name="T81" fmla="*/ 39 h 459"/>
                <a:gd name="T82" fmla="*/ 459 w 800"/>
                <a:gd name="T83" fmla="*/ 88 h 459"/>
                <a:gd name="T84" fmla="*/ 400 w 800"/>
                <a:gd name="T85" fmla="*/ 127 h 459"/>
                <a:gd name="T86" fmla="*/ 361 w 800"/>
                <a:gd name="T87" fmla="*/ 166 h 459"/>
                <a:gd name="T88" fmla="*/ 303 w 800"/>
                <a:gd name="T89" fmla="*/ 196 h 459"/>
                <a:gd name="T90" fmla="*/ 235 w 800"/>
                <a:gd name="T91" fmla="*/ 186 h 459"/>
                <a:gd name="T92" fmla="*/ 166 w 800"/>
                <a:gd name="T93" fmla="*/ 166 h 459"/>
                <a:gd name="T94" fmla="*/ 127 w 800"/>
                <a:gd name="T95" fmla="*/ 137 h 459"/>
                <a:gd name="T96" fmla="*/ 108 w 800"/>
                <a:gd name="T97" fmla="*/ 166 h 459"/>
                <a:gd name="T98" fmla="*/ 49 w 800"/>
                <a:gd name="T99" fmla="*/ 176 h 459"/>
                <a:gd name="T100" fmla="*/ 10 w 800"/>
                <a:gd name="T101" fmla="*/ 166 h 459"/>
                <a:gd name="T102" fmla="*/ 10 w 800"/>
                <a:gd name="T103" fmla="*/ 196 h 45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00"/>
                <a:gd name="T157" fmla="*/ 0 h 459"/>
                <a:gd name="T158" fmla="*/ 800 w 800"/>
                <a:gd name="T159" fmla="*/ 459 h 45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00" h="459">
                  <a:moveTo>
                    <a:pt x="10" y="196"/>
                  </a:moveTo>
                  <a:lnTo>
                    <a:pt x="10" y="205"/>
                  </a:lnTo>
                  <a:lnTo>
                    <a:pt x="20" y="215"/>
                  </a:lnTo>
                  <a:lnTo>
                    <a:pt x="10" y="235"/>
                  </a:lnTo>
                  <a:lnTo>
                    <a:pt x="10" y="254"/>
                  </a:lnTo>
                  <a:lnTo>
                    <a:pt x="30" y="264"/>
                  </a:lnTo>
                  <a:lnTo>
                    <a:pt x="49" y="283"/>
                  </a:lnTo>
                  <a:lnTo>
                    <a:pt x="69" y="313"/>
                  </a:lnTo>
                  <a:lnTo>
                    <a:pt x="69" y="332"/>
                  </a:lnTo>
                  <a:lnTo>
                    <a:pt x="59" y="332"/>
                  </a:lnTo>
                  <a:lnTo>
                    <a:pt x="49" y="322"/>
                  </a:lnTo>
                  <a:lnTo>
                    <a:pt x="39" y="322"/>
                  </a:lnTo>
                  <a:lnTo>
                    <a:pt x="39" y="332"/>
                  </a:lnTo>
                  <a:lnTo>
                    <a:pt x="20" y="342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39" y="371"/>
                  </a:lnTo>
                  <a:lnTo>
                    <a:pt x="39" y="381"/>
                  </a:lnTo>
                  <a:lnTo>
                    <a:pt x="49" y="381"/>
                  </a:lnTo>
                  <a:lnTo>
                    <a:pt x="69" y="381"/>
                  </a:lnTo>
                  <a:lnTo>
                    <a:pt x="88" y="381"/>
                  </a:lnTo>
                  <a:lnTo>
                    <a:pt x="98" y="371"/>
                  </a:lnTo>
                  <a:lnTo>
                    <a:pt x="118" y="361"/>
                  </a:lnTo>
                  <a:lnTo>
                    <a:pt x="127" y="361"/>
                  </a:lnTo>
                  <a:lnTo>
                    <a:pt x="147" y="352"/>
                  </a:lnTo>
                  <a:lnTo>
                    <a:pt x="157" y="342"/>
                  </a:lnTo>
                  <a:lnTo>
                    <a:pt x="166" y="342"/>
                  </a:lnTo>
                  <a:lnTo>
                    <a:pt x="176" y="352"/>
                  </a:lnTo>
                  <a:lnTo>
                    <a:pt x="196" y="342"/>
                  </a:lnTo>
                  <a:lnTo>
                    <a:pt x="205" y="332"/>
                  </a:lnTo>
                  <a:lnTo>
                    <a:pt x="215" y="322"/>
                  </a:lnTo>
                  <a:lnTo>
                    <a:pt x="235" y="322"/>
                  </a:lnTo>
                  <a:lnTo>
                    <a:pt x="254" y="322"/>
                  </a:lnTo>
                  <a:lnTo>
                    <a:pt x="264" y="322"/>
                  </a:lnTo>
                  <a:lnTo>
                    <a:pt x="274" y="313"/>
                  </a:lnTo>
                  <a:lnTo>
                    <a:pt x="283" y="313"/>
                  </a:lnTo>
                  <a:lnTo>
                    <a:pt x="293" y="322"/>
                  </a:lnTo>
                  <a:lnTo>
                    <a:pt x="313" y="313"/>
                  </a:lnTo>
                  <a:lnTo>
                    <a:pt x="313" y="322"/>
                  </a:lnTo>
                  <a:lnTo>
                    <a:pt x="313" y="332"/>
                  </a:lnTo>
                  <a:lnTo>
                    <a:pt x="303" y="342"/>
                  </a:lnTo>
                  <a:lnTo>
                    <a:pt x="313" y="342"/>
                  </a:lnTo>
                  <a:lnTo>
                    <a:pt x="322" y="342"/>
                  </a:lnTo>
                  <a:lnTo>
                    <a:pt x="332" y="352"/>
                  </a:lnTo>
                  <a:lnTo>
                    <a:pt x="361" y="352"/>
                  </a:lnTo>
                  <a:lnTo>
                    <a:pt x="381" y="352"/>
                  </a:lnTo>
                  <a:lnTo>
                    <a:pt x="400" y="361"/>
                  </a:lnTo>
                  <a:lnTo>
                    <a:pt x="420" y="361"/>
                  </a:lnTo>
                  <a:lnTo>
                    <a:pt x="430" y="361"/>
                  </a:lnTo>
                  <a:lnTo>
                    <a:pt x="430" y="381"/>
                  </a:lnTo>
                  <a:lnTo>
                    <a:pt x="449" y="410"/>
                  </a:lnTo>
                  <a:lnTo>
                    <a:pt x="469" y="420"/>
                  </a:lnTo>
                  <a:lnTo>
                    <a:pt x="478" y="420"/>
                  </a:lnTo>
                  <a:lnTo>
                    <a:pt x="498" y="430"/>
                  </a:lnTo>
                  <a:lnTo>
                    <a:pt x="517" y="439"/>
                  </a:lnTo>
                  <a:lnTo>
                    <a:pt x="537" y="430"/>
                  </a:lnTo>
                  <a:lnTo>
                    <a:pt x="537" y="420"/>
                  </a:lnTo>
                  <a:lnTo>
                    <a:pt x="556" y="430"/>
                  </a:lnTo>
                  <a:lnTo>
                    <a:pt x="566" y="430"/>
                  </a:lnTo>
                  <a:lnTo>
                    <a:pt x="576" y="439"/>
                  </a:lnTo>
                  <a:lnTo>
                    <a:pt x="586" y="449"/>
                  </a:lnTo>
                  <a:lnTo>
                    <a:pt x="595" y="439"/>
                  </a:lnTo>
                  <a:lnTo>
                    <a:pt x="605" y="439"/>
                  </a:lnTo>
                  <a:lnTo>
                    <a:pt x="625" y="439"/>
                  </a:lnTo>
                  <a:lnTo>
                    <a:pt x="644" y="449"/>
                  </a:lnTo>
                  <a:lnTo>
                    <a:pt x="644" y="459"/>
                  </a:lnTo>
                  <a:lnTo>
                    <a:pt x="664" y="459"/>
                  </a:lnTo>
                  <a:lnTo>
                    <a:pt x="674" y="459"/>
                  </a:lnTo>
                  <a:lnTo>
                    <a:pt x="693" y="439"/>
                  </a:lnTo>
                  <a:lnTo>
                    <a:pt x="713" y="439"/>
                  </a:lnTo>
                  <a:lnTo>
                    <a:pt x="732" y="420"/>
                  </a:lnTo>
                  <a:lnTo>
                    <a:pt x="752" y="410"/>
                  </a:lnTo>
                  <a:lnTo>
                    <a:pt x="742" y="400"/>
                  </a:lnTo>
                  <a:lnTo>
                    <a:pt x="732" y="391"/>
                  </a:lnTo>
                  <a:lnTo>
                    <a:pt x="732" y="381"/>
                  </a:lnTo>
                  <a:lnTo>
                    <a:pt x="732" y="361"/>
                  </a:lnTo>
                  <a:lnTo>
                    <a:pt x="722" y="352"/>
                  </a:lnTo>
                  <a:lnTo>
                    <a:pt x="722" y="332"/>
                  </a:lnTo>
                  <a:lnTo>
                    <a:pt x="713" y="313"/>
                  </a:lnTo>
                  <a:lnTo>
                    <a:pt x="713" y="303"/>
                  </a:lnTo>
                  <a:lnTo>
                    <a:pt x="713" y="293"/>
                  </a:lnTo>
                  <a:lnTo>
                    <a:pt x="713" y="264"/>
                  </a:lnTo>
                  <a:lnTo>
                    <a:pt x="732" y="264"/>
                  </a:lnTo>
                  <a:lnTo>
                    <a:pt x="742" y="244"/>
                  </a:lnTo>
                  <a:lnTo>
                    <a:pt x="752" y="235"/>
                  </a:lnTo>
                  <a:lnTo>
                    <a:pt x="781" y="225"/>
                  </a:lnTo>
                  <a:lnTo>
                    <a:pt x="781" y="205"/>
                  </a:lnTo>
                  <a:lnTo>
                    <a:pt x="791" y="186"/>
                  </a:lnTo>
                  <a:lnTo>
                    <a:pt x="771" y="166"/>
                  </a:lnTo>
                  <a:lnTo>
                    <a:pt x="781" y="156"/>
                  </a:lnTo>
                  <a:lnTo>
                    <a:pt x="791" y="137"/>
                  </a:lnTo>
                  <a:lnTo>
                    <a:pt x="781" y="117"/>
                  </a:lnTo>
                  <a:lnTo>
                    <a:pt x="771" y="108"/>
                  </a:lnTo>
                  <a:lnTo>
                    <a:pt x="771" y="98"/>
                  </a:lnTo>
                  <a:lnTo>
                    <a:pt x="791" y="108"/>
                  </a:lnTo>
                  <a:lnTo>
                    <a:pt x="800" y="98"/>
                  </a:lnTo>
                  <a:lnTo>
                    <a:pt x="791" y="78"/>
                  </a:lnTo>
                  <a:lnTo>
                    <a:pt x="771" y="78"/>
                  </a:lnTo>
                  <a:lnTo>
                    <a:pt x="761" y="78"/>
                  </a:lnTo>
                  <a:lnTo>
                    <a:pt x="752" y="78"/>
                  </a:lnTo>
                  <a:lnTo>
                    <a:pt x="732" y="88"/>
                  </a:lnTo>
                  <a:lnTo>
                    <a:pt x="732" y="69"/>
                  </a:lnTo>
                  <a:lnTo>
                    <a:pt x="722" y="69"/>
                  </a:lnTo>
                  <a:lnTo>
                    <a:pt x="693" y="49"/>
                  </a:lnTo>
                  <a:lnTo>
                    <a:pt x="674" y="39"/>
                  </a:lnTo>
                  <a:lnTo>
                    <a:pt x="674" y="30"/>
                  </a:lnTo>
                  <a:lnTo>
                    <a:pt x="664" y="10"/>
                  </a:lnTo>
                  <a:lnTo>
                    <a:pt x="644" y="0"/>
                  </a:lnTo>
                  <a:lnTo>
                    <a:pt x="634" y="10"/>
                  </a:lnTo>
                  <a:lnTo>
                    <a:pt x="625" y="10"/>
                  </a:lnTo>
                  <a:lnTo>
                    <a:pt x="625" y="20"/>
                  </a:lnTo>
                  <a:lnTo>
                    <a:pt x="605" y="30"/>
                  </a:lnTo>
                  <a:lnTo>
                    <a:pt x="586" y="30"/>
                  </a:lnTo>
                  <a:lnTo>
                    <a:pt x="576" y="39"/>
                  </a:lnTo>
                  <a:lnTo>
                    <a:pt x="566" y="39"/>
                  </a:lnTo>
                  <a:lnTo>
                    <a:pt x="556" y="30"/>
                  </a:lnTo>
                  <a:lnTo>
                    <a:pt x="537" y="30"/>
                  </a:lnTo>
                  <a:lnTo>
                    <a:pt x="517" y="39"/>
                  </a:lnTo>
                  <a:lnTo>
                    <a:pt x="508" y="30"/>
                  </a:lnTo>
                  <a:lnTo>
                    <a:pt x="488" y="39"/>
                  </a:lnTo>
                  <a:lnTo>
                    <a:pt x="478" y="39"/>
                  </a:lnTo>
                  <a:lnTo>
                    <a:pt x="478" y="69"/>
                  </a:lnTo>
                  <a:lnTo>
                    <a:pt x="469" y="78"/>
                  </a:lnTo>
                  <a:lnTo>
                    <a:pt x="459" y="88"/>
                  </a:lnTo>
                  <a:lnTo>
                    <a:pt x="439" y="88"/>
                  </a:lnTo>
                  <a:lnTo>
                    <a:pt x="420" y="108"/>
                  </a:lnTo>
                  <a:lnTo>
                    <a:pt x="400" y="127"/>
                  </a:lnTo>
                  <a:lnTo>
                    <a:pt x="400" y="137"/>
                  </a:lnTo>
                  <a:lnTo>
                    <a:pt x="391" y="156"/>
                  </a:lnTo>
                  <a:lnTo>
                    <a:pt x="361" y="166"/>
                  </a:lnTo>
                  <a:lnTo>
                    <a:pt x="332" y="166"/>
                  </a:lnTo>
                  <a:lnTo>
                    <a:pt x="313" y="186"/>
                  </a:lnTo>
                  <a:lnTo>
                    <a:pt x="303" y="196"/>
                  </a:lnTo>
                  <a:lnTo>
                    <a:pt x="274" y="196"/>
                  </a:lnTo>
                  <a:lnTo>
                    <a:pt x="254" y="186"/>
                  </a:lnTo>
                  <a:lnTo>
                    <a:pt x="235" y="186"/>
                  </a:lnTo>
                  <a:lnTo>
                    <a:pt x="215" y="176"/>
                  </a:lnTo>
                  <a:lnTo>
                    <a:pt x="196" y="166"/>
                  </a:lnTo>
                  <a:lnTo>
                    <a:pt x="166" y="166"/>
                  </a:lnTo>
                  <a:lnTo>
                    <a:pt x="157" y="156"/>
                  </a:lnTo>
                  <a:lnTo>
                    <a:pt x="147" y="137"/>
                  </a:lnTo>
                  <a:lnTo>
                    <a:pt x="127" y="137"/>
                  </a:lnTo>
                  <a:lnTo>
                    <a:pt x="108" y="137"/>
                  </a:lnTo>
                  <a:lnTo>
                    <a:pt x="108" y="16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49" y="176"/>
                  </a:lnTo>
                  <a:lnTo>
                    <a:pt x="39" y="176"/>
                  </a:lnTo>
                  <a:lnTo>
                    <a:pt x="39" y="166"/>
                  </a:lnTo>
                  <a:lnTo>
                    <a:pt x="10" y="16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10" y="19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315"/>
            <p:cNvSpPr>
              <a:spLocks/>
            </p:cNvSpPr>
            <p:nvPr/>
          </p:nvSpPr>
          <p:spPr bwMode="auto">
            <a:xfrm>
              <a:off x="4449" y="2059"/>
              <a:ext cx="1072" cy="1931"/>
            </a:xfrm>
            <a:custGeom>
              <a:avLst/>
              <a:gdLst>
                <a:gd name="T0" fmla="*/ 429 w 1073"/>
                <a:gd name="T1" fmla="*/ 253 h 1932"/>
                <a:gd name="T2" fmla="*/ 351 w 1073"/>
                <a:gd name="T3" fmla="*/ 448 h 1932"/>
                <a:gd name="T4" fmla="*/ 429 w 1073"/>
                <a:gd name="T5" fmla="*/ 478 h 1932"/>
                <a:gd name="T6" fmla="*/ 497 w 1073"/>
                <a:gd name="T7" fmla="*/ 546 h 1932"/>
                <a:gd name="T8" fmla="*/ 468 w 1073"/>
                <a:gd name="T9" fmla="*/ 673 h 1932"/>
                <a:gd name="T10" fmla="*/ 371 w 1073"/>
                <a:gd name="T11" fmla="*/ 839 h 1932"/>
                <a:gd name="T12" fmla="*/ 458 w 1073"/>
                <a:gd name="T13" fmla="*/ 907 h 1932"/>
                <a:gd name="T14" fmla="*/ 507 w 1073"/>
                <a:gd name="T15" fmla="*/ 868 h 1932"/>
                <a:gd name="T16" fmla="*/ 595 w 1073"/>
                <a:gd name="T17" fmla="*/ 897 h 1932"/>
                <a:gd name="T18" fmla="*/ 624 w 1073"/>
                <a:gd name="T19" fmla="*/ 1053 h 1932"/>
                <a:gd name="T20" fmla="*/ 732 w 1073"/>
                <a:gd name="T21" fmla="*/ 1073 h 1932"/>
                <a:gd name="T22" fmla="*/ 878 w 1073"/>
                <a:gd name="T23" fmla="*/ 1044 h 1932"/>
                <a:gd name="T24" fmla="*/ 1034 w 1073"/>
                <a:gd name="T25" fmla="*/ 1073 h 1932"/>
                <a:gd name="T26" fmla="*/ 1034 w 1073"/>
                <a:gd name="T27" fmla="*/ 1200 h 1932"/>
                <a:gd name="T28" fmla="*/ 966 w 1073"/>
                <a:gd name="T29" fmla="*/ 1268 h 1932"/>
                <a:gd name="T30" fmla="*/ 936 w 1073"/>
                <a:gd name="T31" fmla="*/ 1278 h 1932"/>
                <a:gd name="T32" fmla="*/ 868 w 1073"/>
                <a:gd name="T33" fmla="*/ 1297 h 1932"/>
                <a:gd name="T34" fmla="*/ 761 w 1073"/>
                <a:gd name="T35" fmla="*/ 1385 h 1932"/>
                <a:gd name="T36" fmla="*/ 751 w 1073"/>
                <a:gd name="T37" fmla="*/ 1453 h 1932"/>
                <a:gd name="T38" fmla="*/ 692 w 1073"/>
                <a:gd name="T39" fmla="*/ 1551 h 1932"/>
                <a:gd name="T40" fmla="*/ 683 w 1073"/>
                <a:gd name="T41" fmla="*/ 1639 h 1932"/>
                <a:gd name="T42" fmla="*/ 614 w 1073"/>
                <a:gd name="T43" fmla="*/ 1658 h 1932"/>
                <a:gd name="T44" fmla="*/ 634 w 1073"/>
                <a:gd name="T45" fmla="*/ 1775 h 1932"/>
                <a:gd name="T46" fmla="*/ 546 w 1073"/>
                <a:gd name="T47" fmla="*/ 1775 h 1932"/>
                <a:gd name="T48" fmla="*/ 458 w 1073"/>
                <a:gd name="T49" fmla="*/ 1873 h 1932"/>
                <a:gd name="T50" fmla="*/ 312 w 1073"/>
                <a:gd name="T51" fmla="*/ 1922 h 1932"/>
                <a:gd name="T52" fmla="*/ 205 w 1073"/>
                <a:gd name="T53" fmla="*/ 1863 h 1932"/>
                <a:gd name="T54" fmla="*/ 283 w 1073"/>
                <a:gd name="T55" fmla="*/ 1805 h 1932"/>
                <a:gd name="T56" fmla="*/ 312 w 1073"/>
                <a:gd name="T57" fmla="*/ 1717 h 1932"/>
                <a:gd name="T58" fmla="*/ 312 w 1073"/>
                <a:gd name="T59" fmla="*/ 1610 h 1932"/>
                <a:gd name="T60" fmla="*/ 283 w 1073"/>
                <a:gd name="T61" fmla="*/ 1561 h 1932"/>
                <a:gd name="T62" fmla="*/ 224 w 1073"/>
                <a:gd name="T63" fmla="*/ 1522 h 1932"/>
                <a:gd name="T64" fmla="*/ 166 w 1073"/>
                <a:gd name="T65" fmla="*/ 1531 h 1932"/>
                <a:gd name="T66" fmla="*/ 205 w 1073"/>
                <a:gd name="T67" fmla="*/ 1453 h 1932"/>
                <a:gd name="T68" fmla="*/ 166 w 1073"/>
                <a:gd name="T69" fmla="*/ 1385 h 1932"/>
                <a:gd name="T70" fmla="*/ 166 w 1073"/>
                <a:gd name="T71" fmla="*/ 1288 h 1932"/>
                <a:gd name="T72" fmla="*/ 215 w 1073"/>
                <a:gd name="T73" fmla="*/ 1249 h 1932"/>
                <a:gd name="T74" fmla="*/ 156 w 1073"/>
                <a:gd name="T75" fmla="*/ 1161 h 1932"/>
                <a:gd name="T76" fmla="*/ 205 w 1073"/>
                <a:gd name="T77" fmla="*/ 1053 h 1932"/>
                <a:gd name="T78" fmla="*/ 136 w 1073"/>
                <a:gd name="T79" fmla="*/ 975 h 1932"/>
                <a:gd name="T80" fmla="*/ 0 w 1073"/>
                <a:gd name="T81" fmla="*/ 936 h 1932"/>
                <a:gd name="T82" fmla="*/ 10 w 1073"/>
                <a:gd name="T83" fmla="*/ 839 h 1932"/>
                <a:gd name="T84" fmla="*/ 97 w 1073"/>
                <a:gd name="T85" fmla="*/ 761 h 1932"/>
                <a:gd name="T86" fmla="*/ 117 w 1073"/>
                <a:gd name="T87" fmla="*/ 624 h 1932"/>
                <a:gd name="T88" fmla="*/ 136 w 1073"/>
                <a:gd name="T89" fmla="*/ 556 h 1932"/>
                <a:gd name="T90" fmla="*/ 185 w 1073"/>
                <a:gd name="T91" fmla="*/ 478 h 1932"/>
                <a:gd name="T92" fmla="*/ 156 w 1073"/>
                <a:gd name="T93" fmla="*/ 390 h 1932"/>
                <a:gd name="T94" fmla="*/ 136 w 1073"/>
                <a:gd name="T95" fmla="*/ 322 h 1932"/>
                <a:gd name="T96" fmla="*/ 107 w 1073"/>
                <a:gd name="T97" fmla="*/ 273 h 1932"/>
                <a:gd name="T98" fmla="*/ 97 w 1073"/>
                <a:gd name="T99" fmla="*/ 195 h 1932"/>
                <a:gd name="T100" fmla="*/ 88 w 1073"/>
                <a:gd name="T101" fmla="*/ 97 h 1932"/>
                <a:gd name="T102" fmla="*/ 127 w 1073"/>
                <a:gd name="T103" fmla="*/ 19 h 1932"/>
                <a:gd name="T104" fmla="*/ 215 w 1073"/>
                <a:gd name="T105" fmla="*/ 127 h 1932"/>
                <a:gd name="T106" fmla="*/ 283 w 1073"/>
                <a:gd name="T107" fmla="*/ 58 h 1932"/>
                <a:gd name="T108" fmla="*/ 439 w 1073"/>
                <a:gd name="T109" fmla="*/ 166 h 193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3"/>
                <a:gd name="T166" fmla="*/ 0 h 1932"/>
                <a:gd name="T167" fmla="*/ 1073 w 1073"/>
                <a:gd name="T168" fmla="*/ 1932 h 193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3" h="1932">
                  <a:moveTo>
                    <a:pt x="507" y="166"/>
                  </a:moveTo>
                  <a:lnTo>
                    <a:pt x="497" y="175"/>
                  </a:lnTo>
                  <a:lnTo>
                    <a:pt x="488" y="195"/>
                  </a:lnTo>
                  <a:lnTo>
                    <a:pt x="478" y="214"/>
                  </a:lnTo>
                  <a:lnTo>
                    <a:pt x="458" y="224"/>
                  </a:lnTo>
                  <a:lnTo>
                    <a:pt x="439" y="244"/>
                  </a:lnTo>
                  <a:lnTo>
                    <a:pt x="429" y="253"/>
                  </a:lnTo>
                  <a:lnTo>
                    <a:pt x="400" y="263"/>
                  </a:lnTo>
                  <a:lnTo>
                    <a:pt x="390" y="273"/>
                  </a:lnTo>
                  <a:lnTo>
                    <a:pt x="380" y="312"/>
                  </a:lnTo>
                  <a:lnTo>
                    <a:pt x="351" y="322"/>
                  </a:lnTo>
                  <a:lnTo>
                    <a:pt x="341" y="361"/>
                  </a:lnTo>
                  <a:lnTo>
                    <a:pt x="371" y="370"/>
                  </a:lnTo>
                  <a:lnTo>
                    <a:pt x="351" y="448"/>
                  </a:lnTo>
                  <a:lnTo>
                    <a:pt x="371" y="458"/>
                  </a:lnTo>
                  <a:lnTo>
                    <a:pt x="400" y="468"/>
                  </a:lnTo>
                  <a:lnTo>
                    <a:pt x="410" y="468"/>
                  </a:lnTo>
                  <a:lnTo>
                    <a:pt x="410" y="478"/>
                  </a:lnTo>
                  <a:lnTo>
                    <a:pt x="410" y="497"/>
                  </a:lnTo>
                  <a:lnTo>
                    <a:pt x="419" y="488"/>
                  </a:lnTo>
                  <a:lnTo>
                    <a:pt x="429" y="478"/>
                  </a:lnTo>
                  <a:lnTo>
                    <a:pt x="439" y="478"/>
                  </a:lnTo>
                  <a:lnTo>
                    <a:pt x="439" y="497"/>
                  </a:lnTo>
                  <a:lnTo>
                    <a:pt x="449" y="507"/>
                  </a:lnTo>
                  <a:lnTo>
                    <a:pt x="458" y="507"/>
                  </a:lnTo>
                  <a:lnTo>
                    <a:pt x="478" y="507"/>
                  </a:lnTo>
                  <a:lnTo>
                    <a:pt x="488" y="527"/>
                  </a:lnTo>
                  <a:lnTo>
                    <a:pt x="497" y="546"/>
                  </a:lnTo>
                  <a:lnTo>
                    <a:pt x="497" y="566"/>
                  </a:lnTo>
                  <a:lnTo>
                    <a:pt x="488" y="585"/>
                  </a:lnTo>
                  <a:lnTo>
                    <a:pt x="468" y="605"/>
                  </a:lnTo>
                  <a:lnTo>
                    <a:pt x="468" y="614"/>
                  </a:lnTo>
                  <a:lnTo>
                    <a:pt x="478" y="614"/>
                  </a:lnTo>
                  <a:lnTo>
                    <a:pt x="478" y="634"/>
                  </a:lnTo>
                  <a:lnTo>
                    <a:pt x="468" y="673"/>
                  </a:lnTo>
                  <a:lnTo>
                    <a:pt x="439" y="683"/>
                  </a:lnTo>
                  <a:lnTo>
                    <a:pt x="419" y="702"/>
                  </a:lnTo>
                  <a:lnTo>
                    <a:pt x="410" y="722"/>
                  </a:lnTo>
                  <a:lnTo>
                    <a:pt x="351" y="741"/>
                  </a:lnTo>
                  <a:lnTo>
                    <a:pt x="400" y="780"/>
                  </a:lnTo>
                  <a:lnTo>
                    <a:pt x="390" y="809"/>
                  </a:lnTo>
                  <a:lnTo>
                    <a:pt x="371" y="839"/>
                  </a:lnTo>
                  <a:lnTo>
                    <a:pt x="390" y="888"/>
                  </a:lnTo>
                  <a:lnTo>
                    <a:pt x="410" y="897"/>
                  </a:lnTo>
                  <a:lnTo>
                    <a:pt x="419" y="917"/>
                  </a:lnTo>
                  <a:lnTo>
                    <a:pt x="419" y="927"/>
                  </a:lnTo>
                  <a:lnTo>
                    <a:pt x="439" y="927"/>
                  </a:lnTo>
                  <a:lnTo>
                    <a:pt x="449" y="917"/>
                  </a:lnTo>
                  <a:lnTo>
                    <a:pt x="458" y="907"/>
                  </a:lnTo>
                  <a:lnTo>
                    <a:pt x="478" y="897"/>
                  </a:lnTo>
                  <a:lnTo>
                    <a:pt x="478" y="907"/>
                  </a:lnTo>
                  <a:lnTo>
                    <a:pt x="488" y="897"/>
                  </a:lnTo>
                  <a:lnTo>
                    <a:pt x="488" y="888"/>
                  </a:lnTo>
                  <a:lnTo>
                    <a:pt x="497" y="888"/>
                  </a:lnTo>
                  <a:lnTo>
                    <a:pt x="507" y="888"/>
                  </a:lnTo>
                  <a:lnTo>
                    <a:pt x="507" y="868"/>
                  </a:lnTo>
                  <a:lnTo>
                    <a:pt x="517" y="858"/>
                  </a:lnTo>
                  <a:lnTo>
                    <a:pt x="536" y="858"/>
                  </a:lnTo>
                  <a:lnTo>
                    <a:pt x="527" y="878"/>
                  </a:lnTo>
                  <a:lnTo>
                    <a:pt x="527" y="888"/>
                  </a:lnTo>
                  <a:lnTo>
                    <a:pt x="546" y="888"/>
                  </a:lnTo>
                  <a:lnTo>
                    <a:pt x="575" y="897"/>
                  </a:lnTo>
                  <a:lnTo>
                    <a:pt x="595" y="89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44" y="936"/>
                  </a:lnTo>
                  <a:lnTo>
                    <a:pt x="644" y="956"/>
                  </a:lnTo>
                  <a:lnTo>
                    <a:pt x="634" y="985"/>
                  </a:lnTo>
                  <a:lnTo>
                    <a:pt x="624" y="995"/>
                  </a:lnTo>
                  <a:lnTo>
                    <a:pt x="624" y="1053"/>
                  </a:lnTo>
                  <a:lnTo>
                    <a:pt x="624" y="1063"/>
                  </a:lnTo>
                  <a:lnTo>
                    <a:pt x="644" y="1053"/>
                  </a:lnTo>
                  <a:lnTo>
                    <a:pt x="653" y="1073"/>
                  </a:lnTo>
                  <a:lnTo>
                    <a:pt x="663" y="1063"/>
                  </a:lnTo>
                  <a:lnTo>
                    <a:pt x="683" y="1063"/>
                  </a:lnTo>
                  <a:lnTo>
                    <a:pt x="683" y="1073"/>
                  </a:lnTo>
                  <a:lnTo>
                    <a:pt x="732" y="1073"/>
                  </a:lnTo>
                  <a:lnTo>
                    <a:pt x="751" y="1063"/>
                  </a:lnTo>
                  <a:lnTo>
                    <a:pt x="761" y="1053"/>
                  </a:lnTo>
                  <a:lnTo>
                    <a:pt x="780" y="1053"/>
                  </a:lnTo>
                  <a:lnTo>
                    <a:pt x="800" y="1053"/>
                  </a:lnTo>
                  <a:lnTo>
                    <a:pt x="829" y="1053"/>
                  </a:lnTo>
                  <a:lnTo>
                    <a:pt x="858" y="1053"/>
                  </a:lnTo>
                  <a:lnTo>
                    <a:pt x="878" y="1044"/>
                  </a:lnTo>
                  <a:lnTo>
                    <a:pt x="888" y="1024"/>
                  </a:lnTo>
                  <a:lnTo>
                    <a:pt x="897" y="1024"/>
                  </a:lnTo>
                  <a:lnTo>
                    <a:pt x="936" y="1053"/>
                  </a:lnTo>
                  <a:lnTo>
                    <a:pt x="966" y="1053"/>
                  </a:lnTo>
                  <a:lnTo>
                    <a:pt x="995" y="1053"/>
                  </a:lnTo>
                  <a:lnTo>
                    <a:pt x="1024" y="1063"/>
                  </a:lnTo>
                  <a:lnTo>
                    <a:pt x="1034" y="1073"/>
                  </a:lnTo>
                  <a:lnTo>
                    <a:pt x="1053" y="1063"/>
                  </a:lnTo>
                  <a:lnTo>
                    <a:pt x="1063" y="1073"/>
                  </a:lnTo>
                  <a:lnTo>
                    <a:pt x="1063" y="1092"/>
                  </a:lnTo>
                  <a:lnTo>
                    <a:pt x="1053" y="1112"/>
                  </a:lnTo>
                  <a:lnTo>
                    <a:pt x="1073" y="1161"/>
                  </a:lnTo>
                  <a:lnTo>
                    <a:pt x="1063" y="1180"/>
                  </a:lnTo>
                  <a:lnTo>
                    <a:pt x="1034" y="1200"/>
                  </a:lnTo>
                  <a:lnTo>
                    <a:pt x="1024" y="1200"/>
                  </a:lnTo>
                  <a:lnTo>
                    <a:pt x="1005" y="1229"/>
                  </a:lnTo>
                  <a:lnTo>
                    <a:pt x="995" y="1229"/>
                  </a:lnTo>
                  <a:lnTo>
                    <a:pt x="985" y="1239"/>
                  </a:lnTo>
                  <a:lnTo>
                    <a:pt x="985" y="1249"/>
                  </a:lnTo>
                  <a:lnTo>
                    <a:pt x="985" y="1268"/>
                  </a:lnTo>
                  <a:lnTo>
                    <a:pt x="966" y="1268"/>
                  </a:lnTo>
                  <a:lnTo>
                    <a:pt x="975" y="1278"/>
                  </a:lnTo>
                  <a:lnTo>
                    <a:pt x="975" y="1297"/>
                  </a:lnTo>
                  <a:lnTo>
                    <a:pt x="985" y="1307"/>
                  </a:lnTo>
                  <a:lnTo>
                    <a:pt x="985" y="1317"/>
                  </a:lnTo>
                  <a:lnTo>
                    <a:pt x="975" y="1317"/>
                  </a:lnTo>
                  <a:lnTo>
                    <a:pt x="936" y="1307"/>
                  </a:lnTo>
                  <a:lnTo>
                    <a:pt x="936" y="1278"/>
                  </a:lnTo>
                  <a:lnTo>
                    <a:pt x="927" y="1278"/>
                  </a:lnTo>
                  <a:lnTo>
                    <a:pt x="927" y="1268"/>
                  </a:lnTo>
                  <a:lnTo>
                    <a:pt x="917" y="1249"/>
                  </a:lnTo>
                  <a:lnTo>
                    <a:pt x="897" y="1249"/>
                  </a:lnTo>
                  <a:lnTo>
                    <a:pt x="897" y="1258"/>
                  </a:lnTo>
                  <a:lnTo>
                    <a:pt x="878" y="1288"/>
                  </a:lnTo>
                  <a:lnTo>
                    <a:pt x="868" y="1297"/>
                  </a:lnTo>
                  <a:lnTo>
                    <a:pt x="839" y="1297"/>
                  </a:lnTo>
                  <a:lnTo>
                    <a:pt x="829" y="1288"/>
                  </a:lnTo>
                  <a:lnTo>
                    <a:pt x="790" y="1288"/>
                  </a:lnTo>
                  <a:lnTo>
                    <a:pt x="780" y="1297"/>
                  </a:lnTo>
                  <a:lnTo>
                    <a:pt x="771" y="1327"/>
                  </a:lnTo>
                  <a:lnTo>
                    <a:pt x="751" y="1366"/>
                  </a:lnTo>
                  <a:lnTo>
                    <a:pt x="761" y="1385"/>
                  </a:lnTo>
                  <a:lnTo>
                    <a:pt x="771" y="1395"/>
                  </a:lnTo>
                  <a:lnTo>
                    <a:pt x="771" y="1405"/>
                  </a:lnTo>
                  <a:lnTo>
                    <a:pt x="780" y="1414"/>
                  </a:lnTo>
                  <a:lnTo>
                    <a:pt x="771" y="1424"/>
                  </a:lnTo>
                  <a:lnTo>
                    <a:pt x="761" y="1424"/>
                  </a:lnTo>
                  <a:lnTo>
                    <a:pt x="751" y="1444"/>
                  </a:lnTo>
                  <a:lnTo>
                    <a:pt x="751" y="1453"/>
                  </a:lnTo>
                  <a:lnTo>
                    <a:pt x="751" y="1473"/>
                  </a:lnTo>
                  <a:lnTo>
                    <a:pt x="722" y="1473"/>
                  </a:lnTo>
                  <a:lnTo>
                    <a:pt x="712" y="1483"/>
                  </a:lnTo>
                  <a:lnTo>
                    <a:pt x="712" y="1502"/>
                  </a:lnTo>
                  <a:lnTo>
                    <a:pt x="692" y="1502"/>
                  </a:lnTo>
                  <a:lnTo>
                    <a:pt x="692" y="1531"/>
                  </a:lnTo>
                  <a:lnTo>
                    <a:pt x="692" y="1551"/>
                  </a:lnTo>
                  <a:lnTo>
                    <a:pt x="702" y="1561"/>
                  </a:lnTo>
                  <a:lnTo>
                    <a:pt x="702" y="1571"/>
                  </a:lnTo>
                  <a:lnTo>
                    <a:pt x="692" y="1571"/>
                  </a:lnTo>
                  <a:lnTo>
                    <a:pt x="692" y="1580"/>
                  </a:lnTo>
                  <a:lnTo>
                    <a:pt x="692" y="1600"/>
                  </a:lnTo>
                  <a:lnTo>
                    <a:pt x="692" y="1619"/>
                  </a:lnTo>
                  <a:lnTo>
                    <a:pt x="683" y="1639"/>
                  </a:lnTo>
                  <a:lnTo>
                    <a:pt x="673" y="1639"/>
                  </a:lnTo>
                  <a:lnTo>
                    <a:pt x="644" y="1629"/>
                  </a:lnTo>
                  <a:lnTo>
                    <a:pt x="634" y="1629"/>
                  </a:lnTo>
                  <a:lnTo>
                    <a:pt x="634" y="1639"/>
                  </a:lnTo>
                  <a:lnTo>
                    <a:pt x="634" y="1649"/>
                  </a:lnTo>
                  <a:lnTo>
                    <a:pt x="634" y="1658"/>
                  </a:lnTo>
                  <a:lnTo>
                    <a:pt x="614" y="1658"/>
                  </a:lnTo>
                  <a:lnTo>
                    <a:pt x="614" y="1678"/>
                  </a:lnTo>
                  <a:lnTo>
                    <a:pt x="653" y="1717"/>
                  </a:lnTo>
                  <a:lnTo>
                    <a:pt x="683" y="1746"/>
                  </a:lnTo>
                  <a:lnTo>
                    <a:pt x="683" y="1756"/>
                  </a:lnTo>
                  <a:lnTo>
                    <a:pt x="663" y="1766"/>
                  </a:lnTo>
                  <a:lnTo>
                    <a:pt x="644" y="1766"/>
                  </a:lnTo>
                  <a:lnTo>
                    <a:pt x="634" y="1775"/>
                  </a:lnTo>
                  <a:lnTo>
                    <a:pt x="624" y="1775"/>
                  </a:lnTo>
                  <a:lnTo>
                    <a:pt x="614" y="1766"/>
                  </a:lnTo>
                  <a:lnTo>
                    <a:pt x="595" y="1766"/>
                  </a:lnTo>
                  <a:lnTo>
                    <a:pt x="585" y="1775"/>
                  </a:lnTo>
                  <a:lnTo>
                    <a:pt x="566" y="1766"/>
                  </a:lnTo>
                  <a:lnTo>
                    <a:pt x="546" y="1775"/>
                  </a:lnTo>
                  <a:lnTo>
                    <a:pt x="536" y="1805"/>
                  </a:lnTo>
                  <a:lnTo>
                    <a:pt x="527" y="1814"/>
                  </a:lnTo>
                  <a:lnTo>
                    <a:pt x="517" y="1834"/>
                  </a:lnTo>
                  <a:lnTo>
                    <a:pt x="497" y="1834"/>
                  </a:lnTo>
                  <a:lnTo>
                    <a:pt x="488" y="1844"/>
                  </a:lnTo>
                  <a:lnTo>
                    <a:pt x="458" y="1863"/>
                  </a:lnTo>
                  <a:lnTo>
                    <a:pt x="458" y="1873"/>
                  </a:lnTo>
                  <a:lnTo>
                    <a:pt x="449" y="1892"/>
                  </a:lnTo>
                  <a:lnTo>
                    <a:pt x="419" y="1902"/>
                  </a:lnTo>
                  <a:lnTo>
                    <a:pt x="400" y="1902"/>
                  </a:lnTo>
                  <a:lnTo>
                    <a:pt x="371" y="1922"/>
                  </a:lnTo>
                  <a:lnTo>
                    <a:pt x="361" y="1932"/>
                  </a:lnTo>
                  <a:lnTo>
                    <a:pt x="341" y="1932"/>
                  </a:lnTo>
                  <a:lnTo>
                    <a:pt x="312" y="1922"/>
                  </a:lnTo>
                  <a:lnTo>
                    <a:pt x="293" y="1922"/>
                  </a:lnTo>
                  <a:lnTo>
                    <a:pt x="273" y="1912"/>
                  </a:lnTo>
                  <a:lnTo>
                    <a:pt x="254" y="1902"/>
                  </a:lnTo>
                  <a:lnTo>
                    <a:pt x="224" y="1902"/>
                  </a:lnTo>
                  <a:lnTo>
                    <a:pt x="215" y="1892"/>
                  </a:lnTo>
                  <a:lnTo>
                    <a:pt x="205" y="1873"/>
                  </a:lnTo>
                  <a:lnTo>
                    <a:pt x="205" y="1863"/>
                  </a:lnTo>
                  <a:lnTo>
                    <a:pt x="205" y="1853"/>
                  </a:lnTo>
                  <a:lnTo>
                    <a:pt x="224" y="1844"/>
                  </a:lnTo>
                  <a:lnTo>
                    <a:pt x="234" y="1834"/>
                  </a:lnTo>
                  <a:lnTo>
                    <a:pt x="254" y="1834"/>
                  </a:lnTo>
                  <a:lnTo>
                    <a:pt x="263" y="1824"/>
                  </a:lnTo>
                  <a:lnTo>
                    <a:pt x="283" y="1814"/>
                  </a:lnTo>
                  <a:lnTo>
                    <a:pt x="283" y="1805"/>
                  </a:lnTo>
                  <a:lnTo>
                    <a:pt x="293" y="1795"/>
                  </a:lnTo>
                  <a:lnTo>
                    <a:pt x="293" y="1775"/>
                  </a:lnTo>
                  <a:lnTo>
                    <a:pt x="312" y="1775"/>
                  </a:lnTo>
                  <a:lnTo>
                    <a:pt x="332" y="1766"/>
                  </a:lnTo>
                  <a:lnTo>
                    <a:pt x="332" y="1746"/>
                  </a:lnTo>
                  <a:lnTo>
                    <a:pt x="322" y="1746"/>
                  </a:lnTo>
                  <a:lnTo>
                    <a:pt x="312" y="1717"/>
                  </a:lnTo>
                  <a:lnTo>
                    <a:pt x="312" y="1707"/>
                  </a:lnTo>
                  <a:lnTo>
                    <a:pt x="322" y="1697"/>
                  </a:lnTo>
                  <a:lnTo>
                    <a:pt x="322" y="1668"/>
                  </a:lnTo>
                  <a:lnTo>
                    <a:pt x="332" y="1649"/>
                  </a:lnTo>
                  <a:lnTo>
                    <a:pt x="322" y="1639"/>
                  </a:lnTo>
                  <a:lnTo>
                    <a:pt x="322" y="1629"/>
                  </a:lnTo>
                  <a:lnTo>
                    <a:pt x="312" y="1610"/>
                  </a:lnTo>
                  <a:lnTo>
                    <a:pt x="302" y="1600"/>
                  </a:lnTo>
                  <a:lnTo>
                    <a:pt x="302" y="1590"/>
                  </a:lnTo>
                  <a:lnTo>
                    <a:pt x="312" y="1580"/>
                  </a:lnTo>
                  <a:lnTo>
                    <a:pt x="302" y="1580"/>
                  </a:lnTo>
                  <a:lnTo>
                    <a:pt x="293" y="1571"/>
                  </a:lnTo>
                  <a:lnTo>
                    <a:pt x="283" y="1561"/>
                  </a:lnTo>
                  <a:lnTo>
                    <a:pt x="283" y="1551"/>
                  </a:lnTo>
                  <a:lnTo>
                    <a:pt x="273" y="1551"/>
                  </a:lnTo>
                  <a:lnTo>
                    <a:pt x="254" y="1551"/>
                  </a:lnTo>
                  <a:lnTo>
                    <a:pt x="244" y="1551"/>
                  </a:lnTo>
                  <a:lnTo>
                    <a:pt x="234" y="1531"/>
                  </a:lnTo>
                  <a:lnTo>
                    <a:pt x="224" y="1522"/>
                  </a:lnTo>
                  <a:lnTo>
                    <a:pt x="215" y="1531"/>
                  </a:lnTo>
                  <a:lnTo>
                    <a:pt x="215" y="1541"/>
                  </a:lnTo>
                  <a:lnTo>
                    <a:pt x="215" y="1561"/>
                  </a:lnTo>
                  <a:lnTo>
                    <a:pt x="195" y="1551"/>
                  </a:lnTo>
                  <a:lnTo>
                    <a:pt x="176" y="1551"/>
                  </a:lnTo>
                  <a:lnTo>
                    <a:pt x="176" y="1541"/>
                  </a:lnTo>
                  <a:lnTo>
                    <a:pt x="166" y="1531"/>
                  </a:lnTo>
                  <a:lnTo>
                    <a:pt x="156" y="1531"/>
                  </a:lnTo>
                  <a:lnTo>
                    <a:pt x="156" y="1502"/>
                  </a:lnTo>
                  <a:lnTo>
                    <a:pt x="146" y="1492"/>
                  </a:lnTo>
                  <a:lnTo>
                    <a:pt x="156" y="1483"/>
                  </a:lnTo>
                  <a:lnTo>
                    <a:pt x="176" y="1463"/>
                  </a:lnTo>
                  <a:lnTo>
                    <a:pt x="185" y="1453"/>
                  </a:lnTo>
                  <a:lnTo>
                    <a:pt x="205" y="1453"/>
                  </a:lnTo>
                  <a:lnTo>
                    <a:pt x="205" y="1444"/>
                  </a:lnTo>
                  <a:lnTo>
                    <a:pt x="205" y="1434"/>
                  </a:lnTo>
                  <a:lnTo>
                    <a:pt x="195" y="1424"/>
                  </a:lnTo>
                  <a:lnTo>
                    <a:pt x="195" y="1414"/>
                  </a:lnTo>
                  <a:lnTo>
                    <a:pt x="195" y="1405"/>
                  </a:lnTo>
                  <a:lnTo>
                    <a:pt x="176" y="1395"/>
                  </a:lnTo>
                  <a:lnTo>
                    <a:pt x="166" y="1385"/>
                  </a:lnTo>
                  <a:lnTo>
                    <a:pt x="156" y="1366"/>
                  </a:lnTo>
                  <a:lnTo>
                    <a:pt x="156" y="1356"/>
                  </a:lnTo>
                  <a:lnTo>
                    <a:pt x="166" y="1346"/>
                  </a:lnTo>
                  <a:lnTo>
                    <a:pt x="166" y="1317"/>
                  </a:lnTo>
                  <a:lnTo>
                    <a:pt x="176" y="1307"/>
                  </a:lnTo>
                  <a:lnTo>
                    <a:pt x="176" y="1297"/>
                  </a:lnTo>
                  <a:lnTo>
                    <a:pt x="166" y="1288"/>
                  </a:lnTo>
                  <a:lnTo>
                    <a:pt x="176" y="1288"/>
                  </a:lnTo>
                  <a:lnTo>
                    <a:pt x="185" y="1288"/>
                  </a:lnTo>
                  <a:lnTo>
                    <a:pt x="185" y="1278"/>
                  </a:lnTo>
                  <a:lnTo>
                    <a:pt x="195" y="1268"/>
                  </a:lnTo>
                  <a:lnTo>
                    <a:pt x="195" y="1258"/>
                  </a:lnTo>
                  <a:lnTo>
                    <a:pt x="205" y="1258"/>
                  </a:lnTo>
                  <a:lnTo>
                    <a:pt x="215" y="1249"/>
                  </a:lnTo>
                  <a:lnTo>
                    <a:pt x="234" y="1229"/>
                  </a:lnTo>
                  <a:lnTo>
                    <a:pt x="224" y="1210"/>
                  </a:lnTo>
                  <a:lnTo>
                    <a:pt x="205" y="1190"/>
                  </a:lnTo>
                  <a:lnTo>
                    <a:pt x="195" y="1180"/>
                  </a:lnTo>
                  <a:lnTo>
                    <a:pt x="176" y="1170"/>
                  </a:lnTo>
                  <a:lnTo>
                    <a:pt x="156" y="1170"/>
                  </a:lnTo>
                  <a:lnTo>
                    <a:pt x="156" y="1161"/>
                  </a:lnTo>
                  <a:lnTo>
                    <a:pt x="156" y="1122"/>
                  </a:lnTo>
                  <a:lnTo>
                    <a:pt x="176" y="1112"/>
                  </a:lnTo>
                  <a:lnTo>
                    <a:pt x="195" y="1102"/>
                  </a:lnTo>
                  <a:lnTo>
                    <a:pt x="215" y="1092"/>
                  </a:lnTo>
                  <a:lnTo>
                    <a:pt x="215" y="1083"/>
                  </a:lnTo>
                  <a:lnTo>
                    <a:pt x="205" y="1073"/>
                  </a:lnTo>
                  <a:lnTo>
                    <a:pt x="205" y="1053"/>
                  </a:lnTo>
                  <a:lnTo>
                    <a:pt x="195" y="1044"/>
                  </a:lnTo>
                  <a:lnTo>
                    <a:pt x="185" y="1053"/>
                  </a:lnTo>
                  <a:lnTo>
                    <a:pt x="176" y="1053"/>
                  </a:lnTo>
                  <a:lnTo>
                    <a:pt x="156" y="1005"/>
                  </a:lnTo>
                  <a:lnTo>
                    <a:pt x="146" y="995"/>
                  </a:lnTo>
                  <a:lnTo>
                    <a:pt x="136" y="995"/>
                  </a:lnTo>
                  <a:lnTo>
                    <a:pt x="136" y="975"/>
                  </a:lnTo>
                  <a:lnTo>
                    <a:pt x="136" y="966"/>
                  </a:lnTo>
                  <a:lnTo>
                    <a:pt x="107" y="956"/>
                  </a:lnTo>
                  <a:lnTo>
                    <a:pt x="88" y="956"/>
                  </a:lnTo>
                  <a:lnTo>
                    <a:pt x="58" y="946"/>
                  </a:lnTo>
                  <a:lnTo>
                    <a:pt x="39" y="956"/>
                  </a:lnTo>
                  <a:lnTo>
                    <a:pt x="29" y="956"/>
                  </a:lnTo>
                  <a:lnTo>
                    <a:pt x="0" y="936"/>
                  </a:lnTo>
                  <a:lnTo>
                    <a:pt x="0" y="917"/>
                  </a:lnTo>
                  <a:lnTo>
                    <a:pt x="10" y="907"/>
                  </a:lnTo>
                  <a:lnTo>
                    <a:pt x="19" y="897"/>
                  </a:lnTo>
                  <a:lnTo>
                    <a:pt x="19" y="878"/>
                  </a:lnTo>
                  <a:lnTo>
                    <a:pt x="10" y="858"/>
                  </a:lnTo>
                  <a:lnTo>
                    <a:pt x="10" y="849"/>
                  </a:lnTo>
                  <a:lnTo>
                    <a:pt x="10" y="839"/>
                  </a:lnTo>
                  <a:lnTo>
                    <a:pt x="0" y="829"/>
                  </a:lnTo>
                  <a:lnTo>
                    <a:pt x="39" y="819"/>
                  </a:lnTo>
                  <a:lnTo>
                    <a:pt x="97" y="800"/>
                  </a:lnTo>
                  <a:lnTo>
                    <a:pt x="97" y="790"/>
                  </a:lnTo>
                  <a:lnTo>
                    <a:pt x="107" y="780"/>
                  </a:lnTo>
                  <a:lnTo>
                    <a:pt x="107" y="761"/>
                  </a:lnTo>
                  <a:lnTo>
                    <a:pt x="97" y="761"/>
                  </a:lnTo>
                  <a:lnTo>
                    <a:pt x="78" y="751"/>
                  </a:lnTo>
                  <a:lnTo>
                    <a:pt x="58" y="731"/>
                  </a:lnTo>
                  <a:lnTo>
                    <a:pt x="49" y="712"/>
                  </a:lnTo>
                  <a:lnTo>
                    <a:pt x="78" y="663"/>
                  </a:lnTo>
                  <a:lnTo>
                    <a:pt x="97" y="644"/>
                  </a:lnTo>
                  <a:lnTo>
                    <a:pt x="97" y="634"/>
                  </a:lnTo>
                  <a:lnTo>
                    <a:pt x="117" y="624"/>
                  </a:lnTo>
                  <a:lnTo>
                    <a:pt x="136" y="624"/>
                  </a:lnTo>
                  <a:lnTo>
                    <a:pt x="146" y="614"/>
                  </a:lnTo>
                  <a:lnTo>
                    <a:pt x="136" y="595"/>
                  </a:lnTo>
                  <a:lnTo>
                    <a:pt x="146" y="585"/>
                  </a:lnTo>
                  <a:lnTo>
                    <a:pt x="146" y="575"/>
                  </a:lnTo>
                  <a:lnTo>
                    <a:pt x="136" y="566"/>
                  </a:lnTo>
                  <a:lnTo>
                    <a:pt x="136" y="556"/>
                  </a:lnTo>
                  <a:lnTo>
                    <a:pt x="127" y="546"/>
                  </a:lnTo>
                  <a:lnTo>
                    <a:pt x="127" y="527"/>
                  </a:lnTo>
                  <a:lnTo>
                    <a:pt x="136" y="507"/>
                  </a:lnTo>
                  <a:lnTo>
                    <a:pt x="156" y="497"/>
                  </a:lnTo>
                  <a:lnTo>
                    <a:pt x="176" y="497"/>
                  </a:lnTo>
                  <a:lnTo>
                    <a:pt x="185" y="478"/>
                  </a:lnTo>
                  <a:lnTo>
                    <a:pt x="185" y="448"/>
                  </a:lnTo>
                  <a:lnTo>
                    <a:pt x="185" y="419"/>
                  </a:lnTo>
                  <a:lnTo>
                    <a:pt x="185" y="400"/>
                  </a:lnTo>
                  <a:lnTo>
                    <a:pt x="176" y="400"/>
                  </a:lnTo>
                  <a:lnTo>
                    <a:pt x="156" y="409"/>
                  </a:lnTo>
                  <a:lnTo>
                    <a:pt x="146" y="400"/>
                  </a:lnTo>
                  <a:lnTo>
                    <a:pt x="156" y="390"/>
                  </a:lnTo>
                  <a:lnTo>
                    <a:pt x="146" y="380"/>
                  </a:lnTo>
                  <a:lnTo>
                    <a:pt x="127" y="370"/>
                  </a:lnTo>
                  <a:lnTo>
                    <a:pt x="117" y="361"/>
                  </a:lnTo>
                  <a:lnTo>
                    <a:pt x="127" y="361"/>
                  </a:lnTo>
                  <a:lnTo>
                    <a:pt x="136" y="351"/>
                  </a:lnTo>
                  <a:lnTo>
                    <a:pt x="136" y="322"/>
                  </a:lnTo>
                  <a:lnTo>
                    <a:pt x="136" y="312"/>
                  </a:lnTo>
                  <a:lnTo>
                    <a:pt x="146" y="302"/>
                  </a:lnTo>
                  <a:lnTo>
                    <a:pt x="136" y="292"/>
                  </a:lnTo>
                  <a:lnTo>
                    <a:pt x="127" y="283"/>
                  </a:lnTo>
                  <a:lnTo>
                    <a:pt x="117" y="283"/>
                  </a:lnTo>
                  <a:lnTo>
                    <a:pt x="107" y="283"/>
                  </a:lnTo>
                  <a:lnTo>
                    <a:pt x="107" y="273"/>
                  </a:lnTo>
                  <a:lnTo>
                    <a:pt x="107" y="253"/>
                  </a:lnTo>
                  <a:lnTo>
                    <a:pt x="97" y="253"/>
                  </a:lnTo>
                  <a:lnTo>
                    <a:pt x="97" y="234"/>
                  </a:lnTo>
                  <a:lnTo>
                    <a:pt x="117" y="234"/>
                  </a:lnTo>
                  <a:lnTo>
                    <a:pt x="117" y="224"/>
                  </a:lnTo>
                  <a:lnTo>
                    <a:pt x="107" y="214"/>
                  </a:lnTo>
                  <a:lnTo>
                    <a:pt x="97" y="195"/>
                  </a:lnTo>
                  <a:lnTo>
                    <a:pt x="107" y="175"/>
                  </a:lnTo>
                  <a:lnTo>
                    <a:pt x="117" y="166"/>
                  </a:lnTo>
                  <a:lnTo>
                    <a:pt x="117" y="156"/>
                  </a:lnTo>
                  <a:lnTo>
                    <a:pt x="97" y="127"/>
                  </a:lnTo>
                  <a:lnTo>
                    <a:pt x="88" y="107"/>
                  </a:lnTo>
                  <a:lnTo>
                    <a:pt x="88" y="97"/>
                  </a:lnTo>
                  <a:lnTo>
                    <a:pt x="97" y="78"/>
                  </a:lnTo>
                  <a:lnTo>
                    <a:pt x="97" y="58"/>
                  </a:lnTo>
                  <a:lnTo>
                    <a:pt x="97" y="39"/>
                  </a:lnTo>
                  <a:lnTo>
                    <a:pt x="97" y="19"/>
                  </a:lnTo>
                  <a:lnTo>
                    <a:pt x="117" y="29"/>
                  </a:lnTo>
                  <a:lnTo>
                    <a:pt x="127" y="19"/>
                  </a:lnTo>
                  <a:lnTo>
                    <a:pt x="166" y="0"/>
                  </a:lnTo>
                  <a:lnTo>
                    <a:pt x="176" y="19"/>
                  </a:lnTo>
                  <a:lnTo>
                    <a:pt x="156" y="29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95" y="117"/>
                  </a:lnTo>
                  <a:lnTo>
                    <a:pt x="215" y="127"/>
                  </a:lnTo>
                  <a:lnTo>
                    <a:pt x="215" y="107"/>
                  </a:lnTo>
                  <a:lnTo>
                    <a:pt x="244" y="107"/>
                  </a:lnTo>
                  <a:lnTo>
                    <a:pt x="244" y="97"/>
                  </a:lnTo>
                  <a:lnTo>
                    <a:pt x="244" y="78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58"/>
                  </a:lnTo>
                  <a:lnTo>
                    <a:pt x="312" y="58"/>
                  </a:lnTo>
                  <a:lnTo>
                    <a:pt x="312" y="87"/>
                  </a:lnTo>
                  <a:lnTo>
                    <a:pt x="341" y="146"/>
                  </a:lnTo>
                  <a:lnTo>
                    <a:pt x="371" y="146"/>
                  </a:lnTo>
                  <a:lnTo>
                    <a:pt x="410" y="156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68" y="166"/>
                  </a:lnTo>
                  <a:lnTo>
                    <a:pt x="507" y="16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314"/>
            <p:cNvSpPr>
              <a:spLocks/>
            </p:cNvSpPr>
            <p:nvPr/>
          </p:nvSpPr>
          <p:spPr bwMode="auto">
            <a:xfrm>
              <a:off x="5062" y="2605"/>
              <a:ext cx="1444" cy="1464"/>
            </a:xfrm>
            <a:custGeom>
              <a:avLst/>
              <a:gdLst>
                <a:gd name="T0" fmla="*/ 20 w 1444"/>
                <a:gd name="T1" fmla="*/ 1103 h 1464"/>
                <a:gd name="T2" fmla="*/ 78 w 1444"/>
                <a:gd name="T3" fmla="*/ 1073 h 1464"/>
                <a:gd name="T4" fmla="*/ 88 w 1444"/>
                <a:gd name="T5" fmla="*/ 1005 h 1464"/>
                <a:gd name="T6" fmla="*/ 137 w 1444"/>
                <a:gd name="T7" fmla="*/ 927 h 1464"/>
                <a:gd name="T8" fmla="*/ 157 w 1444"/>
                <a:gd name="T9" fmla="*/ 859 h 1464"/>
                <a:gd name="T10" fmla="*/ 186 w 1444"/>
                <a:gd name="T11" fmla="*/ 742 h 1464"/>
                <a:gd name="T12" fmla="*/ 293 w 1444"/>
                <a:gd name="T13" fmla="*/ 703 h 1464"/>
                <a:gd name="T14" fmla="*/ 361 w 1444"/>
                <a:gd name="T15" fmla="*/ 781 h 1464"/>
                <a:gd name="T16" fmla="*/ 371 w 1444"/>
                <a:gd name="T17" fmla="*/ 732 h 1464"/>
                <a:gd name="T18" fmla="*/ 420 w 1444"/>
                <a:gd name="T19" fmla="*/ 654 h 1464"/>
                <a:gd name="T20" fmla="*/ 547 w 1444"/>
                <a:gd name="T21" fmla="*/ 624 h 1464"/>
                <a:gd name="T22" fmla="*/ 625 w 1444"/>
                <a:gd name="T23" fmla="*/ 585 h 1464"/>
                <a:gd name="T24" fmla="*/ 586 w 1444"/>
                <a:gd name="T25" fmla="*/ 507 h 1464"/>
                <a:gd name="T26" fmla="*/ 586 w 1444"/>
                <a:gd name="T27" fmla="*/ 449 h 1464"/>
                <a:gd name="T28" fmla="*/ 566 w 1444"/>
                <a:gd name="T29" fmla="*/ 361 h 1464"/>
                <a:gd name="T30" fmla="*/ 634 w 1444"/>
                <a:gd name="T31" fmla="*/ 293 h 1464"/>
                <a:gd name="T32" fmla="*/ 654 w 1444"/>
                <a:gd name="T33" fmla="*/ 146 h 1464"/>
                <a:gd name="T34" fmla="*/ 654 w 1444"/>
                <a:gd name="T35" fmla="*/ 88 h 1464"/>
                <a:gd name="T36" fmla="*/ 644 w 1444"/>
                <a:gd name="T37" fmla="*/ 10 h 1464"/>
                <a:gd name="T38" fmla="*/ 752 w 1444"/>
                <a:gd name="T39" fmla="*/ 20 h 1464"/>
                <a:gd name="T40" fmla="*/ 771 w 1444"/>
                <a:gd name="T41" fmla="*/ 59 h 1464"/>
                <a:gd name="T42" fmla="*/ 810 w 1444"/>
                <a:gd name="T43" fmla="*/ 176 h 1464"/>
                <a:gd name="T44" fmla="*/ 839 w 1444"/>
                <a:gd name="T45" fmla="*/ 254 h 1464"/>
                <a:gd name="T46" fmla="*/ 888 w 1444"/>
                <a:gd name="T47" fmla="*/ 312 h 1464"/>
                <a:gd name="T48" fmla="*/ 898 w 1444"/>
                <a:gd name="T49" fmla="*/ 371 h 1464"/>
                <a:gd name="T50" fmla="*/ 869 w 1444"/>
                <a:gd name="T51" fmla="*/ 537 h 1464"/>
                <a:gd name="T52" fmla="*/ 976 w 1444"/>
                <a:gd name="T53" fmla="*/ 527 h 1464"/>
                <a:gd name="T54" fmla="*/ 1054 w 1444"/>
                <a:gd name="T55" fmla="*/ 517 h 1464"/>
                <a:gd name="T56" fmla="*/ 1103 w 1444"/>
                <a:gd name="T57" fmla="*/ 468 h 1464"/>
                <a:gd name="T58" fmla="*/ 1200 w 1444"/>
                <a:gd name="T59" fmla="*/ 322 h 1464"/>
                <a:gd name="T60" fmla="*/ 1288 w 1444"/>
                <a:gd name="T61" fmla="*/ 381 h 1464"/>
                <a:gd name="T62" fmla="*/ 1347 w 1444"/>
                <a:gd name="T63" fmla="*/ 400 h 1464"/>
                <a:gd name="T64" fmla="*/ 1415 w 1444"/>
                <a:gd name="T65" fmla="*/ 429 h 1464"/>
                <a:gd name="T66" fmla="*/ 1434 w 1444"/>
                <a:gd name="T67" fmla="*/ 527 h 1464"/>
                <a:gd name="T68" fmla="*/ 1356 w 1444"/>
                <a:gd name="T69" fmla="*/ 546 h 1464"/>
                <a:gd name="T70" fmla="*/ 1366 w 1444"/>
                <a:gd name="T71" fmla="*/ 624 h 1464"/>
                <a:gd name="T72" fmla="*/ 1395 w 1444"/>
                <a:gd name="T73" fmla="*/ 664 h 1464"/>
                <a:gd name="T74" fmla="*/ 1366 w 1444"/>
                <a:gd name="T75" fmla="*/ 712 h 1464"/>
                <a:gd name="T76" fmla="*/ 1288 w 1444"/>
                <a:gd name="T77" fmla="*/ 673 h 1464"/>
                <a:gd name="T78" fmla="*/ 1239 w 1444"/>
                <a:gd name="T79" fmla="*/ 751 h 1464"/>
                <a:gd name="T80" fmla="*/ 1093 w 1444"/>
                <a:gd name="T81" fmla="*/ 761 h 1464"/>
                <a:gd name="T82" fmla="*/ 1005 w 1444"/>
                <a:gd name="T83" fmla="*/ 790 h 1464"/>
                <a:gd name="T84" fmla="*/ 898 w 1444"/>
                <a:gd name="T85" fmla="*/ 820 h 1464"/>
                <a:gd name="T86" fmla="*/ 898 w 1444"/>
                <a:gd name="T87" fmla="*/ 898 h 1464"/>
                <a:gd name="T88" fmla="*/ 898 w 1444"/>
                <a:gd name="T89" fmla="*/ 1054 h 1464"/>
                <a:gd name="T90" fmla="*/ 849 w 1444"/>
                <a:gd name="T91" fmla="*/ 1259 h 1464"/>
                <a:gd name="T92" fmla="*/ 732 w 1444"/>
                <a:gd name="T93" fmla="*/ 1229 h 1464"/>
                <a:gd name="T94" fmla="*/ 634 w 1444"/>
                <a:gd name="T95" fmla="*/ 1229 h 1464"/>
                <a:gd name="T96" fmla="*/ 498 w 1444"/>
                <a:gd name="T97" fmla="*/ 1171 h 1464"/>
                <a:gd name="T98" fmla="*/ 459 w 1444"/>
                <a:gd name="T99" fmla="*/ 1239 h 1464"/>
                <a:gd name="T100" fmla="*/ 566 w 1444"/>
                <a:gd name="T101" fmla="*/ 1278 h 1464"/>
                <a:gd name="T102" fmla="*/ 752 w 1444"/>
                <a:gd name="T103" fmla="*/ 1337 h 1464"/>
                <a:gd name="T104" fmla="*/ 605 w 1444"/>
                <a:gd name="T105" fmla="*/ 1454 h 1464"/>
                <a:gd name="T106" fmla="*/ 537 w 1444"/>
                <a:gd name="T107" fmla="*/ 1434 h 1464"/>
                <a:gd name="T108" fmla="*/ 488 w 1444"/>
                <a:gd name="T109" fmla="*/ 1366 h 1464"/>
                <a:gd name="T110" fmla="*/ 400 w 1444"/>
                <a:gd name="T111" fmla="*/ 1317 h 1464"/>
                <a:gd name="T112" fmla="*/ 322 w 1444"/>
                <a:gd name="T113" fmla="*/ 1239 h 1464"/>
                <a:gd name="T114" fmla="*/ 235 w 1444"/>
                <a:gd name="T115" fmla="*/ 1268 h 1464"/>
                <a:gd name="T116" fmla="*/ 166 w 1444"/>
                <a:gd name="T117" fmla="*/ 1259 h 1464"/>
                <a:gd name="T118" fmla="*/ 69 w 1444"/>
                <a:gd name="T119" fmla="*/ 1200 h 14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44"/>
                <a:gd name="T181" fmla="*/ 0 h 1464"/>
                <a:gd name="T182" fmla="*/ 1444 w 1444"/>
                <a:gd name="T183" fmla="*/ 1464 h 14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44" h="1464">
                  <a:moveTo>
                    <a:pt x="69" y="1200"/>
                  </a:moveTo>
                  <a:lnTo>
                    <a:pt x="39" y="1171"/>
                  </a:lnTo>
                  <a:lnTo>
                    <a:pt x="0" y="1132"/>
                  </a:lnTo>
                  <a:lnTo>
                    <a:pt x="0" y="1112"/>
                  </a:lnTo>
                  <a:lnTo>
                    <a:pt x="20" y="1112"/>
                  </a:lnTo>
                  <a:lnTo>
                    <a:pt x="20" y="1103"/>
                  </a:lnTo>
                  <a:lnTo>
                    <a:pt x="20" y="1093"/>
                  </a:lnTo>
                  <a:lnTo>
                    <a:pt x="20" y="1083"/>
                  </a:lnTo>
                  <a:lnTo>
                    <a:pt x="39" y="1083"/>
                  </a:lnTo>
                  <a:lnTo>
                    <a:pt x="59" y="1093"/>
                  </a:lnTo>
                  <a:lnTo>
                    <a:pt x="69" y="1093"/>
                  </a:lnTo>
                  <a:lnTo>
                    <a:pt x="78" y="1073"/>
                  </a:lnTo>
                  <a:lnTo>
                    <a:pt x="78" y="1054"/>
                  </a:lnTo>
                  <a:lnTo>
                    <a:pt x="78" y="1034"/>
                  </a:lnTo>
                  <a:lnTo>
                    <a:pt x="78" y="1025"/>
                  </a:lnTo>
                  <a:lnTo>
                    <a:pt x="88" y="1025"/>
                  </a:lnTo>
                  <a:lnTo>
                    <a:pt x="88" y="1015"/>
                  </a:lnTo>
                  <a:lnTo>
                    <a:pt x="88" y="1005"/>
                  </a:lnTo>
                  <a:lnTo>
                    <a:pt x="88" y="985"/>
                  </a:lnTo>
                  <a:lnTo>
                    <a:pt x="88" y="956"/>
                  </a:lnTo>
                  <a:lnTo>
                    <a:pt x="98" y="956"/>
                  </a:lnTo>
                  <a:lnTo>
                    <a:pt x="98" y="937"/>
                  </a:lnTo>
                  <a:lnTo>
                    <a:pt x="108" y="927"/>
                  </a:lnTo>
                  <a:lnTo>
                    <a:pt x="137" y="927"/>
                  </a:lnTo>
                  <a:lnTo>
                    <a:pt x="137" y="917"/>
                  </a:lnTo>
                  <a:lnTo>
                    <a:pt x="147" y="898"/>
                  </a:lnTo>
                  <a:lnTo>
                    <a:pt x="147" y="878"/>
                  </a:lnTo>
                  <a:lnTo>
                    <a:pt x="157" y="878"/>
                  </a:lnTo>
                  <a:lnTo>
                    <a:pt x="166" y="868"/>
                  </a:lnTo>
                  <a:lnTo>
                    <a:pt x="157" y="859"/>
                  </a:lnTo>
                  <a:lnTo>
                    <a:pt x="157" y="849"/>
                  </a:lnTo>
                  <a:lnTo>
                    <a:pt x="147" y="839"/>
                  </a:lnTo>
                  <a:lnTo>
                    <a:pt x="137" y="820"/>
                  </a:lnTo>
                  <a:lnTo>
                    <a:pt x="157" y="781"/>
                  </a:lnTo>
                  <a:lnTo>
                    <a:pt x="166" y="751"/>
                  </a:lnTo>
                  <a:lnTo>
                    <a:pt x="186" y="742"/>
                  </a:lnTo>
                  <a:lnTo>
                    <a:pt x="215" y="742"/>
                  </a:lnTo>
                  <a:lnTo>
                    <a:pt x="235" y="751"/>
                  </a:lnTo>
                  <a:lnTo>
                    <a:pt x="254" y="751"/>
                  </a:lnTo>
                  <a:lnTo>
                    <a:pt x="264" y="742"/>
                  </a:lnTo>
                  <a:lnTo>
                    <a:pt x="283" y="712"/>
                  </a:lnTo>
                  <a:lnTo>
                    <a:pt x="293" y="703"/>
                  </a:lnTo>
                  <a:lnTo>
                    <a:pt x="303" y="703"/>
                  </a:lnTo>
                  <a:lnTo>
                    <a:pt x="313" y="732"/>
                  </a:lnTo>
                  <a:lnTo>
                    <a:pt x="332" y="732"/>
                  </a:lnTo>
                  <a:lnTo>
                    <a:pt x="332" y="761"/>
                  </a:lnTo>
                  <a:lnTo>
                    <a:pt x="361" y="781"/>
                  </a:lnTo>
                  <a:lnTo>
                    <a:pt x="371" y="771"/>
                  </a:lnTo>
                  <a:lnTo>
                    <a:pt x="371" y="761"/>
                  </a:lnTo>
                  <a:lnTo>
                    <a:pt x="361" y="751"/>
                  </a:lnTo>
                  <a:lnTo>
                    <a:pt x="361" y="732"/>
                  </a:lnTo>
                  <a:lnTo>
                    <a:pt x="352" y="732"/>
                  </a:lnTo>
                  <a:lnTo>
                    <a:pt x="371" y="732"/>
                  </a:lnTo>
                  <a:lnTo>
                    <a:pt x="371" y="703"/>
                  </a:lnTo>
                  <a:lnTo>
                    <a:pt x="371" y="693"/>
                  </a:lnTo>
                  <a:lnTo>
                    <a:pt x="381" y="683"/>
                  </a:lnTo>
                  <a:lnTo>
                    <a:pt x="400" y="683"/>
                  </a:lnTo>
                  <a:lnTo>
                    <a:pt x="410" y="654"/>
                  </a:lnTo>
                  <a:lnTo>
                    <a:pt x="420" y="654"/>
                  </a:lnTo>
                  <a:lnTo>
                    <a:pt x="449" y="634"/>
                  </a:lnTo>
                  <a:lnTo>
                    <a:pt x="459" y="615"/>
                  </a:lnTo>
                  <a:lnTo>
                    <a:pt x="488" y="585"/>
                  </a:lnTo>
                  <a:lnTo>
                    <a:pt x="508" y="605"/>
                  </a:lnTo>
                  <a:lnTo>
                    <a:pt x="537" y="605"/>
                  </a:lnTo>
                  <a:lnTo>
                    <a:pt x="547" y="624"/>
                  </a:lnTo>
                  <a:lnTo>
                    <a:pt x="566" y="624"/>
                  </a:lnTo>
                  <a:lnTo>
                    <a:pt x="586" y="644"/>
                  </a:lnTo>
                  <a:lnTo>
                    <a:pt x="595" y="634"/>
                  </a:lnTo>
                  <a:lnTo>
                    <a:pt x="595" y="615"/>
                  </a:lnTo>
                  <a:lnTo>
                    <a:pt x="595" y="605"/>
                  </a:lnTo>
                  <a:lnTo>
                    <a:pt x="625" y="585"/>
                  </a:lnTo>
                  <a:lnTo>
                    <a:pt x="625" y="566"/>
                  </a:lnTo>
                  <a:lnTo>
                    <a:pt x="615" y="556"/>
                  </a:lnTo>
                  <a:lnTo>
                    <a:pt x="615" y="546"/>
                  </a:lnTo>
                  <a:lnTo>
                    <a:pt x="595" y="537"/>
                  </a:lnTo>
                  <a:lnTo>
                    <a:pt x="586" y="527"/>
                  </a:lnTo>
                  <a:lnTo>
                    <a:pt x="586" y="507"/>
                  </a:lnTo>
                  <a:lnTo>
                    <a:pt x="605" y="498"/>
                  </a:lnTo>
                  <a:lnTo>
                    <a:pt x="625" y="488"/>
                  </a:lnTo>
                  <a:lnTo>
                    <a:pt x="625" y="468"/>
                  </a:lnTo>
                  <a:lnTo>
                    <a:pt x="615" y="449"/>
                  </a:lnTo>
                  <a:lnTo>
                    <a:pt x="605" y="449"/>
                  </a:lnTo>
                  <a:lnTo>
                    <a:pt x="586" y="449"/>
                  </a:lnTo>
                  <a:lnTo>
                    <a:pt x="566" y="420"/>
                  </a:lnTo>
                  <a:lnTo>
                    <a:pt x="566" y="400"/>
                  </a:lnTo>
                  <a:lnTo>
                    <a:pt x="576" y="390"/>
                  </a:lnTo>
                  <a:lnTo>
                    <a:pt x="576" y="381"/>
                  </a:lnTo>
                  <a:lnTo>
                    <a:pt x="566" y="381"/>
                  </a:lnTo>
                  <a:lnTo>
                    <a:pt x="566" y="361"/>
                  </a:lnTo>
                  <a:lnTo>
                    <a:pt x="576" y="351"/>
                  </a:lnTo>
                  <a:lnTo>
                    <a:pt x="576" y="332"/>
                  </a:lnTo>
                  <a:lnTo>
                    <a:pt x="576" y="322"/>
                  </a:lnTo>
                  <a:lnTo>
                    <a:pt x="586" y="322"/>
                  </a:lnTo>
                  <a:lnTo>
                    <a:pt x="605" y="312"/>
                  </a:lnTo>
                  <a:lnTo>
                    <a:pt x="634" y="293"/>
                  </a:lnTo>
                  <a:lnTo>
                    <a:pt x="625" y="263"/>
                  </a:lnTo>
                  <a:lnTo>
                    <a:pt x="634" y="254"/>
                  </a:lnTo>
                  <a:lnTo>
                    <a:pt x="654" y="234"/>
                  </a:lnTo>
                  <a:lnTo>
                    <a:pt x="654" y="195"/>
                  </a:lnTo>
                  <a:lnTo>
                    <a:pt x="664" y="176"/>
                  </a:lnTo>
                  <a:lnTo>
                    <a:pt x="654" y="146"/>
                  </a:lnTo>
                  <a:lnTo>
                    <a:pt x="634" y="137"/>
                  </a:lnTo>
                  <a:lnTo>
                    <a:pt x="634" y="127"/>
                  </a:lnTo>
                  <a:lnTo>
                    <a:pt x="644" y="117"/>
                  </a:lnTo>
                  <a:lnTo>
                    <a:pt x="644" y="98"/>
                  </a:lnTo>
                  <a:lnTo>
                    <a:pt x="644" y="78"/>
                  </a:lnTo>
                  <a:lnTo>
                    <a:pt x="654" y="88"/>
                  </a:lnTo>
                  <a:lnTo>
                    <a:pt x="664" y="78"/>
                  </a:lnTo>
                  <a:lnTo>
                    <a:pt x="644" y="59"/>
                  </a:lnTo>
                  <a:lnTo>
                    <a:pt x="644" y="29"/>
                  </a:lnTo>
                  <a:lnTo>
                    <a:pt x="634" y="20"/>
                  </a:lnTo>
                  <a:lnTo>
                    <a:pt x="634" y="10"/>
                  </a:lnTo>
                  <a:lnTo>
                    <a:pt x="644" y="10"/>
                  </a:lnTo>
                  <a:lnTo>
                    <a:pt x="654" y="20"/>
                  </a:lnTo>
                  <a:lnTo>
                    <a:pt x="673" y="20"/>
                  </a:lnTo>
                  <a:lnTo>
                    <a:pt x="683" y="20"/>
                  </a:lnTo>
                  <a:lnTo>
                    <a:pt x="703" y="0"/>
                  </a:lnTo>
                  <a:lnTo>
                    <a:pt x="752" y="10"/>
                  </a:lnTo>
                  <a:lnTo>
                    <a:pt x="752" y="20"/>
                  </a:lnTo>
                  <a:lnTo>
                    <a:pt x="742" y="20"/>
                  </a:lnTo>
                  <a:lnTo>
                    <a:pt x="732" y="29"/>
                  </a:lnTo>
                  <a:lnTo>
                    <a:pt x="722" y="39"/>
                  </a:lnTo>
                  <a:lnTo>
                    <a:pt x="722" y="49"/>
                  </a:lnTo>
                  <a:lnTo>
                    <a:pt x="742" y="59"/>
                  </a:lnTo>
                  <a:lnTo>
                    <a:pt x="771" y="59"/>
                  </a:lnTo>
                  <a:lnTo>
                    <a:pt x="791" y="68"/>
                  </a:lnTo>
                  <a:lnTo>
                    <a:pt x="800" y="88"/>
                  </a:lnTo>
                  <a:lnTo>
                    <a:pt x="820" y="127"/>
                  </a:lnTo>
                  <a:lnTo>
                    <a:pt x="810" y="146"/>
                  </a:lnTo>
                  <a:lnTo>
                    <a:pt x="800" y="156"/>
                  </a:lnTo>
                  <a:lnTo>
                    <a:pt x="810" y="176"/>
                  </a:lnTo>
                  <a:lnTo>
                    <a:pt x="830" y="176"/>
                  </a:lnTo>
                  <a:lnTo>
                    <a:pt x="839" y="176"/>
                  </a:lnTo>
                  <a:lnTo>
                    <a:pt x="839" y="224"/>
                  </a:lnTo>
                  <a:lnTo>
                    <a:pt x="839" y="234"/>
                  </a:lnTo>
                  <a:lnTo>
                    <a:pt x="839" y="254"/>
                  </a:lnTo>
                  <a:lnTo>
                    <a:pt x="839" y="263"/>
                  </a:lnTo>
                  <a:lnTo>
                    <a:pt x="849" y="263"/>
                  </a:lnTo>
                  <a:lnTo>
                    <a:pt x="849" y="273"/>
                  </a:lnTo>
                  <a:lnTo>
                    <a:pt x="849" y="293"/>
                  </a:lnTo>
                  <a:lnTo>
                    <a:pt x="859" y="303"/>
                  </a:lnTo>
                  <a:lnTo>
                    <a:pt x="888" y="312"/>
                  </a:lnTo>
                  <a:lnTo>
                    <a:pt x="898" y="322"/>
                  </a:lnTo>
                  <a:lnTo>
                    <a:pt x="898" y="332"/>
                  </a:lnTo>
                  <a:lnTo>
                    <a:pt x="898" y="342"/>
                  </a:lnTo>
                  <a:lnTo>
                    <a:pt x="888" y="351"/>
                  </a:lnTo>
                  <a:lnTo>
                    <a:pt x="898" y="361"/>
                  </a:lnTo>
                  <a:lnTo>
                    <a:pt x="898" y="371"/>
                  </a:lnTo>
                  <a:lnTo>
                    <a:pt x="878" y="371"/>
                  </a:lnTo>
                  <a:lnTo>
                    <a:pt x="869" y="429"/>
                  </a:lnTo>
                  <a:lnTo>
                    <a:pt x="869" y="478"/>
                  </a:lnTo>
                  <a:lnTo>
                    <a:pt x="859" y="507"/>
                  </a:lnTo>
                  <a:lnTo>
                    <a:pt x="859" y="527"/>
                  </a:lnTo>
                  <a:lnTo>
                    <a:pt x="869" y="537"/>
                  </a:lnTo>
                  <a:lnTo>
                    <a:pt x="888" y="556"/>
                  </a:lnTo>
                  <a:lnTo>
                    <a:pt x="917" y="556"/>
                  </a:lnTo>
                  <a:lnTo>
                    <a:pt x="927" y="546"/>
                  </a:lnTo>
                  <a:lnTo>
                    <a:pt x="937" y="537"/>
                  </a:lnTo>
                  <a:lnTo>
                    <a:pt x="956" y="537"/>
                  </a:lnTo>
                  <a:lnTo>
                    <a:pt x="976" y="527"/>
                  </a:lnTo>
                  <a:lnTo>
                    <a:pt x="995" y="517"/>
                  </a:lnTo>
                  <a:lnTo>
                    <a:pt x="1015" y="498"/>
                  </a:lnTo>
                  <a:lnTo>
                    <a:pt x="1034" y="468"/>
                  </a:lnTo>
                  <a:lnTo>
                    <a:pt x="1044" y="488"/>
                  </a:lnTo>
                  <a:lnTo>
                    <a:pt x="1054" y="488"/>
                  </a:lnTo>
                  <a:lnTo>
                    <a:pt x="1054" y="517"/>
                  </a:lnTo>
                  <a:lnTo>
                    <a:pt x="1054" y="537"/>
                  </a:lnTo>
                  <a:lnTo>
                    <a:pt x="1064" y="546"/>
                  </a:lnTo>
                  <a:lnTo>
                    <a:pt x="1073" y="527"/>
                  </a:lnTo>
                  <a:lnTo>
                    <a:pt x="1083" y="517"/>
                  </a:lnTo>
                  <a:lnTo>
                    <a:pt x="1103" y="507"/>
                  </a:lnTo>
                  <a:lnTo>
                    <a:pt x="1103" y="468"/>
                  </a:lnTo>
                  <a:lnTo>
                    <a:pt x="1112" y="459"/>
                  </a:lnTo>
                  <a:lnTo>
                    <a:pt x="1142" y="429"/>
                  </a:lnTo>
                  <a:lnTo>
                    <a:pt x="1151" y="381"/>
                  </a:lnTo>
                  <a:lnTo>
                    <a:pt x="1171" y="361"/>
                  </a:lnTo>
                  <a:lnTo>
                    <a:pt x="1171" y="342"/>
                  </a:lnTo>
                  <a:lnTo>
                    <a:pt x="1200" y="322"/>
                  </a:lnTo>
                  <a:lnTo>
                    <a:pt x="1229" y="332"/>
                  </a:lnTo>
                  <a:lnTo>
                    <a:pt x="1259" y="342"/>
                  </a:lnTo>
                  <a:lnTo>
                    <a:pt x="1288" y="351"/>
                  </a:lnTo>
                  <a:lnTo>
                    <a:pt x="1288" y="361"/>
                  </a:lnTo>
                  <a:lnTo>
                    <a:pt x="1288" y="381"/>
                  </a:lnTo>
                  <a:lnTo>
                    <a:pt x="1288" y="400"/>
                  </a:lnTo>
                  <a:lnTo>
                    <a:pt x="1298" y="420"/>
                  </a:lnTo>
                  <a:lnTo>
                    <a:pt x="1317" y="410"/>
                  </a:lnTo>
                  <a:lnTo>
                    <a:pt x="1317" y="400"/>
                  </a:lnTo>
                  <a:lnTo>
                    <a:pt x="1337" y="410"/>
                  </a:lnTo>
                  <a:lnTo>
                    <a:pt x="1347" y="400"/>
                  </a:lnTo>
                  <a:lnTo>
                    <a:pt x="1347" y="390"/>
                  </a:lnTo>
                  <a:lnTo>
                    <a:pt x="1376" y="410"/>
                  </a:lnTo>
                  <a:lnTo>
                    <a:pt x="1386" y="400"/>
                  </a:lnTo>
                  <a:lnTo>
                    <a:pt x="1395" y="410"/>
                  </a:lnTo>
                  <a:lnTo>
                    <a:pt x="1395" y="429"/>
                  </a:lnTo>
                  <a:lnTo>
                    <a:pt x="1415" y="429"/>
                  </a:lnTo>
                  <a:lnTo>
                    <a:pt x="1415" y="449"/>
                  </a:lnTo>
                  <a:lnTo>
                    <a:pt x="1415" y="468"/>
                  </a:lnTo>
                  <a:lnTo>
                    <a:pt x="1415" y="488"/>
                  </a:lnTo>
                  <a:lnTo>
                    <a:pt x="1434" y="488"/>
                  </a:lnTo>
                  <a:lnTo>
                    <a:pt x="1444" y="498"/>
                  </a:lnTo>
                  <a:lnTo>
                    <a:pt x="1434" y="527"/>
                  </a:lnTo>
                  <a:lnTo>
                    <a:pt x="1434" y="537"/>
                  </a:lnTo>
                  <a:lnTo>
                    <a:pt x="1405" y="527"/>
                  </a:lnTo>
                  <a:lnTo>
                    <a:pt x="1386" y="527"/>
                  </a:lnTo>
                  <a:lnTo>
                    <a:pt x="1376" y="527"/>
                  </a:lnTo>
                  <a:lnTo>
                    <a:pt x="1356" y="537"/>
                  </a:lnTo>
                  <a:lnTo>
                    <a:pt x="1356" y="546"/>
                  </a:lnTo>
                  <a:lnTo>
                    <a:pt x="1366" y="556"/>
                  </a:lnTo>
                  <a:lnTo>
                    <a:pt x="1356" y="566"/>
                  </a:lnTo>
                  <a:lnTo>
                    <a:pt x="1356" y="595"/>
                  </a:lnTo>
                  <a:lnTo>
                    <a:pt x="1347" y="605"/>
                  </a:lnTo>
                  <a:lnTo>
                    <a:pt x="1347" y="624"/>
                  </a:lnTo>
                  <a:lnTo>
                    <a:pt x="1366" y="624"/>
                  </a:lnTo>
                  <a:lnTo>
                    <a:pt x="1366" y="634"/>
                  </a:lnTo>
                  <a:lnTo>
                    <a:pt x="1356" y="644"/>
                  </a:lnTo>
                  <a:lnTo>
                    <a:pt x="1376" y="664"/>
                  </a:lnTo>
                  <a:lnTo>
                    <a:pt x="1376" y="654"/>
                  </a:lnTo>
                  <a:lnTo>
                    <a:pt x="1395" y="654"/>
                  </a:lnTo>
                  <a:lnTo>
                    <a:pt x="1395" y="664"/>
                  </a:lnTo>
                  <a:lnTo>
                    <a:pt x="1386" y="673"/>
                  </a:lnTo>
                  <a:lnTo>
                    <a:pt x="1395" y="683"/>
                  </a:lnTo>
                  <a:lnTo>
                    <a:pt x="1395" y="693"/>
                  </a:lnTo>
                  <a:lnTo>
                    <a:pt x="1386" y="703"/>
                  </a:lnTo>
                  <a:lnTo>
                    <a:pt x="1376" y="703"/>
                  </a:lnTo>
                  <a:lnTo>
                    <a:pt x="1366" y="712"/>
                  </a:lnTo>
                  <a:lnTo>
                    <a:pt x="1356" y="722"/>
                  </a:lnTo>
                  <a:lnTo>
                    <a:pt x="1298" y="712"/>
                  </a:lnTo>
                  <a:lnTo>
                    <a:pt x="1308" y="703"/>
                  </a:lnTo>
                  <a:lnTo>
                    <a:pt x="1308" y="693"/>
                  </a:lnTo>
                  <a:lnTo>
                    <a:pt x="1308" y="673"/>
                  </a:lnTo>
                  <a:lnTo>
                    <a:pt x="1288" y="673"/>
                  </a:lnTo>
                  <a:lnTo>
                    <a:pt x="1288" y="683"/>
                  </a:lnTo>
                  <a:lnTo>
                    <a:pt x="1278" y="703"/>
                  </a:lnTo>
                  <a:lnTo>
                    <a:pt x="1259" y="703"/>
                  </a:lnTo>
                  <a:lnTo>
                    <a:pt x="1239" y="712"/>
                  </a:lnTo>
                  <a:lnTo>
                    <a:pt x="1239" y="732"/>
                  </a:lnTo>
                  <a:lnTo>
                    <a:pt x="1239" y="751"/>
                  </a:lnTo>
                  <a:lnTo>
                    <a:pt x="1190" y="790"/>
                  </a:lnTo>
                  <a:lnTo>
                    <a:pt x="1151" y="790"/>
                  </a:lnTo>
                  <a:lnTo>
                    <a:pt x="1112" y="790"/>
                  </a:lnTo>
                  <a:lnTo>
                    <a:pt x="1103" y="781"/>
                  </a:lnTo>
                  <a:lnTo>
                    <a:pt x="1103" y="771"/>
                  </a:lnTo>
                  <a:lnTo>
                    <a:pt x="1093" y="761"/>
                  </a:lnTo>
                  <a:lnTo>
                    <a:pt x="1083" y="771"/>
                  </a:lnTo>
                  <a:lnTo>
                    <a:pt x="1064" y="771"/>
                  </a:lnTo>
                  <a:lnTo>
                    <a:pt x="1044" y="761"/>
                  </a:lnTo>
                  <a:lnTo>
                    <a:pt x="1034" y="761"/>
                  </a:lnTo>
                  <a:lnTo>
                    <a:pt x="1025" y="781"/>
                  </a:lnTo>
                  <a:lnTo>
                    <a:pt x="1005" y="790"/>
                  </a:lnTo>
                  <a:lnTo>
                    <a:pt x="976" y="790"/>
                  </a:lnTo>
                  <a:lnTo>
                    <a:pt x="956" y="781"/>
                  </a:lnTo>
                  <a:lnTo>
                    <a:pt x="937" y="790"/>
                  </a:lnTo>
                  <a:lnTo>
                    <a:pt x="927" y="810"/>
                  </a:lnTo>
                  <a:lnTo>
                    <a:pt x="908" y="810"/>
                  </a:lnTo>
                  <a:lnTo>
                    <a:pt x="898" y="820"/>
                  </a:lnTo>
                  <a:lnTo>
                    <a:pt x="878" y="839"/>
                  </a:lnTo>
                  <a:lnTo>
                    <a:pt x="859" y="859"/>
                  </a:lnTo>
                  <a:lnTo>
                    <a:pt x="859" y="878"/>
                  </a:lnTo>
                  <a:lnTo>
                    <a:pt x="888" y="878"/>
                  </a:lnTo>
                  <a:lnTo>
                    <a:pt x="888" y="898"/>
                  </a:lnTo>
                  <a:lnTo>
                    <a:pt x="898" y="898"/>
                  </a:lnTo>
                  <a:lnTo>
                    <a:pt x="898" y="907"/>
                  </a:lnTo>
                  <a:lnTo>
                    <a:pt x="888" y="917"/>
                  </a:lnTo>
                  <a:lnTo>
                    <a:pt x="888" y="956"/>
                  </a:lnTo>
                  <a:lnTo>
                    <a:pt x="898" y="985"/>
                  </a:lnTo>
                  <a:lnTo>
                    <a:pt x="898" y="1015"/>
                  </a:lnTo>
                  <a:lnTo>
                    <a:pt x="898" y="1054"/>
                  </a:lnTo>
                  <a:lnTo>
                    <a:pt x="937" y="1073"/>
                  </a:lnTo>
                  <a:lnTo>
                    <a:pt x="908" y="1132"/>
                  </a:lnTo>
                  <a:lnTo>
                    <a:pt x="898" y="1181"/>
                  </a:lnTo>
                  <a:lnTo>
                    <a:pt x="898" y="1200"/>
                  </a:lnTo>
                  <a:lnTo>
                    <a:pt x="878" y="1229"/>
                  </a:lnTo>
                  <a:lnTo>
                    <a:pt x="849" y="1259"/>
                  </a:lnTo>
                  <a:lnTo>
                    <a:pt x="810" y="1278"/>
                  </a:lnTo>
                  <a:lnTo>
                    <a:pt x="771" y="1317"/>
                  </a:lnTo>
                  <a:lnTo>
                    <a:pt x="752" y="1337"/>
                  </a:lnTo>
                  <a:lnTo>
                    <a:pt x="693" y="1288"/>
                  </a:lnTo>
                  <a:lnTo>
                    <a:pt x="693" y="1259"/>
                  </a:lnTo>
                  <a:lnTo>
                    <a:pt x="732" y="1229"/>
                  </a:lnTo>
                  <a:lnTo>
                    <a:pt x="703" y="1220"/>
                  </a:lnTo>
                  <a:lnTo>
                    <a:pt x="693" y="1190"/>
                  </a:lnTo>
                  <a:lnTo>
                    <a:pt x="683" y="1190"/>
                  </a:lnTo>
                  <a:lnTo>
                    <a:pt x="683" y="1210"/>
                  </a:lnTo>
                  <a:lnTo>
                    <a:pt x="664" y="1210"/>
                  </a:lnTo>
                  <a:lnTo>
                    <a:pt x="634" y="1229"/>
                  </a:lnTo>
                  <a:lnTo>
                    <a:pt x="605" y="1210"/>
                  </a:lnTo>
                  <a:lnTo>
                    <a:pt x="595" y="1161"/>
                  </a:lnTo>
                  <a:lnTo>
                    <a:pt x="576" y="1161"/>
                  </a:lnTo>
                  <a:lnTo>
                    <a:pt x="556" y="1171"/>
                  </a:lnTo>
                  <a:lnTo>
                    <a:pt x="537" y="1190"/>
                  </a:lnTo>
                  <a:lnTo>
                    <a:pt x="498" y="1171"/>
                  </a:lnTo>
                  <a:lnTo>
                    <a:pt x="478" y="1171"/>
                  </a:lnTo>
                  <a:lnTo>
                    <a:pt x="469" y="1190"/>
                  </a:lnTo>
                  <a:lnTo>
                    <a:pt x="488" y="1210"/>
                  </a:lnTo>
                  <a:lnTo>
                    <a:pt x="498" y="1229"/>
                  </a:lnTo>
                  <a:lnTo>
                    <a:pt x="478" y="1229"/>
                  </a:lnTo>
                  <a:lnTo>
                    <a:pt x="459" y="1239"/>
                  </a:lnTo>
                  <a:lnTo>
                    <a:pt x="459" y="1259"/>
                  </a:lnTo>
                  <a:lnTo>
                    <a:pt x="488" y="1268"/>
                  </a:lnTo>
                  <a:lnTo>
                    <a:pt x="517" y="1259"/>
                  </a:lnTo>
                  <a:lnTo>
                    <a:pt x="547" y="1239"/>
                  </a:lnTo>
                  <a:lnTo>
                    <a:pt x="547" y="1268"/>
                  </a:lnTo>
                  <a:lnTo>
                    <a:pt x="566" y="1278"/>
                  </a:lnTo>
                  <a:lnTo>
                    <a:pt x="586" y="1259"/>
                  </a:lnTo>
                  <a:lnTo>
                    <a:pt x="605" y="1259"/>
                  </a:lnTo>
                  <a:lnTo>
                    <a:pt x="605" y="1288"/>
                  </a:lnTo>
                  <a:lnTo>
                    <a:pt x="644" y="1327"/>
                  </a:lnTo>
                  <a:lnTo>
                    <a:pt x="693" y="1288"/>
                  </a:lnTo>
                  <a:lnTo>
                    <a:pt x="752" y="1337"/>
                  </a:lnTo>
                  <a:lnTo>
                    <a:pt x="732" y="1376"/>
                  </a:lnTo>
                  <a:lnTo>
                    <a:pt x="703" y="1405"/>
                  </a:lnTo>
                  <a:lnTo>
                    <a:pt x="664" y="1415"/>
                  </a:lnTo>
                  <a:lnTo>
                    <a:pt x="625" y="1425"/>
                  </a:lnTo>
                  <a:lnTo>
                    <a:pt x="625" y="1444"/>
                  </a:lnTo>
                  <a:lnTo>
                    <a:pt x="605" y="1454"/>
                  </a:lnTo>
                  <a:lnTo>
                    <a:pt x="595" y="1464"/>
                  </a:lnTo>
                  <a:lnTo>
                    <a:pt x="586" y="1464"/>
                  </a:lnTo>
                  <a:lnTo>
                    <a:pt x="586" y="1454"/>
                  </a:lnTo>
                  <a:lnTo>
                    <a:pt x="586" y="1444"/>
                  </a:lnTo>
                  <a:lnTo>
                    <a:pt x="556" y="1434"/>
                  </a:lnTo>
                  <a:lnTo>
                    <a:pt x="537" y="1434"/>
                  </a:lnTo>
                  <a:lnTo>
                    <a:pt x="537" y="1415"/>
                  </a:lnTo>
                  <a:lnTo>
                    <a:pt x="537" y="1405"/>
                  </a:lnTo>
                  <a:lnTo>
                    <a:pt x="517" y="1395"/>
                  </a:lnTo>
                  <a:lnTo>
                    <a:pt x="498" y="1386"/>
                  </a:lnTo>
                  <a:lnTo>
                    <a:pt x="488" y="1376"/>
                  </a:lnTo>
                  <a:lnTo>
                    <a:pt x="488" y="1366"/>
                  </a:lnTo>
                  <a:lnTo>
                    <a:pt x="469" y="1366"/>
                  </a:lnTo>
                  <a:lnTo>
                    <a:pt x="449" y="1366"/>
                  </a:lnTo>
                  <a:lnTo>
                    <a:pt x="449" y="1356"/>
                  </a:lnTo>
                  <a:lnTo>
                    <a:pt x="430" y="1346"/>
                  </a:lnTo>
                  <a:lnTo>
                    <a:pt x="400" y="1317"/>
                  </a:lnTo>
                  <a:lnTo>
                    <a:pt x="371" y="1298"/>
                  </a:lnTo>
                  <a:lnTo>
                    <a:pt x="361" y="1288"/>
                  </a:lnTo>
                  <a:lnTo>
                    <a:pt x="342" y="1288"/>
                  </a:lnTo>
                  <a:lnTo>
                    <a:pt x="342" y="1268"/>
                  </a:lnTo>
                  <a:lnTo>
                    <a:pt x="342" y="1259"/>
                  </a:lnTo>
                  <a:lnTo>
                    <a:pt x="322" y="1239"/>
                  </a:lnTo>
                  <a:lnTo>
                    <a:pt x="303" y="1239"/>
                  </a:lnTo>
                  <a:lnTo>
                    <a:pt x="293" y="1259"/>
                  </a:lnTo>
                  <a:lnTo>
                    <a:pt x="283" y="1259"/>
                  </a:lnTo>
                  <a:lnTo>
                    <a:pt x="264" y="1268"/>
                  </a:lnTo>
                  <a:lnTo>
                    <a:pt x="244" y="1288"/>
                  </a:lnTo>
                  <a:lnTo>
                    <a:pt x="235" y="1268"/>
                  </a:lnTo>
                  <a:lnTo>
                    <a:pt x="215" y="1268"/>
                  </a:lnTo>
                  <a:lnTo>
                    <a:pt x="205" y="1268"/>
                  </a:lnTo>
                  <a:lnTo>
                    <a:pt x="196" y="1268"/>
                  </a:lnTo>
                  <a:lnTo>
                    <a:pt x="186" y="1278"/>
                  </a:lnTo>
                  <a:lnTo>
                    <a:pt x="176" y="1259"/>
                  </a:lnTo>
                  <a:lnTo>
                    <a:pt x="166" y="1259"/>
                  </a:lnTo>
                  <a:lnTo>
                    <a:pt x="147" y="1239"/>
                  </a:lnTo>
                  <a:lnTo>
                    <a:pt x="127" y="1229"/>
                  </a:lnTo>
                  <a:lnTo>
                    <a:pt x="118" y="1220"/>
                  </a:lnTo>
                  <a:lnTo>
                    <a:pt x="108" y="1210"/>
                  </a:lnTo>
                  <a:lnTo>
                    <a:pt x="98" y="1190"/>
                  </a:lnTo>
                  <a:lnTo>
                    <a:pt x="69" y="120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" name="Freeform 313"/>
            <p:cNvSpPr>
              <a:spLocks/>
            </p:cNvSpPr>
            <p:nvPr/>
          </p:nvSpPr>
          <p:spPr bwMode="auto">
            <a:xfrm>
              <a:off x="5276" y="3279"/>
              <a:ext cx="1210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75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3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75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22" y="156"/>
                  </a:lnTo>
                  <a:lnTo>
                    <a:pt x="112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1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2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5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32"/>
                  </a:lnTo>
                  <a:lnTo>
                    <a:pt x="761" y="722"/>
                  </a:lnTo>
                  <a:lnTo>
                    <a:pt x="722" y="732"/>
                  </a:lnTo>
                  <a:lnTo>
                    <a:pt x="71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10"/>
                  </a:lnTo>
                  <a:lnTo>
                    <a:pt x="71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6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1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8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17" y="576"/>
                  </a:lnTo>
                  <a:lnTo>
                    <a:pt x="11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12" y="400"/>
                  </a:lnTo>
                  <a:lnTo>
                    <a:pt x="683" y="381"/>
                  </a:lnTo>
                  <a:lnTo>
                    <a:pt x="673" y="342"/>
                  </a:lnTo>
                  <a:lnTo>
                    <a:pt x="673" y="312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" name="Freeform 312"/>
            <p:cNvSpPr>
              <a:spLocks/>
            </p:cNvSpPr>
            <p:nvPr/>
          </p:nvSpPr>
          <p:spPr bwMode="auto">
            <a:xfrm>
              <a:off x="5276" y="3279"/>
              <a:ext cx="1210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66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4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66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12" y="156"/>
                  </a:lnTo>
                  <a:lnTo>
                    <a:pt x="111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2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1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6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42"/>
                  </a:lnTo>
                  <a:lnTo>
                    <a:pt x="761" y="722"/>
                  </a:lnTo>
                  <a:lnTo>
                    <a:pt x="722" y="742"/>
                  </a:lnTo>
                  <a:lnTo>
                    <a:pt x="72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20"/>
                  </a:lnTo>
                  <a:lnTo>
                    <a:pt x="72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7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2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7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27" y="576"/>
                  </a:lnTo>
                  <a:lnTo>
                    <a:pt x="12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22" y="400"/>
                  </a:lnTo>
                  <a:lnTo>
                    <a:pt x="683" y="381"/>
                  </a:lnTo>
                  <a:lnTo>
                    <a:pt x="673" y="342"/>
                  </a:lnTo>
                </a:path>
              </a:pathLst>
            </a:custGeom>
            <a:noFill/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" name="Freeform 311"/>
            <p:cNvSpPr>
              <a:spLocks/>
            </p:cNvSpPr>
            <p:nvPr/>
          </p:nvSpPr>
          <p:spPr bwMode="auto">
            <a:xfrm>
              <a:off x="5960" y="3113"/>
              <a:ext cx="917" cy="1150"/>
            </a:xfrm>
            <a:custGeom>
              <a:avLst/>
              <a:gdLst>
                <a:gd name="T0" fmla="*/ 49 w 917"/>
                <a:gd name="T1" fmla="*/ 1035 h 1152"/>
                <a:gd name="T2" fmla="*/ 39 w 917"/>
                <a:gd name="T3" fmla="*/ 947 h 1152"/>
                <a:gd name="T4" fmla="*/ 39 w 917"/>
                <a:gd name="T5" fmla="*/ 908 h 1152"/>
                <a:gd name="T6" fmla="*/ 156 w 917"/>
                <a:gd name="T7" fmla="*/ 869 h 1152"/>
                <a:gd name="T8" fmla="*/ 253 w 917"/>
                <a:gd name="T9" fmla="*/ 800 h 1152"/>
                <a:gd name="T10" fmla="*/ 341 w 917"/>
                <a:gd name="T11" fmla="*/ 742 h 1152"/>
                <a:gd name="T12" fmla="*/ 390 w 917"/>
                <a:gd name="T13" fmla="*/ 654 h 1152"/>
                <a:gd name="T14" fmla="*/ 371 w 917"/>
                <a:gd name="T15" fmla="*/ 605 h 1152"/>
                <a:gd name="T16" fmla="*/ 400 w 917"/>
                <a:gd name="T17" fmla="*/ 566 h 1152"/>
                <a:gd name="T18" fmla="*/ 458 w 917"/>
                <a:gd name="T19" fmla="*/ 488 h 1152"/>
                <a:gd name="T20" fmla="*/ 527 w 917"/>
                <a:gd name="T21" fmla="*/ 459 h 1152"/>
                <a:gd name="T22" fmla="*/ 468 w 917"/>
                <a:gd name="T23" fmla="*/ 381 h 1152"/>
                <a:gd name="T24" fmla="*/ 429 w 917"/>
                <a:gd name="T25" fmla="*/ 313 h 1152"/>
                <a:gd name="T26" fmla="*/ 390 w 917"/>
                <a:gd name="T27" fmla="*/ 235 h 1152"/>
                <a:gd name="T28" fmla="*/ 429 w 917"/>
                <a:gd name="T29" fmla="*/ 205 h 1152"/>
                <a:gd name="T30" fmla="*/ 497 w 917"/>
                <a:gd name="T31" fmla="*/ 186 h 1152"/>
                <a:gd name="T32" fmla="*/ 488 w 917"/>
                <a:gd name="T33" fmla="*/ 147 h 1152"/>
                <a:gd name="T34" fmla="*/ 449 w 917"/>
                <a:gd name="T35" fmla="*/ 117 h 1152"/>
                <a:gd name="T36" fmla="*/ 458 w 917"/>
                <a:gd name="T37" fmla="*/ 39 h 1152"/>
                <a:gd name="T38" fmla="*/ 536 w 917"/>
                <a:gd name="T39" fmla="*/ 20 h 1152"/>
                <a:gd name="T40" fmla="*/ 566 w 917"/>
                <a:gd name="T41" fmla="*/ 59 h 1152"/>
                <a:gd name="T42" fmla="*/ 575 w 917"/>
                <a:gd name="T43" fmla="*/ 88 h 1152"/>
                <a:gd name="T44" fmla="*/ 653 w 917"/>
                <a:gd name="T45" fmla="*/ 147 h 1152"/>
                <a:gd name="T46" fmla="*/ 692 w 917"/>
                <a:gd name="T47" fmla="*/ 215 h 1152"/>
                <a:gd name="T48" fmla="*/ 751 w 917"/>
                <a:gd name="T49" fmla="*/ 215 h 1152"/>
                <a:gd name="T50" fmla="*/ 809 w 917"/>
                <a:gd name="T51" fmla="*/ 254 h 1152"/>
                <a:gd name="T52" fmla="*/ 839 w 917"/>
                <a:gd name="T53" fmla="*/ 332 h 1152"/>
                <a:gd name="T54" fmla="*/ 878 w 917"/>
                <a:gd name="T55" fmla="*/ 371 h 1152"/>
                <a:gd name="T56" fmla="*/ 887 w 917"/>
                <a:gd name="T57" fmla="*/ 430 h 1152"/>
                <a:gd name="T58" fmla="*/ 839 w 917"/>
                <a:gd name="T59" fmla="*/ 547 h 1152"/>
                <a:gd name="T60" fmla="*/ 848 w 917"/>
                <a:gd name="T61" fmla="*/ 605 h 1152"/>
                <a:gd name="T62" fmla="*/ 878 w 917"/>
                <a:gd name="T63" fmla="*/ 674 h 1152"/>
                <a:gd name="T64" fmla="*/ 848 w 917"/>
                <a:gd name="T65" fmla="*/ 761 h 1152"/>
                <a:gd name="T66" fmla="*/ 829 w 917"/>
                <a:gd name="T67" fmla="*/ 859 h 1152"/>
                <a:gd name="T68" fmla="*/ 839 w 917"/>
                <a:gd name="T69" fmla="*/ 918 h 1152"/>
                <a:gd name="T70" fmla="*/ 761 w 917"/>
                <a:gd name="T71" fmla="*/ 996 h 1152"/>
                <a:gd name="T72" fmla="*/ 614 w 917"/>
                <a:gd name="T73" fmla="*/ 976 h 1152"/>
                <a:gd name="T74" fmla="*/ 488 w 917"/>
                <a:gd name="T75" fmla="*/ 976 h 1152"/>
                <a:gd name="T76" fmla="*/ 566 w 917"/>
                <a:gd name="T77" fmla="*/ 898 h 1152"/>
                <a:gd name="T78" fmla="*/ 546 w 917"/>
                <a:gd name="T79" fmla="*/ 859 h 1152"/>
                <a:gd name="T80" fmla="*/ 527 w 917"/>
                <a:gd name="T81" fmla="*/ 820 h 1152"/>
                <a:gd name="T82" fmla="*/ 458 w 917"/>
                <a:gd name="T83" fmla="*/ 820 h 1152"/>
                <a:gd name="T84" fmla="*/ 400 w 917"/>
                <a:gd name="T85" fmla="*/ 879 h 1152"/>
                <a:gd name="T86" fmla="*/ 351 w 917"/>
                <a:gd name="T87" fmla="*/ 918 h 1152"/>
                <a:gd name="T88" fmla="*/ 331 w 917"/>
                <a:gd name="T89" fmla="*/ 908 h 1152"/>
                <a:gd name="T90" fmla="*/ 322 w 917"/>
                <a:gd name="T91" fmla="*/ 947 h 1152"/>
                <a:gd name="T92" fmla="*/ 380 w 917"/>
                <a:gd name="T93" fmla="*/ 957 h 1152"/>
                <a:gd name="T94" fmla="*/ 478 w 917"/>
                <a:gd name="T95" fmla="*/ 947 h 1152"/>
                <a:gd name="T96" fmla="*/ 390 w 917"/>
                <a:gd name="T97" fmla="*/ 1083 h 1152"/>
                <a:gd name="T98" fmla="*/ 292 w 917"/>
                <a:gd name="T99" fmla="*/ 1132 h 1152"/>
                <a:gd name="T100" fmla="*/ 175 w 917"/>
                <a:gd name="T101" fmla="*/ 1152 h 1152"/>
                <a:gd name="T102" fmla="*/ 58 w 917"/>
                <a:gd name="T103" fmla="*/ 1132 h 11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7"/>
                <a:gd name="T157" fmla="*/ 0 h 1152"/>
                <a:gd name="T158" fmla="*/ 917 w 917"/>
                <a:gd name="T159" fmla="*/ 1152 h 11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7" h="1152">
                  <a:moveTo>
                    <a:pt x="10" y="1093"/>
                  </a:moveTo>
                  <a:lnTo>
                    <a:pt x="0" y="1074"/>
                  </a:lnTo>
                  <a:lnTo>
                    <a:pt x="10" y="1054"/>
                  </a:lnTo>
                  <a:lnTo>
                    <a:pt x="39" y="1035"/>
                  </a:lnTo>
                  <a:lnTo>
                    <a:pt x="49" y="1035"/>
                  </a:lnTo>
                  <a:lnTo>
                    <a:pt x="49" y="1015"/>
                  </a:lnTo>
                  <a:lnTo>
                    <a:pt x="29" y="1005"/>
                  </a:lnTo>
                  <a:lnTo>
                    <a:pt x="29" y="986"/>
                  </a:lnTo>
                  <a:lnTo>
                    <a:pt x="29" y="957"/>
                  </a:lnTo>
                  <a:lnTo>
                    <a:pt x="39" y="947"/>
                  </a:lnTo>
                  <a:lnTo>
                    <a:pt x="39" y="937"/>
                  </a:lnTo>
                  <a:lnTo>
                    <a:pt x="29" y="937"/>
                  </a:lnTo>
                  <a:lnTo>
                    <a:pt x="29" y="927"/>
                  </a:lnTo>
                  <a:lnTo>
                    <a:pt x="29" y="918"/>
                  </a:lnTo>
                  <a:lnTo>
                    <a:pt x="39" y="908"/>
                  </a:lnTo>
                  <a:lnTo>
                    <a:pt x="78" y="898"/>
                  </a:lnTo>
                  <a:lnTo>
                    <a:pt x="88" y="908"/>
                  </a:lnTo>
                  <a:lnTo>
                    <a:pt x="107" y="898"/>
                  </a:lnTo>
                  <a:lnTo>
                    <a:pt x="136" y="869"/>
                  </a:lnTo>
                  <a:lnTo>
                    <a:pt x="156" y="869"/>
                  </a:lnTo>
                  <a:lnTo>
                    <a:pt x="166" y="879"/>
                  </a:lnTo>
                  <a:lnTo>
                    <a:pt x="185" y="879"/>
                  </a:lnTo>
                  <a:lnTo>
                    <a:pt x="185" y="859"/>
                  </a:lnTo>
                  <a:lnTo>
                    <a:pt x="224" y="830"/>
                  </a:lnTo>
                  <a:lnTo>
                    <a:pt x="253" y="800"/>
                  </a:lnTo>
                  <a:lnTo>
                    <a:pt x="273" y="781"/>
                  </a:lnTo>
                  <a:lnTo>
                    <a:pt x="292" y="781"/>
                  </a:lnTo>
                  <a:lnTo>
                    <a:pt x="292" y="761"/>
                  </a:lnTo>
                  <a:lnTo>
                    <a:pt x="322" y="752"/>
                  </a:lnTo>
                  <a:lnTo>
                    <a:pt x="341" y="742"/>
                  </a:lnTo>
                  <a:lnTo>
                    <a:pt x="361" y="742"/>
                  </a:lnTo>
                  <a:lnTo>
                    <a:pt x="390" y="722"/>
                  </a:lnTo>
                  <a:lnTo>
                    <a:pt x="390" y="703"/>
                  </a:lnTo>
                  <a:lnTo>
                    <a:pt x="390" y="664"/>
                  </a:lnTo>
                  <a:lnTo>
                    <a:pt x="390" y="654"/>
                  </a:lnTo>
                  <a:lnTo>
                    <a:pt x="371" y="644"/>
                  </a:lnTo>
                  <a:lnTo>
                    <a:pt x="351" y="635"/>
                  </a:lnTo>
                  <a:lnTo>
                    <a:pt x="351" y="625"/>
                  </a:lnTo>
                  <a:lnTo>
                    <a:pt x="351" y="615"/>
                  </a:lnTo>
                  <a:lnTo>
                    <a:pt x="371" y="605"/>
                  </a:lnTo>
                  <a:lnTo>
                    <a:pt x="371" y="586"/>
                  </a:lnTo>
                  <a:lnTo>
                    <a:pt x="390" y="586"/>
                  </a:lnTo>
                  <a:lnTo>
                    <a:pt x="390" y="576"/>
                  </a:lnTo>
                  <a:lnTo>
                    <a:pt x="400" y="576"/>
                  </a:lnTo>
                  <a:lnTo>
                    <a:pt x="400" y="566"/>
                  </a:lnTo>
                  <a:lnTo>
                    <a:pt x="410" y="557"/>
                  </a:lnTo>
                  <a:lnTo>
                    <a:pt x="429" y="547"/>
                  </a:lnTo>
                  <a:lnTo>
                    <a:pt x="439" y="518"/>
                  </a:lnTo>
                  <a:lnTo>
                    <a:pt x="449" y="508"/>
                  </a:lnTo>
                  <a:lnTo>
                    <a:pt x="458" y="488"/>
                  </a:lnTo>
                  <a:lnTo>
                    <a:pt x="468" y="488"/>
                  </a:lnTo>
                  <a:lnTo>
                    <a:pt x="488" y="478"/>
                  </a:lnTo>
                  <a:lnTo>
                    <a:pt x="507" y="469"/>
                  </a:lnTo>
                  <a:lnTo>
                    <a:pt x="517" y="469"/>
                  </a:lnTo>
                  <a:lnTo>
                    <a:pt x="527" y="459"/>
                  </a:lnTo>
                  <a:lnTo>
                    <a:pt x="536" y="420"/>
                  </a:lnTo>
                  <a:lnTo>
                    <a:pt x="527" y="400"/>
                  </a:lnTo>
                  <a:lnTo>
                    <a:pt x="497" y="391"/>
                  </a:lnTo>
                  <a:lnTo>
                    <a:pt x="488" y="381"/>
                  </a:lnTo>
                  <a:lnTo>
                    <a:pt x="468" y="381"/>
                  </a:lnTo>
                  <a:lnTo>
                    <a:pt x="449" y="371"/>
                  </a:lnTo>
                  <a:lnTo>
                    <a:pt x="449" y="352"/>
                  </a:lnTo>
                  <a:lnTo>
                    <a:pt x="439" y="342"/>
                  </a:lnTo>
                  <a:lnTo>
                    <a:pt x="439" y="322"/>
                  </a:lnTo>
                  <a:lnTo>
                    <a:pt x="429" y="313"/>
                  </a:lnTo>
                  <a:lnTo>
                    <a:pt x="419" y="293"/>
                  </a:lnTo>
                  <a:lnTo>
                    <a:pt x="410" y="293"/>
                  </a:lnTo>
                  <a:lnTo>
                    <a:pt x="410" y="264"/>
                  </a:lnTo>
                  <a:lnTo>
                    <a:pt x="390" y="244"/>
                  </a:lnTo>
                  <a:lnTo>
                    <a:pt x="390" y="235"/>
                  </a:lnTo>
                  <a:lnTo>
                    <a:pt x="390" y="215"/>
                  </a:lnTo>
                  <a:lnTo>
                    <a:pt x="400" y="205"/>
                  </a:lnTo>
                  <a:lnTo>
                    <a:pt x="410" y="205"/>
                  </a:lnTo>
                  <a:lnTo>
                    <a:pt x="419" y="205"/>
                  </a:lnTo>
                  <a:lnTo>
                    <a:pt x="429" y="205"/>
                  </a:lnTo>
                  <a:lnTo>
                    <a:pt x="458" y="215"/>
                  </a:lnTo>
                  <a:lnTo>
                    <a:pt x="468" y="205"/>
                  </a:lnTo>
                  <a:lnTo>
                    <a:pt x="478" y="196"/>
                  </a:lnTo>
                  <a:lnTo>
                    <a:pt x="488" y="196"/>
                  </a:lnTo>
                  <a:lnTo>
                    <a:pt x="497" y="186"/>
                  </a:lnTo>
                  <a:lnTo>
                    <a:pt x="497" y="176"/>
                  </a:lnTo>
                  <a:lnTo>
                    <a:pt x="488" y="166"/>
                  </a:lnTo>
                  <a:lnTo>
                    <a:pt x="497" y="157"/>
                  </a:lnTo>
                  <a:lnTo>
                    <a:pt x="497" y="147"/>
                  </a:lnTo>
                  <a:lnTo>
                    <a:pt x="488" y="147"/>
                  </a:lnTo>
                  <a:lnTo>
                    <a:pt x="478" y="157"/>
                  </a:lnTo>
                  <a:lnTo>
                    <a:pt x="458" y="137"/>
                  </a:lnTo>
                  <a:lnTo>
                    <a:pt x="468" y="127"/>
                  </a:lnTo>
                  <a:lnTo>
                    <a:pt x="468" y="117"/>
                  </a:lnTo>
                  <a:lnTo>
                    <a:pt x="449" y="117"/>
                  </a:lnTo>
                  <a:lnTo>
                    <a:pt x="449" y="88"/>
                  </a:lnTo>
                  <a:lnTo>
                    <a:pt x="458" y="88"/>
                  </a:lnTo>
                  <a:lnTo>
                    <a:pt x="458" y="59"/>
                  </a:lnTo>
                  <a:lnTo>
                    <a:pt x="468" y="49"/>
                  </a:lnTo>
                  <a:lnTo>
                    <a:pt x="458" y="39"/>
                  </a:lnTo>
                  <a:lnTo>
                    <a:pt x="458" y="30"/>
                  </a:lnTo>
                  <a:lnTo>
                    <a:pt x="478" y="20"/>
                  </a:lnTo>
                  <a:lnTo>
                    <a:pt x="488" y="20"/>
                  </a:lnTo>
                  <a:lnTo>
                    <a:pt x="507" y="20"/>
                  </a:lnTo>
                  <a:lnTo>
                    <a:pt x="536" y="20"/>
                  </a:lnTo>
                  <a:lnTo>
                    <a:pt x="546" y="10"/>
                  </a:lnTo>
                  <a:lnTo>
                    <a:pt x="546" y="0"/>
                  </a:lnTo>
                  <a:lnTo>
                    <a:pt x="556" y="20"/>
                  </a:lnTo>
                  <a:lnTo>
                    <a:pt x="566" y="39"/>
                  </a:lnTo>
                  <a:lnTo>
                    <a:pt x="566" y="59"/>
                  </a:lnTo>
                  <a:lnTo>
                    <a:pt x="566" y="69"/>
                  </a:lnTo>
                  <a:lnTo>
                    <a:pt x="575" y="69"/>
                  </a:lnTo>
                  <a:lnTo>
                    <a:pt x="575" y="78"/>
                  </a:lnTo>
                  <a:lnTo>
                    <a:pt x="566" y="88"/>
                  </a:lnTo>
                  <a:lnTo>
                    <a:pt x="575" y="88"/>
                  </a:lnTo>
                  <a:lnTo>
                    <a:pt x="595" y="69"/>
                  </a:lnTo>
                  <a:lnTo>
                    <a:pt x="605" y="78"/>
                  </a:lnTo>
                  <a:lnTo>
                    <a:pt x="605" y="98"/>
                  </a:lnTo>
                  <a:lnTo>
                    <a:pt x="634" y="137"/>
                  </a:lnTo>
                  <a:lnTo>
                    <a:pt x="653" y="147"/>
                  </a:lnTo>
                  <a:lnTo>
                    <a:pt x="653" y="157"/>
                  </a:lnTo>
                  <a:lnTo>
                    <a:pt x="673" y="186"/>
                  </a:lnTo>
                  <a:lnTo>
                    <a:pt x="692" y="196"/>
                  </a:lnTo>
                  <a:lnTo>
                    <a:pt x="712" y="205"/>
                  </a:lnTo>
                  <a:lnTo>
                    <a:pt x="692" y="215"/>
                  </a:lnTo>
                  <a:lnTo>
                    <a:pt x="683" y="225"/>
                  </a:lnTo>
                  <a:lnTo>
                    <a:pt x="692" y="235"/>
                  </a:lnTo>
                  <a:lnTo>
                    <a:pt x="702" y="244"/>
                  </a:lnTo>
                  <a:lnTo>
                    <a:pt x="731" y="225"/>
                  </a:lnTo>
                  <a:lnTo>
                    <a:pt x="751" y="215"/>
                  </a:lnTo>
                  <a:lnTo>
                    <a:pt x="770" y="225"/>
                  </a:lnTo>
                  <a:lnTo>
                    <a:pt x="780" y="254"/>
                  </a:lnTo>
                  <a:lnTo>
                    <a:pt x="780" y="264"/>
                  </a:lnTo>
                  <a:lnTo>
                    <a:pt x="790" y="274"/>
                  </a:lnTo>
                  <a:lnTo>
                    <a:pt x="809" y="254"/>
                  </a:lnTo>
                  <a:lnTo>
                    <a:pt x="829" y="264"/>
                  </a:lnTo>
                  <a:lnTo>
                    <a:pt x="829" y="283"/>
                  </a:lnTo>
                  <a:lnTo>
                    <a:pt x="839" y="293"/>
                  </a:lnTo>
                  <a:lnTo>
                    <a:pt x="839" y="313"/>
                  </a:lnTo>
                  <a:lnTo>
                    <a:pt x="839" y="332"/>
                  </a:lnTo>
                  <a:lnTo>
                    <a:pt x="839" y="342"/>
                  </a:lnTo>
                  <a:lnTo>
                    <a:pt x="858" y="342"/>
                  </a:lnTo>
                  <a:lnTo>
                    <a:pt x="858" y="352"/>
                  </a:lnTo>
                  <a:lnTo>
                    <a:pt x="878" y="371"/>
                  </a:lnTo>
                  <a:lnTo>
                    <a:pt x="858" y="371"/>
                  </a:lnTo>
                  <a:lnTo>
                    <a:pt x="858" y="391"/>
                  </a:lnTo>
                  <a:lnTo>
                    <a:pt x="858" y="400"/>
                  </a:lnTo>
                  <a:lnTo>
                    <a:pt x="858" y="430"/>
                  </a:lnTo>
                  <a:lnTo>
                    <a:pt x="887" y="430"/>
                  </a:lnTo>
                  <a:lnTo>
                    <a:pt x="917" y="488"/>
                  </a:lnTo>
                  <a:lnTo>
                    <a:pt x="897" y="498"/>
                  </a:lnTo>
                  <a:lnTo>
                    <a:pt x="878" y="508"/>
                  </a:lnTo>
                  <a:lnTo>
                    <a:pt x="848" y="527"/>
                  </a:lnTo>
                  <a:lnTo>
                    <a:pt x="839" y="547"/>
                  </a:lnTo>
                  <a:lnTo>
                    <a:pt x="819" y="566"/>
                  </a:lnTo>
                  <a:lnTo>
                    <a:pt x="809" y="605"/>
                  </a:lnTo>
                  <a:lnTo>
                    <a:pt x="829" y="605"/>
                  </a:lnTo>
                  <a:lnTo>
                    <a:pt x="848" y="596"/>
                  </a:lnTo>
                  <a:lnTo>
                    <a:pt x="848" y="605"/>
                  </a:lnTo>
                  <a:lnTo>
                    <a:pt x="868" y="615"/>
                  </a:lnTo>
                  <a:lnTo>
                    <a:pt x="868" y="635"/>
                  </a:lnTo>
                  <a:lnTo>
                    <a:pt x="878" y="644"/>
                  </a:lnTo>
                  <a:lnTo>
                    <a:pt x="878" y="654"/>
                  </a:lnTo>
                  <a:lnTo>
                    <a:pt x="878" y="674"/>
                  </a:lnTo>
                  <a:lnTo>
                    <a:pt x="868" y="683"/>
                  </a:lnTo>
                  <a:lnTo>
                    <a:pt x="858" y="703"/>
                  </a:lnTo>
                  <a:lnTo>
                    <a:pt x="848" y="722"/>
                  </a:lnTo>
                  <a:lnTo>
                    <a:pt x="848" y="742"/>
                  </a:lnTo>
                  <a:lnTo>
                    <a:pt x="848" y="761"/>
                  </a:lnTo>
                  <a:lnTo>
                    <a:pt x="848" y="791"/>
                  </a:lnTo>
                  <a:lnTo>
                    <a:pt x="839" y="820"/>
                  </a:lnTo>
                  <a:lnTo>
                    <a:pt x="839" y="830"/>
                  </a:lnTo>
                  <a:lnTo>
                    <a:pt x="829" y="839"/>
                  </a:lnTo>
                  <a:lnTo>
                    <a:pt x="829" y="859"/>
                  </a:lnTo>
                  <a:lnTo>
                    <a:pt x="839" y="869"/>
                  </a:lnTo>
                  <a:lnTo>
                    <a:pt x="848" y="879"/>
                  </a:lnTo>
                  <a:lnTo>
                    <a:pt x="848" y="898"/>
                  </a:lnTo>
                  <a:lnTo>
                    <a:pt x="839" y="908"/>
                  </a:lnTo>
                  <a:lnTo>
                    <a:pt x="839" y="918"/>
                  </a:lnTo>
                  <a:lnTo>
                    <a:pt x="809" y="927"/>
                  </a:lnTo>
                  <a:lnTo>
                    <a:pt x="790" y="957"/>
                  </a:lnTo>
                  <a:lnTo>
                    <a:pt x="770" y="976"/>
                  </a:lnTo>
                  <a:lnTo>
                    <a:pt x="770" y="996"/>
                  </a:lnTo>
                  <a:lnTo>
                    <a:pt x="761" y="996"/>
                  </a:lnTo>
                  <a:lnTo>
                    <a:pt x="722" y="996"/>
                  </a:lnTo>
                  <a:lnTo>
                    <a:pt x="683" y="986"/>
                  </a:lnTo>
                  <a:lnTo>
                    <a:pt x="653" y="976"/>
                  </a:lnTo>
                  <a:lnTo>
                    <a:pt x="624" y="966"/>
                  </a:lnTo>
                  <a:lnTo>
                    <a:pt x="614" y="976"/>
                  </a:lnTo>
                  <a:lnTo>
                    <a:pt x="605" y="996"/>
                  </a:lnTo>
                  <a:lnTo>
                    <a:pt x="585" y="996"/>
                  </a:lnTo>
                  <a:lnTo>
                    <a:pt x="556" y="986"/>
                  </a:lnTo>
                  <a:lnTo>
                    <a:pt x="527" y="976"/>
                  </a:lnTo>
                  <a:lnTo>
                    <a:pt x="488" y="976"/>
                  </a:lnTo>
                  <a:lnTo>
                    <a:pt x="478" y="947"/>
                  </a:lnTo>
                  <a:lnTo>
                    <a:pt x="497" y="937"/>
                  </a:lnTo>
                  <a:lnTo>
                    <a:pt x="517" y="927"/>
                  </a:lnTo>
                  <a:lnTo>
                    <a:pt x="556" y="918"/>
                  </a:lnTo>
                  <a:lnTo>
                    <a:pt x="566" y="898"/>
                  </a:lnTo>
                  <a:lnTo>
                    <a:pt x="575" y="888"/>
                  </a:lnTo>
                  <a:lnTo>
                    <a:pt x="556" y="888"/>
                  </a:lnTo>
                  <a:lnTo>
                    <a:pt x="536" y="888"/>
                  </a:lnTo>
                  <a:lnTo>
                    <a:pt x="536" y="859"/>
                  </a:lnTo>
                  <a:lnTo>
                    <a:pt x="546" y="859"/>
                  </a:lnTo>
                  <a:lnTo>
                    <a:pt x="566" y="859"/>
                  </a:lnTo>
                  <a:lnTo>
                    <a:pt x="566" y="839"/>
                  </a:lnTo>
                  <a:lnTo>
                    <a:pt x="556" y="839"/>
                  </a:lnTo>
                  <a:lnTo>
                    <a:pt x="546" y="820"/>
                  </a:lnTo>
                  <a:lnTo>
                    <a:pt x="527" y="820"/>
                  </a:lnTo>
                  <a:lnTo>
                    <a:pt x="517" y="810"/>
                  </a:lnTo>
                  <a:lnTo>
                    <a:pt x="507" y="800"/>
                  </a:lnTo>
                  <a:lnTo>
                    <a:pt x="488" y="800"/>
                  </a:lnTo>
                  <a:lnTo>
                    <a:pt x="478" y="810"/>
                  </a:lnTo>
                  <a:lnTo>
                    <a:pt x="458" y="820"/>
                  </a:lnTo>
                  <a:lnTo>
                    <a:pt x="458" y="830"/>
                  </a:lnTo>
                  <a:lnTo>
                    <a:pt x="449" y="839"/>
                  </a:lnTo>
                  <a:lnTo>
                    <a:pt x="410" y="839"/>
                  </a:lnTo>
                  <a:lnTo>
                    <a:pt x="390" y="859"/>
                  </a:lnTo>
                  <a:lnTo>
                    <a:pt x="400" y="879"/>
                  </a:lnTo>
                  <a:lnTo>
                    <a:pt x="410" y="879"/>
                  </a:lnTo>
                  <a:lnTo>
                    <a:pt x="390" y="888"/>
                  </a:lnTo>
                  <a:lnTo>
                    <a:pt x="380" y="888"/>
                  </a:lnTo>
                  <a:lnTo>
                    <a:pt x="361" y="898"/>
                  </a:lnTo>
                  <a:lnTo>
                    <a:pt x="351" y="918"/>
                  </a:lnTo>
                  <a:lnTo>
                    <a:pt x="341" y="927"/>
                  </a:lnTo>
                  <a:lnTo>
                    <a:pt x="341" y="937"/>
                  </a:lnTo>
                  <a:lnTo>
                    <a:pt x="331" y="937"/>
                  </a:lnTo>
                  <a:lnTo>
                    <a:pt x="331" y="918"/>
                  </a:lnTo>
                  <a:lnTo>
                    <a:pt x="331" y="908"/>
                  </a:lnTo>
                  <a:lnTo>
                    <a:pt x="322" y="908"/>
                  </a:lnTo>
                  <a:lnTo>
                    <a:pt x="322" y="918"/>
                  </a:lnTo>
                  <a:lnTo>
                    <a:pt x="322" y="937"/>
                  </a:lnTo>
                  <a:lnTo>
                    <a:pt x="322" y="947"/>
                  </a:lnTo>
                  <a:lnTo>
                    <a:pt x="322" y="957"/>
                  </a:lnTo>
                  <a:lnTo>
                    <a:pt x="341" y="966"/>
                  </a:lnTo>
                  <a:lnTo>
                    <a:pt x="351" y="976"/>
                  </a:lnTo>
                  <a:lnTo>
                    <a:pt x="371" y="957"/>
                  </a:lnTo>
                  <a:lnTo>
                    <a:pt x="380" y="957"/>
                  </a:lnTo>
                  <a:lnTo>
                    <a:pt x="390" y="976"/>
                  </a:lnTo>
                  <a:lnTo>
                    <a:pt x="400" y="976"/>
                  </a:lnTo>
                  <a:lnTo>
                    <a:pt x="439" y="966"/>
                  </a:lnTo>
                  <a:lnTo>
                    <a:pt x="449" y="947"/>
                  </a:lnTo>
                  <a:lnTo>
                    <a:pt x="478" y="947"/>
                  </a:lnTo>
                  <a:lnTo>
                    <a:pt x="488" y="976"/>
                  </a:lnTo>
                  <a:lnTo>
                    <a:pt x="458" y="986"/>
                  </a:lnTo>
                  <a:lnTo>
                    <a:pt x="410" y="1044"/>
                  </a:lnTo>
                  <a:lnTo>
                    <a:pt x="410" y="1074"/>
                  </a:lnTo>
                  <a:lnTo>
                    <a:pt x="390" y="1083"/>
                  </a:lnTo>
                  <a:lnTo>
                    <a:pt x="371" y="1083"/>
                  </a:lnTo>
                  <a:lnTo>
                    <a:pt x="351" y="1093"/>
                  </a:lnTo>
                  <a:lnTo>
                    <a:pt x="331" y="1113"/>
                  </a:lnTo>
                  <a:lnTo>
                    <a:pt x="302" y="1122"/>
                  </a:lnTo>
                  <a:lnTo>
                    <a:pt x="292" y="1132"/>
                  </a:lnTo>
                  <a:lnTo>
                    <a:pt x="273" y="1152"/>
                  </a:lnTo>
                  <a:lnTo>
                    <a:pt x="244" y="1152"/>
                  </a:lnTo>
                  <a:lnTo>
                    <a:pt x="224" y="1152"/>
                  </a:lnTo>
                  <a:lnTo>
                    <a:pt x="195" y="1152"/>
                  </a:lnTo>
                  <a:lnTo>
                    <a:pt x="175" y="1152"/>
                  </a:lnTo>
                  <a:lnTo>
                    <a:pt x="156" y="1152"/>
                  </a:lnTo>
                  <a:lnTo>
                    <a:pt x="146" y="1142"/>
                  </a:lnTo>
                  <a:lnTo>
                    <a:pt x="88" y="1152"/>
                  </a:lnTo>
                  <a:lnTo>
                    <a:pt x="68" y="1142"/>
                  </a:lnTo>
                  <a:lnTo>
                    <a:pt x="58" y="1132"/>
                  </a:lnTo>
                  <a:lnTo>
                    <a:pt x="39" y="1122"/>
                  </a:lnTo>
                  <a:lnTo>
                    <a:pt x="29" y="1113"/>
                  </a:lnTo>
                  <a:lnTo>
                    <a:pt x="19" y="1093"/>
                  </a:lnTo>
                  <a:lnTo>
                    <a:pt x="10" y="1093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" name="Freeform 310"/>
            <p:cNvSpPr>
              <a:spLocks/>
            </p:cNvSpPr>
            <p:nvPr/>
          </p:nvSpPr>
          <p:spPr bwMode="auto">
            <a:xfrm>
              <a:off x="6613" y="3093"/>
              <a:ext cx="1120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42 w 1122"/>
                <a:gd name="T21" fmla="*/ 693 h 761"/>
                <a:gd name="T22" fmla="*/ 800 w 1122"/>
                <a:gd name="T23" fmla="*/ 741 h 761"/>
                <a:gd name="T24" fmla="*/ 869 w 1122"/>
                <a:gd name="T25" fmla="*/ 75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51 h 761"/>
                <a:gd name="T32" fmla="*/ 1083 w 1122"/>
                <a:gd name="T33" fmla="*/ 69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7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7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36 h 761"/>
                <a:gd name="T86" fmla="*/ 488 w 1122"/>
                <a:gd name="T87" fmla="*/ 15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10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42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5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44" y="751"/>
                  </a:lnTo>
                  <a:lnTo>
                    <a:pt x="1064" y="75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9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44" y="605"/>
                  </a:lnTo>
                  <a:lnTo>
                    <a:pt x="104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47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51"/>
                  </a:lnTo>
                  <a:lnTo>
                    <a:pt x="1025" y="351"/>
                  </a:lnTo>
                  <a:lnTo>
                    <a:pt x="1044" y="341"/>
                  </a:lnTo>
                  <a:lnTo>
                    <a:pt x="1064" y="33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7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5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7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36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59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36"/>
                  </a:lnTo>
                  <a:lnTo>
                    <a:pt x="537" y="136"/>
                  </a:lnTo>
                  <a:lnTo>
                    <a:pt x="527" y="136"/>
                  </a:lnTo>
                  <a:lnTo>
                    <a:pt x="517" y="136"/>
                  </a:lnTo>
                  <a:lnTo>
                    <a:pt x="517" y="156"/>
                  </a:lnTo>
                  <a:lnTo>
                    <a:pt x="498" y="156"/>
                  </a:lnTo>
                  <a:lnTo>
                    <a:pt x="498" y="146"/>
                  </a:lnTo>
                  <a:lnTo>
                    <a:pt x="488" y="15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19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56"/>
                  </a:lnTo>
                  <a:lnTo>
                    <a:pt x="137" y="136"/>
                  </a:lnTo>
                  <a:lnTo>
                    <a:pt x="117" y="156"/>
                  </a:lnTo>
                  <a:lnTo>
                    <a:pt x="108" y="146"/>
                  </a:lnTo>
                  <a:lnTo>
                    <a:pt x="88" y="136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10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3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  <a:lnTo>
                    <a:pt x="205" y="36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53" name="Group 307"/>
            <p:cNvGrpSpPr>
              <a:grpSpLocks/>
            </p:cNvGrpSpPr>
            <p:nvPr/>
          </p:nvGrpSpPr>
          <p:grpSpPr bwMode="auto">
            <a:xfrm>
              <a:off x="6612" y="3093"/>
              <a:ext cx="1122" cy="761"/>
              <a:chOff x="6613" y="3093"/>
              <a:chExt cx="1122" cy="761"/>
            </a:xfrm>
          </p:grpSpPr>
          <p:sp>
            <p:nvSpPr>
              <p:cNvPr id="381" name="Freeform 309"/>
              <p:cNvSpPr>
                <a:spLocks/>
              </p:cNvSpPr>
              <p:nvPr/>
            </p:nvSpPr>
            <p:spPr bwMode="auto">
              <a:xfrm>
                <a:off x="6614" y="3093"/>
                <a:ext cx="1120" cy="761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  <a:lnTo>
                      <a:pt x="205" y="361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2" name="Freeform 308"/>
              <p:cNvSpPr>
                <a:spLocks/>
              </p:cNvSpPr>
              <p:nvPr/>
            </p:nvSpPr>
            <p:spPr bwMode="auto">
              <a:xfrm>
                <a:off x="6614" y="3093"/>
                <a:ext cx="1120" cy="761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97" name="Freeform 306"/>
            <p:cNvSpPr>
              <a:spLocks/>
            </p:cNvSpPr>
            <p:nvPr/>
          </p:nvSpPr>
          <p:spPr bwMode="auto">
            <a:xfrm>
              <a:off x="7237" y="2059"/>
              <a:ext cx="1111" cy="1882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7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17 h 1883"/>
                <a:gd name="T32" fmla="*/ 98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34 w 1112"/>
                <a:gd name="T73" fmla="*/ 263 h 1883"/>
                <a:gd name="T74" fmla="*/ 702 w 1112"/>
                <a:gd name="T75" fmla="*/ 244 h 1883"/>
                <a:gd name="T76" fmla="*/ 682 w 1112"/>
                <a:gd name="T77" fmla="*/ 14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44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395 h 1883"/>
                <a:gd name="T122" fmla="*/ 341 w 1112"/>
                <a:gd name="T123" fmla="*/ 1483 h 1883"/>
                <a:gd name="T124" fmla="*/ 331 w 1112"/>
                <a:gd name="T125" fmla="*/ 1590 h 18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2"/>
                <a:gd name="T190" fmla="*/ 0 h 1883"/>
                <a:gd name="T191" fmla="*/ 1112 w 1112"/>
                <a:gd name="T192" fmla="*/ 1883 h 18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8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36" y="167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78"/>
                  </a:lnTo>
                  <a:lnTo>
                    <a:pt x="624" y="1688"/>
                  </a:lnTo>
                  <a:lnTo>
                    <a:pt x="643" y="167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78"/>
                  </a:lnTo>
                  <a:lnTo>
                    <a:pt x="741" y="167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1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85" y="1756"/>
                  </a:lnTo>
                  <a:lnTo>
                    <a:pt x="98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8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24" y="1571"/>
                  </a:lnTo>
                  <a:lnTo>
                    <a:pt x="102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1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85" y="1229"/>
                  </a:lnTo>
                  <a:lnTo>
                    <a:pt x="985" y="120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22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82" y="1024"/>
                  </a:lnTo>
                  <a:lnTo>
                    <a:pt x="682" y="1034"/>
                  </a:lnTo>
                  <a:lnTo>
                    <a:pt x="682" y="1053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3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1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8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3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82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2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82" y="14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34" y="146"/>
                  </a:lnTo>
                  <a:lnTo>
                    <a:pt x="614" y="14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8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9"/>
                  </a:lnTo>
                  <a:lnTo>
                    <a:pt x="458" y="0"/>
                  </a:lnTo>
                  <a:lnTo>
                    <a:pt x="448" y="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68"/>
                  </a:lnTo>
                  <a:lnTo>
                    <a:pt x="38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68"/>
                  </a:lnTo>
                  <a:lnTo>
                    <a:pt x="331" y="8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44"/>
                  </a:lnTo>
                  <a:lnTo>
                    <a:pt x="48" y="644"/>
                  </a:lnTo>
                  <a:lnTo>
                    <a:pt x="29" y="653"/>
                  </a:lnTo>
                  <a:lnTo>
                    <a:pt x="29" y="683"/>
                  </a:lnTo>
                  <a:lnTo>
                    <a:pt x="29" y="70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61"/>
                  </a:lnTo>
                  <a:lnTo>
                    <a:pt x="19" y="770"/>
                  </a:lnTo>
                  <a:lnTo>
                    <a:pt x="29" y="78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3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87" y="975"/>
                  </a:lnTo>
                  <a:lnTo>
                    <a:pt x="78" y="985"/>
                  </a:lnTo>
                  <a:lnTo>
                    <a:pt x="7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7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3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75" y="1190"/>
                  </a:lnTo>
                  <a:lnTo>
                    <a:pt x="175" y="120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3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7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3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39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8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31" y="1551"/>
                  </a:lnTo>
                  <a:lnTo>
                    <a:pt x="331" y="1571"/>
                  </a:lnTo>
                  <a:lnTo>
                    <a:pt x="331" y="159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55" name="Group 303"/>
            <p:cNvGrpSpPr>
              <a:grpSpLocks/>
            </p:cNvGrpSpPr>
            <p:nvPr/>
          </p:nvGrpSpPr>
          <p:grpSpPr bwMode="auto">
            <a:xfrm>
              <a:off x="7237" y="2059"/>
              <a:ext cx="1112" cy="1883"/>
              <a:chOff x="7238" y="2059"/>
              <a:chExt cx="1112" cy="1883"/>
            </a:xfrm>
          </p:grpSpPr>
          <p:sp>
            <p:nvSpPr>
              <p:cNvPr id="379" name="Freeform 305"/>
              <p:cNvSpPr>
                <a:spLocks/>
              </p:cNvSpPr>
              <p:nvPr/>
            </p:nvSpPr>
            <p:spPr bwMode="auto">
              <a:xfrm>
                <a:off x="7238" y="2059"/>
                <a:ext cx="1111" cy="1882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331 w 1112"/>
                  <a:gd name="T125" fmla="*/ 1590 h 188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12"/>
                  <a:gd name="T190" fmla="*/ 0 h 1883"/>
                  <a:gd name="T191" fmla="*/ 1112 w 1112"/>
                  <a:gd name="T192" fmla="*/ 1883 h 188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  <a:lnTo>
                      <a:pt x="331" y="1590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0" name="Freeform 304"/>
              <p:cNvSpPr>
                <a:spLocks/>
              </p:cNvSpPr>
              <p:nvPr/>
            </p:nvSpPr>
            <p:spPr bwMode="auto">
              <a:xfrm>
                <a:off x="7238" y="2059"/>
                <a:ext cx="1111" cy="1882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12"/>
                  <a:gd name="T187" fmla="*/ 0 h 1883"/>
                  <a:gd name="T188" fmla="*/ 1112 w 1112"/>
                  <a:gd name="T189" fmla="*/ 1883 h 188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99" name="Freeform 302"/>
            <p:cNvSpPr>
              <a:spLocks/>
            </p:cNvSpPr>
            <p:nvPr/>
          </p:nvSpPr>
          <p:spPr bwMode="auto">
            <a:xfrm>
              <a:off x="7716" y="3006"/>
              <a:ext cx="28" cy="29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57" name="Group 299"/>
            <p:cNvGrpSpPr>
              <a:grpSpLocks/>
            </p:cNvGrpSpPr>
            <p:nvPr/>
          </p:nvGrpSpPr>
          <p:grpSpPr bwMode="auto">
            <a:xfrm>
              <a:off x="7715" y="3005"/>
              <a:ext cx="29" cy="29"/>
              <a:chOff x="7716" y="3005"/>
              <a:chExt cx="29" cy="29"/>
            </a:xfrm>
          </p:grpSpPr>
          <p:sp>
            <p:nvSpPr>
              <p:cNvPr id="377" name="Freeform 301"/>
              <p:cNvSpPr>
                <a:spLocks/>
              </p:cNvSpPr>
              <p:nvPr/>
            </p:nvSpPr>
            <p:spPr bwMode="auto">
              <a:xfrm>
                <a:off x="7717" y="3006"/>
                <a:ext cx="28" cy="29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8" name="Freeform 300"/>
              <p:cNvSpPr>
                <a:spLocks/>
              </p:cNvSpPr>
              <p:nvPr/>
            </p:nvSpPr>
            <p:spPr bwMode="auto">
              <a:xfrm>
                <a:off x="7717" y="3006"/>
                <a:ext cx="28" cy="29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01" name="Freeform 298"/>
            <p:cNvSpPr>
              <a:spLocks/>
            </p:cNvSpPr>
            <p:nvPr/>
          </p:nvSpPr>
          <p:spPr bwMode="auto">
            <a:xfrm>
              <a:off x="7755" y="2977"/>
              <a:ext cx="56" cy="49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2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2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59" name="Group 295"/>
            <p:cNvGrpSpPr>
              <a:grpSpLocks/>
            </p:cNvGrpSpPr>
            <p:nvPr/>
          </p:nvGrpSpPr>
          <p:grpSpPr bwMode="auto">
            <a:xfrm>
              <a:off x="7754" y="2976"/>
              <a:ext cx="58" cy="49"/>
              <a:chOff x="7755" y="2976"/>
              <a:chExt cx="58" cy="49"/>
            </a:xfrm>
          </p:grpSpPr>
          <p:sp>
            <p:nvSpPr>
              <p:cNvPr id="375" name="Freeform 297"/>
              <p:cNvSpPr>
                <a:spLocks/>
              </p:cNvSpPr>
              <p:nvPr/>
            </p:nvSpPr>
            <p:spPr bwMode="auto">
              <a:xfrm>
                <a:off x="7756" y="2977"/>
                <a:ext cx="56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6" name="Freeform 296"/>
              <p:cNvSpPr>
                <a:spLocks/>
              </p:cNvSpPr>
              <p:nvPr/>
            </p:nvSpPr>
            <p:spPr bwMode="auto">
              <a:xfrm>
                <a:off x="7756" y="2977"/>
                <a:ext cx="56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03" name="Freeform 294"/>
            <p:cNvSpPr>
              <a:spLocks/>
            </p:cNvSpPr>
            <p:nvPr/>
          </p:nvSpPr>
          <p:spPr bwMode="auto">
            <a:xfrm>
              <a:off x="8084" y="2858"/>
              <a:ext cx="644" cy="819"/>
            </a:xfrm>
            <a:custGeom>
              <a:avLst/>
              <a:gdLst>
                <a:gd name="T0" fmla="*/ 127 w 644"/>
                <a:gd name="T1" fmla="*/ 273 h 819"/>
                <a:gd name="T2" fmla="*/ 147 w 644"/>
                <a:gd name="T3" fmla="*/ 292 h 819"/>
                <a:gd name="T4" fmla="*/ 176 w 644"/>
                <a:gd name="T5" fmla="*/ 302 h 819"/>
                <a:gd name="T6" fmla="*/ 215 w 644"/>
                <a:gd name="T7" fmla="*/ 331 h 819"/>
                <a:gd name="T8" fmla="*/ 234 w 644"/>
                <a:gd name="T9" fmla="*/ 370 h 819"/>
                <a:gd name="T10" fmla="*/ 293 w 644"/>
                <a:gd name="T11" fmla="*/ 439 h 819"/>
                <a:gd name="T12" fmla="*/ 332 w 644"/>
                <a:gd name="T13" fmla="*/ 507 h 819"/>
                <a:gd name="T14" fmla="*/ 351 w 644"/>
                <a:gd name="T15" fmla="*/ 566 h 819"/>
                <a:gd name="T16" fmla="*/ 410 w 644"/>
                <a:gd name="T17" fmla="*/ 595 h 819"/>
                <a:gd name="T18" fmla="*/ 439 w 644"/>
                <a:gd name="T19" fmla="*/ 624 h 819"/>
                <a:gd name="T20" fmla="*/ 459 w 644"/>
                <a:gd name="T21" fmla="*/ 683 h 819"/>
                <a:gd name="T22" fmla="*/ 488 w 644"/>
                <a:gd name="T23" fmla="*/ 722 h 819"/>
                <a:gd name="T24" fmla="*/ 527 w 644"/>
                <a:gd name="T25" fmla="*/ 780 h 819"/>
                <a:gd name="T26" fmla="*/ 556 w 644"/>
                <a:gd name="T27" fmla="*/ 810 h 819"/>
                <a:gd name="T28" fmla="*/ 566 w 644"/>
                <a:gd name="T29" fmla="*/ 800 h 819"/>
                <a:gd name="T30" fmla="*/ 547 w 644"/>
                <a:gd name="T31" fmla="*/ 741 h 819"/>
                <a:gd name="T32" fmla="*/ 547 w 644"/>
                <a:gd name="T33" fmla="*/ 712 h 819"/>
                <a:gd name="T34" fmla="*/ 605 w 644"/>
                <a:gd name="T35" fmla="*/ 702 h 819"/>
                <a:gd name="T36" fmla="*/ 634 w 644"/>
                <a:gd name="T37" fmla="*/ 731 h 819"/>
                <a:gd name="T38" fmla="*/ 644 w 644"/>
                <a:gd name="T39" fmla="*/ 722 h 819"/>
                <a:gd name="T40" fmla="*/ 625 w 644"/>
                <a:gd name="T41" fmla="*/ 692 h 819"/>
                <a:gd name="T42" fmla="*/ 595 w 644"/>
                <a:gd name="T43" fmla="*/ 663 h 819"/>
                <a:gd name="T44" fmla="*/ 576 w 644"/>
                <a:gd name="T45" fmla="*/ 673 h 819"/>
                <a:gd name="T46" fmla="*/ 537 w 644"/>
                <a:gd name="T47" fmla="*/ 653 h 819"/>
                <a:gd name="T48" fmla="*/ 478 w 644"/>
                <a:gd name="T49" fmla="*/ 624 h 819"/>
                <a:gd name="T50" fmla="*/ 429 w 644"/>
                <a:gd name="T51" fmla="*/ 546 h 819"/>
                <a:gd name="T52" fmla="*/ 410 w 644"/>
                <a:gd name="T53" fmla="*/ 488 h 819"/>
                <a:gd name="T54" fmla="*/ 410 w 644"/>
                <a:gd name="T55" fmla="*/ 449 h 819"/>
                <a:gd name="T56" fmla="*/ 449 w 644"/>
                <a:gd name="T57" fmla="*/ 429 h 819"/>
                <a:gd name="T58" fmla="*/ 527 w 644"/>
                <a:gd name="T59" fmla="*/ 439 h 819"/>
                <a:gd name="T60" fmla="*/ 527 w 644"/>
                <a:gd name="T61" fmla="*/ 429 h 819"/>
                <a:gd name="T62" fmla="*/ 488 w 644"/>
                <a:gd name="T63" fmla="*/ 419 h 819"/>
                <a:gd name="T64" fmla="*/ 449 w 644"/>
                <a:gd name="T65" fmla="*/ 380 h 819"/>
                <a:gd name="T66" fmla="*/ 429 w 644"/>
                <a:gd name="T67" fmla="*/ 361 h 819"/>
                <a:gd name="T68" fmla="*/ 390 w 644"/>
                <a:gd name="T69" fmla="*/ 341 h 819"/>
                <a:gd name="T70" fmla="*/ 322 w 644"/>
                <a:gd name="T71" fmla="*/ 292 h 819"/>
                <a:gd name="T72" fmla="*/ 283 w 644"/>
                <a:gd name="T73" fmla="*/ 273 h 819"/>
                <a:gd name="T74" fmla="*/ 254 w 644"/>
                <a:gd name="T75" fmla="*/ 244 h 819"/>
                <a:gd name="T76" fmla="*/ 234 w 644"/>
                <a:gd name="T77" fmla="*/ 234 h 819"/>
                <a:gd name="T78" fmla="*/ 225 w 644"/>
                <a:gd name="T79" fmla="*/ 214 h 819"/>
                <a:gd name="T80" fmla="*/ 205 w 644"/>
                <a:gd name="T81" fmla="*/ 205 h 819"/>
                <a:gd name="T82" fmla="*/ 195 w 644"/>
                <a:gd name="T83" fmla="*/ 185 h 819"/>
                <a:gd name="T84" fmla="*/ 176 w 644"/>
                <a:gd name="T85" fmla="*/ 156 h 819"/>
                <a:gd name="T86" fmla="*/ 186 w 644"/>
                <a:gd name="T87" fmla="*/ 156 h 819"/>
                <a:gd name="T88" fmla="*/ 147 w 644"/>
                <a:gd name="T89" fmla="*/ 117 h 819"/>
                <a:gd name="T90" fmla="*/ 117 w 644"/>
                <a:gd name="T91" fmla="*/ 97 h 819"/>
                <a:gd name="T92" fmla="*/ 137 w 644"/>
                <a:gd name="T93" fmla="*/ 97 h 819"/>
                <a:gd name="T94" fmla="*/ 88 w 644"/>
                <a:gd name="T95" fmla="*/ 78 h 819"/>
                <a:gd name="T96" fmla="*/ 59 w 644"/>
                <a:gd name="T97" fmla="*/ 39 h 819"/>
                <a:gd name="T98" fmla="*/ 30 w 644"/>
                <a:gd name="T99" fmla="*/ 19 h 819"/>
                <a:gd name="T100" fmla="*/ 10 w 644"/>
                <a:gd name="T101" fmla="*/ 19 h 819"/>
                <a:gd name="T102" fmla="*/ 0 w 644"/>
                <a:gd name="T103" fmla="*/ 39 h 819"/>
                <a:gd name="T104" fmla="*/ 30 w 644"/>
                <a:gd name="T105" fmla="*/ 58 h 819"/>
                <a:gd name="T106" fmla="*/ 59 w 644"/>
                <a:gd name="T107" fmla="*/ 68 h 819"/>
                <a:gd name="T108" fmla="*/ 69 w 644"/>
                <a:gd name="T109" fmla="*/ 78 h 819"/>
                <a:gd name="T110" fmla="*/ 69 w 644"/>
                <a:gd name="T111" fmla="*/ 88 h 819"/>
                <a:gd name="T112" fmla="*/ 59 w 644"/>
                <a:gd name="T113" fmla="*/ 117 h 819"/>
                <a:gd name="T114" fmla="*/ 39 w 644"/>
                <a:gd name="T115" fmla="*/ 117 h 819"/>
                <a:gd name="T116" fmla="*/ 49 w 644"/>
                <a:gd name="T117" fmla="*/ 156 h 819"/>
                <a:gd name="T118" fmla="*/ 78 w 644"/>
                <a:gd name="T119" fmla="*/ 185 h 819"/>
                <a:gd name="T120" fmla="*/ 98 w 644"/>
                <a:gd name="T121" fmla="*/ 234 h 81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4"/>
                <a:gd name="T184" fmla="*/ 0 h 819"/>
                <a:gd name="T185" fmla="*/ 644 w 644"/>
                <a:gd name="T186" fmla="*/ 819 h 81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4" h="819">
                  <a:moveTo>
                    <a:pt x="117" y="253"/>
                  </a:moveTo>
                  <a:lnTo>
                    <a:pt x="117" y="273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83"/>
                  </a:lnTo>
                  <a:lnTo>
                    <a:pt x="147" y="292"/>
                  </a:lnTo>
                  <a:lnTo>
                    <a:pt x="137" y="292"/>
                  </a:lnTo>
                  <a:lnTo>
                    <a:pt x="166" y="302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95" y="322"/>
                  </a:lnTo>
                  <a:lnTo>
                    <a:pt x="215" y="331"/>
                  </a:lnTo>
                  <a:lnTo>
                    <a:pt x="225" y="341"/>
                  </a:lnTo>
                  <a:lnTo>
                    <a:pt x="225" y="370"/>
                  </a:lnTo>
                  <a:lnTo>
                    <a:pt x="234" y="370"/>
                  </a:lnTo>
                  <a:lnTo>
                    <a:pt x="254" y="400"/>
                  </a:lnTo>
                  <a:lnTo>
                    <a:pt x="273" y="419"/>
                  </a:lnTo>
                  <a:lnTo>
                    <a:pt x="293" y="439"/>
                  </a:lnTo>
                  <a:lnTo>
                    <a:pt x="312" y="458"/>
                  </a:lnTo>
                  <a:lnTo>
                    <a:pt x="322" y="488"/>
                  </a:lnTo>
                  <a:lnTo>
                    <a:pt x="332" y="507"/>
                  </a:lnTo>
                  <a:lnTo>
                    <a:pt x="342" y="517"/>
                  </a:lnTo>
                  <a:lnTo>
                    <a:pt x="351" y="546"/>
                  </a:lnTo>
                  <a:lnTo>
                    <a:pt x="351" y="566"/>
                  </a:lnTo>
                  <a:lnTo>
                    <a:pt x="371" y="585"/>
                  </a:lnTo>
                  <a:lnTo>
                    <a:pt x="390" y="585"/>
                  </a:lnTo>
                  <a:lnTo>
                    <a:pt x="410" y="595"/>
                  </a:lnTo>
                  <a:lnTo>
                    <a:pt x="420" y="605"/>
                  </a:lnTo>
                  <a:lnTo>
                    <a:pt x="429" y="605"/>
                  </a:lnTo>
                  <a:lnTo>
                    <a:pt x="439" y="624"/>
                  </a:lnTo>
                  <a:lnTo>
                    <a:pt x="439" y="644"/>
                  </a:lnTo>
                  <a:lnTo>
                    <a:pt x="449" y="673"/>
                  </a:lnTo>
                  <a:lnTo>
                    <a:pt x="459" y="683"/>
                  </a:lnTo>
                  <a:lnTo>
                    <a:pt x="468" y="692"/>
                  </a:lnTo>
                  <a:lnTo>
                    <a:pt x="478" y="702"/>
                  </a:lnTo>
                  <a:lnTo>
                    <a:pt x="488" y="722"/>
                  </a:lnTo>
                  <a:lnTo>
                    <a:pt x="488" y="751"/>
                  </a:lnTo>
                  <a:lnTo>
                    <a:pt x="508" y="771"/>
                  </a:lnTo>
                  <a:lnTo>
                    <a:pt x="527" y="780"/>
                  </a:lnTo>
                  <a:lnTo>
                    <a:pt x="537" y="800"/>
                  </a:lnTo>
                  <a:lnTo>
                    <a:pt x="547" y="810"/>
                  </a:lnTo>
                  <a:lnTo>
                    <a:pt x="556" y="810"/>
                  </a:lnTo>
                  <a:lnTo>
                    <a:pt x="576" y="819"/>
                  </a:lnTo>
                  <a:lnTo>
                    <a:pt x="576" y="810"/>
                  </a:lnTo>
                  <a:lnTo>
                    <a:pt x="566" y="800"/>
                  </a:lnTo>
                  <a:lnTo>
                    <a:pt x="566" y="780"/>
                  </a:lnTo>
                  <a:lnTo>
                    <a:pt x="556" y="771"/>
                  </a:lnTo>
                  <a:lnTo>
                    <a:pt x="547" y="741"/>
                  </a:lnTo>
                  <a:lnTo>
                    <a:pt x="537" y="731"/>
                  </a:lnTo>
                  <a:lnTo>
                    <a:pt x="547" y="712"/>
                  </a:lnTo>
                  <a:lnTo>
                    <a:pt x="566" y="712"/>
                  </a:lnTo>
                  <a:lnTo>
                    <a:pt x="586" y="702"/>
                  </a:lnTo>
                  <a:lnTo>
                    <a:pt x="605" y="702"/>
                  </a:lnTo>
                  <a:lnTo>
                    <a:pt x="615" y="712"/>
                  </a:lnTo>
                  <a:lnTo>
                    <a:pt x="634" y="722"/>
                  </a:lnTo>
                  <a:lnTo>
                    <a:pt x="634" y="731"/>
                  </a:lnTo>
                  <a:lnTo>
                    <a:pt x="644" y="741"/>
                  </a:lnTo>
                  <a:lnTo>
                    <a:pt x="644" y="731"/>
                  </a:lnTo>
                  <a:lnTo>
                    <a:pt x="644" y="722"/>
                  </a:lnTo>
                  <a:lnTo>
                    <a:pt x="644" y="702"/>
                  </a:lnTo>
                  <a:lnTo>
                    <a:pt x="634" y="702"/>
                  </a:lnTo>
                  <a:lnTo>
                    <a:pt x="625" y="692"/>
                  </a:lnTo>
                  <a:lnTo>
                    <a:pt x="615" y="683"/>
                  </a:lnTo>
                  <a:lnTo>
                    <a:pt x="605" y="673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76" y="673"/>
                  </a:lnTo>
                  <a:lnTo>
                    <a:pt x="566" y="673"/>
                  </a:lnTo>
                  <a:lnTo>
                    <a:pt x="556" y="653"/>
                  </a:lnTo>
                  <a:lnTo>
                    <a:pt x="537" y="653"/>
                  </a:lnTo>
                  <a:lnTo>
                    <a:pt x="517" y="644"/>
                  </a:lnTo>
                  <a:lnTo>
                    <a:pt x="488" y="644"/>
                  </a:lnTo>
                  <a:lnTo>
                    <a:pt x="478" y="624"/>
                  </a:lnTo>
                  <a:lnTo>
                    <a:pt x="459" y="595"/>
                  </a:lnTo>
                  <a:lnTo>
                    <a:pt x="439" y="566"/>
                  </a:lnTo>
                  <a:lnTo>
                    <a:pt x="429" y="546"/>
                  </a:lnTo>
                  <a:lnTo>
                    <a:pt x="429" y="517"/>
                  </a:lnTo>
                  <a:lnTo>
                    <a:pt x="420" y="497"/>
                  </a:lnTo>
                  <a:lnTo>
                    <a:pt x="410" y="488"/>
                  </a:lnTo>
                  <a:lnTo>
                    <a:pt x="400" y="478"/>
                  </a:lnTo>
                  <a:lnTo>
                    <a:pt x="400" y="468"/>
                  </a:lnTo>
                  <a:lnTo>
                    <a:pt x="410" y="449"/>
                  </a:lnTo>
                  <a:lnTo>
                    <a:pt x="410" y="439"/>
                  </a:lnTo>
                  <a:lnTo>
                    <a:pt x="429" y="429"/>
                  </a:lnTo>
                  <a:lnTo>
                    <a:pt x="449" y="429"/>
                  </a:lnTo>
                  <a:lnTo>
                    <a:pt x="478" y="429"/>
                  </a:lnTo>
                  <a:lnTo>
                    <a:pt x="517" y="429"/>
                  </a:lnTo>
                  <a:lnTo>
                    <a:pt x="527" y="439"/>
                  </a:lnTo>
                  <a:lnTo>
                    <a:pt x="537" y="449"/>
                  </a:lnTo>
                  <a:lnTo>
                    <a:pt x="537" y="439"/>
                  </a:lnTo>
                  <a:lnTo>
                    <a:pt x="527" y="429"/>
                  </a:lnTo>
                  <a:lnTo>
                    <a:pt x="517" y="419"/>
                  </a:lnTo>
                  <a:lnTo>
                    <a:pt x="498" y="419"/>
                  </a:lnTo>
                  <a:lnTo>
                    <a:pt x="488" y="419"/>
                  </a:lnTo>
                  <a:lnTo>
                    <a:pt x="478" y="410"/>
                  </a:lnTo>
                  <a:lnTo>
                    <a:pt x="468" y="400"/>
                  </a:lnTo>
                  <a:lnTo>
                    <a:pt x="449" y="380"/>
                  </a:lnTo>
                  <a:lnTo>
                    <a:pt x="439" y="380"/>
                  </a:lnTo>
                  <a:lnTo>
                    <a:pt x="429" y="370"/>
                  </a:lnTo>
                  <a:lnTo>
                    <a:pt x="429" y="361"/>
                  </a:lnTo>
                  <a:lnTo>
                    <a:pt x="410" y="361"/>
                  </a:lnTo>
                  <a:lnTo>
                    <a:pt x="400" y="351"/>
                  </a:lnTo>
                  <a:lnTo>
                    <a:pt x="390" y="341"/>
                  </a:lnTo>
                  <a:lnTo>
                    <a:pt x="371" y="331"/>
                  </a:lnTo>
                  <a:lnTo>
                    <a:pt x="342" y="312"/>
                  </a:lnTo>
                  <a:lnTo>
                    <a:pt x="322" y="292"/>
                  </a:lnTo>
                  <a:lnTo>
                    <a:pt x="293" y="273"/>
                  </a:lnTo>
                  <a:lnTo>
                    <a:pt x="283" y="263"/>
                  </a:lnTo>
                  <a:lnTo>
                    <a:pt x="283" y="273"/>
                  </a:lnTo>
                  <a:lnTo>
                    <a:pt x="273" y="263"/>
                  </a:lnTo>
                  <a:lnTo>
                    <a:pt x="273" y="253"/>
                  </a:lnTo>
                  <a:lnTo>
                    <a:pt x="254" y="244"/>
                  </a:lnTo>
                  <a:lnTo>
                    <a:pt x="244" y="244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25" y="214"/>
                  </a:lnTo>
                  <a:lnTo>
                    <a:pt x="215" y="21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195" y="205"/>
                  </a:lnTo>
                  <a:lnTo>
                    <a:pt x="195" y="195"/>
                  </a:lnTo>
                  <a:lnTo>
                    <a:pt x="195" y="185"/>
                  </a:lnTo>
                  <a:lnTo>
                    <a:pt x="186" y="185"/>
                  </a:lnTo>
                  <a:lnTo>
                    <a:pt x="176" y="185"/>
                  </a:lnTo>
                  <a:lnTo>
                    <a:pt x="176" y="156"/>
                  </a:lnTo>
                  <a:lnTo>
                    <a:pt x="186" y="166"/>
                  </a:lnTo>
                  <a:lnTo>
                    <a:pt x="186" y="156"/>
                  </a:lnTo>
                  <a:lnTo>
                    <a:pt x="176" y="146"/>
                  </a:lnTo>
                  <a:lnTo>
                    <a:pt x="166" y="127"/>
                  </a:lnTo>
                  <a:lnTo>
                    <a:pt x="147" y="117"/>
                  </a:lnTo>
                  <a:lnTo>
                    <a:pt x="127" y="117"/>
                  </a:lnTo>
                  <a:lnTo>
                    <a:pt x="117" y="107"/>
                  </a:lnTo>
                  <a:lnTo>
                    <a:pt x="117" y="97"/>
                  </a:lnTo>
                  <a:lnTo>
                    <a:pt x="117" y="88"/>
                  </a:lnTo>
                  <a:lnTo>
                    <a:pt x="127" y="97"/>
                  </a:lnTo>
                  <a:lnTo>
                    <a:pt x="137" y="97"/>
                  </a:lnTo>
                  <a:lnTo>
                    <a:pt x="127" y="88"/>
                  </a:lnTo>
                  <a:lnTo>
                    <a:pt x="108" y="78"/>
                  </a:lnTo>
                  <a:lnTo>
                    <a:pt x="88" y="78"/>
                  </a:lnTo>
                  <a:lnTo>
                    <a:pt x="88" y="68"/>
                  </a:lnTo>
                  <a:lnTo>
                    <a:pt x="69" y="49"/>
                  </a:lnTo>
                  <a:lnTo>
                    <a:pt x="59" y="39"/>
                  </a:lnTo>
                  <a:lnTo>
                    <a:pt x="59" y="19"/>
                  </a:lnTo>
                  <a:lnTo>
                    <a:pt x="49" y="19"/>
                  </a:lnTo>
                  <a:lnTo>
                    <a:pt x="30" y="19"/>
                  </a:lnTo>
                  <a:lnTo>
                    <a:pt x="2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10" y="2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58"/>
                  </a:lnTo>
                  <a:lnTo>
                    <a:pt x="49" y="58"/>
                  </a:lnTo>
                  <a:lnTo>
                    <a:pt x="59" y="58"/>
                  </a:lnTo>
                  <a:lnTo>
                    <a:pt x="59" y="68"/>
                  </a:lnTo>
                  <a:lnTo>
                    <a:pt x="69" y="68"/>
                  </a:lnTo>
                  <a:lnTo>
                    <a:pt x="69" y="78"/>
                  </a:lnTo>
                  <a:lnTo>
                    <a:pt x="59" y="88"/>
                  </a:lnTo>
                  <a:lnTo>
                    <a:pt x="69" y="88"/>
                  </a:lnTo>
                  <a:lnTo>
                    <a:pt x="69" y="97"/>
                  </a:lnTo>
                  <a:lnTo>
                    <a:pt x="69" y="117"/>
                  </a:lnTo>
                  <a:lnTo>
                    <a:pt x="59" y="117"/>
                  </a:lnTo>
                  <a:lnTo>
                    <a:pt x="49" y="107"/>
                  </a:lnTo>
                  <a:lnTo>
                    <a:pt x="39" y="107"/>
                  </a:lnTo>
                  <a:lnTo>
                    <a:pt x="39" y="117"/>
                  </a:lnTo>
                  <a:lnTo>
                    <a:pt x="30" y="127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69" y="166"/>
                  </a:lnTo>
                  <a:lnTo>
                    <a:pt x="69" y="17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8" y="234"/>
                  </a:lnTo>
                  <a:lnTo>
                    <a:pt x="108" y="253"/>
                  </a:lnTo>
                  <a:lnTo>
                    <a:pt x="117" y="25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61" name="Group 291"/>
            <p:cNvGrpSpPr>
              <a:grpSpLocks/>
            </p:cNvGrpSpPr>
            <p:nvPr/>
          </p:nvGrpSpPr>
          <p:grpSpPr bwMode="auto">
            <a:xfrm>
              <a:off x="8085" y="2859"/>
              <a:ext cx="644" cy="819"/>
              <a:chOff x="8086" y="2859"/>
              <a:chExt cx="644" cy="819"/>
            </a:xfrm>
          </p:grpSpPr>
          <p:sp>
            <p:nvSpPr>
              <p:cNvPr id="373" name="Freeform 293"/>
              <p:cNvSpPr>
                <a:spLocks/>
              </p:cNvSpPr>
              <p:nvPr/>
            </p:nvSpPr>
            <p:spPr bwMode="auto">
              <a:xfrm>
                <a:off x="8085" y="2858"/>
                <a:ext cx="644" cy="819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4" name="Freeform 292"/>
              <p:cNvSpPr>
                <a:spLocks/>
              </p:cNvSpPr>
              <p:nvPr/>
            </p:nvSpPr>
            <p:spPr bwMode="auto">
              <a:xfrm>
                <a:off x="8085" y="2858"/>
                <a:ext cx="644" cy="819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05" name="Freeform 290"/>
            <p:cNvSpPr>
              <a:spLocks/>
            </p:cNvSpPr>
            <p:nvPr/>
          </p:nvSpPr>
          <p:spPr bwMode="auto">
            <a:xfrm>
              <a:off x="9109" y="2527"/>
              <a:ext cx="20" cy="29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63" name="Group 287"/>
            <p:cNvGrpSpPr>
              <a:grpSpLocks/>
            </p:cNvGrpSpPr>
            <p:nvPr/>
          </p:nvGrpSpPr>
          <p:grpSpPr bwMode="auto">
            <a:xfrm>
              <a:off x="9109" y="2527"/>
              <a:ext cx="20" cy="29"/>
              <a:chOff x="9110" y="2527"/>
              <a:chExt cx="20" cy="29"/>
            </a:xfrm>
          </p:grpSpPr>
          <p:sp>
            <p:nvSpPr>
              <p:cNvPr id="371" name="Freeform 289"/>
              <p:cNvSpPr>
                <a:spLocks/>
              </p:cNvSpPr>
              <p:nvPr/>
            </p:nvSpPr>
            <p:spPr bwMode="auto">
              <a:xfrm>
                <a:off x="9110" y="2527"/>
                <a:ext cx="20" cy="29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2" name="Freeform 288"/>
              <p:cNvSpPr>
                <a:spLocks/>
              </p:cNvSpPr>
              <p:nvPr/>
            </p:nvSpPr>
            <p:spPr bwMode="auto">
              <a:xfrm>
                <a:off x="9110" y="2527"/>
                <a:ext cx="20" cy="29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07" name="Freeform 286"/>
            <p:cNvSpPr>
              <a:spLocks/>
            </p:cNvSpPr>
            <p:nvPr/>
          </p:nvSpPr>
          <p:spPr bwMode="auto">
            <a:xfrm>
              <a:off x="1531" y="1435"/>
              <a:ext cx="518" cy="380"/>
            </a:xfrm>
            <a:custGeom>
              <a:avLst/>
              <a:gdLst>
                <a:gd name="T0" fmla="*/ 478 w 517"/>
                <a:gd name="T1" fmla="*/ 244 h 381"/>
                <a:gd name="T2" fmla="*/ 449 w 517"/>
                <a:gd name="T3" fmla="*/ 244 h 381"/>
                <a:gd name="T4" fmla="*/ 439 w 517"/>
                <a:gd name="T5" fmla="*/ 283 h 381"/>
                <a:gd name="T6" fmla="*/ 420 w 517"/>
                <a:gd name="T7" fmla="*/ 322 h 381"/>
                <a:gd name="T8" fmla="*/ 420 w 517"/>
                <a:gd name="T9" fmla="*/ 342 h 381"/>
                <a:gd name="T10" fmla="*/ 391 w 517"/>
                <a:gd name="T11" fmla="*/ 361 h 381"/>
                <a:gd name="T12" fmla="*/ 361 w 517"/>
                <a:gd name="T13" fmla="*/ 361 h 381"/>
                <a:gd name="T14" fmla="*/ 361 w 517"/>
                <a:gd name="T15" fmla="*/ 342 h 381"/>
                <a:gd name="T16" fmla="*/ 342 w 517"/>
                <a:gd name="T17" fmla="*/ 322 h 381"/>
                <a:gd name="T18" fmla="*/ 322 w 517"/>
                <a:gd name="T19" fmla="*/ 332 h 381"/>
                <a:gd name="T20" fmla="*/ 303 w 517"/>
                <a:gd name="T21" fmla="*/ 332 h 381"/>
                <a:gd name="T22" fmla="*/ 293 w 517"/>
                <a:gd name="T23" fmla="*/ 312 h 381"/>
                <a:gd name="T24" fmla="*/ 235 w 517"/>
                <a:gd name="T25" fmla="*/ 293 h 381"/>
                <a:gd name="T26" fmla="*/ 235 w 517"/>
                <a:gd name="T27" fmla="*/ 254 h 381"/>
                <a:gd name="T28" fmla="*/ 195 w 517"/>
                <a:gd name="T29" fmla="*/ 264 h 381"/>
                <a:gd name="T30" fmla="*/ 166 w 517"/>
                <a:gd name="T31" fmla="*/ 264 h 381"/>
                <a:gd name="T32" fmla="*/ 147 w 517"/>
                <a:gd name="T33" fmla="*/ 244 h 381"/>
                <a:gd name="T34" fmla="*/ 147 w 517"/>
                <a:gd name="T35" fmla="*/ 205 h 381"/>
                <a:gd name="T36" fmla="*/ 117 w 517"/>
                <a:gd name="T37" fmla="*/ 205 h 381"/>
                <a:gd name="T38" fmla="*/ 59 w 517"/>
                <a:gd name="T39" fmla="*/ 176 h 381"/>
                <a:gd name="T40" fmla="*/ 10 w 517"/>
                <a:gd name="T41" fmla="*/ 108 h 381"/>
                <a:gd name="T42" fmla="*/ 30 w 517"/>
                <a:gd name="T43" fmla="*/ 88 h 381"/>
                <a:gd name="T44" fmla="*/ 59 w 517"/>
                <a:gd name="T45" fmla="*/ 69 h 381"/>
                <a:gd name="T46" fmla="*/ 78 w 517"/>
                <a:gd name="T47" fmla="*/ 49 h 381"/>
                <a:gd name="T48" fmla="*/ 88 w 517"/>
                <a:gd name="T49" fmla="*/ 20 h 381"/>
                <a:gd name="T50" fmla="*/ 98 w 517"/>
                <a:gd name="T51" fmla="*/ 0 h 381"/>
                <a:gd name="T52" fmla="*/ 127 w 517"/>
                <a:gd name="T53" fmla="*/ 0 h 381"/>
                <a:gd name="T54" fmla="*/ 147 w 517"/>
                <a:gd name="T55" fmla="*/ 10 h 381"/>
                <a:gd name="T56" fmla="*/ 156 w 517"/>
                <a:gd name="T57" fmla="*/ 10 h 381"/>
                <a:gd name="T58" fmla="*/ 186 w 517"/>
                <a:gd name="T59" fmla="*/ 30 h 381"/>
                <a:gd name="T60" fmla="*/ 205 w 517"/>
                <a:gd name="T61" fmla="*/ 39 h 381"/>
                <a:gd name="T62" fmla="*/ 235 w 517"/>
                <a:gd name="T63" fmla="*/ 49 h 381"/>
                <a:gd name="T64" fmla="*/ 244 w 517"/>
                <a:gd name="T65" fmla="*/ 78 h 381"/>
                <a:gd name="T66" fmla="*/ 293 w 517"/>
                <a:gd name="T67" fmla="*/ 69 h 381"/>
                <a:gd name="T68" fmla="*/ 313 w 517"/>
                <a:gd name="T69" fmla="*/ 69 h 381"/>
                <a:gd name="T70" fmla="*/ 332 w 517"/>
                <a:gd name="T71" fmla="*/ 49 h 381"/>
                <a:gd name="T72" fmla="*/ 352 w 517"/>
                <a:gd name="T73" fmla="*/ 98 h 381"/>
                <a:gd name="T74" fmla="*/ 371 w 517"/>
                <a:gd name="T75" fmla="*/ 108 h 381"/>
                <a:gd name="T76" fmla="*/ 400 w 517"/>
                <a:gd name="T77" fmla="*/ 117 h 381"/>
                <a:gd name="T78" fmla="*/ 459 w 517"/>
                <a:gd name="T79" fmla="*/ 166 h 381"/>
                <a:gd name="T80" fmla="*/ 488 w 517"/>
                <a:gd name="T81" fmla="*/ 166 h 381"/>
                <a:gd name="T82" fmla="*/ 517 w 517"/>
                <a:gd name="T83" fmla="*/ 186 h 381"/>
                <a:gd name="T84" fmla="*/ 508 w 517"/>
                <a:gd name="T85" fmla="*/ 215 h 381"/>
                <a:gd name="T86" fmla="*/ 469 w 517"/>
                <a:gd name="T87" fmla="*/ 234 h 38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17"/>
                <a:gd name="T133" fmla="*/ 0 h 381"/>
                <a:gd name="T134" fmla="*/ 517 w 517"/>
                <a:gd name="T135" fmla="*/ 381 h 38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17" h="381">
                  <a:moveTo>
                    <a:pt x="469" y="234"/>
                  </a:moveTo>
                  <a:lnTo>
                    <a:pt x="478" y="244"/>
                  </a:lnTo>
                  <a:lnTo>
                    <a:pt x="469" y="244"/>
                  </a:lnTo>
                  <a:lnTo>
                    <a:pt x="449" y="244"/>
                  </a:lnTo>
                  <a:lnTo>
                    <a:pt x="449" y="264"/>
                  </a:lnTo>
                  <a:lnTo>
                    <a:pt x="439" y="283"/>
                  </a:lnTo>
                  <a:lnTo>
                    <a:pt x="420" y="303"/>
                  </a:lnTo>
                  <a:lnTo>
                    <a:pt x="420" y="322"/>
                  </a:lnTo>
                  <a:lnTo>
                    <a:pt x="430" y="332"/>
                  </a:lnTo>
                  <a:lnTo>
                    <a:pt x="420" y="342"/>
                  </a:lnTo>
                  <a:lnTo>
                    <a:pt x="410" y="342"/>
                  </a:lnTo>
                  <a:lnTo>
                    <a:pt x="391" y="361"/>
                  </a:lnTo>
                  <a:lnTo>
                    <a:pt x="361" y="381"/>
                  </a:lnTo>
                  <a:lnTo>
                    <a:pt x="361" y="361"/>
                  </a:lnTo>
                  <a:lnTo>
                    <a:pt x="361" y="351"/>
                  </a:lnTo>
                  <a:lnTo>
                    <a:pt x="361" y="342"/>
                  </a:lnTo>
                  <a:lnTo>
                    <a:pt x="352" y="342"/>
                  </a:lnTo>
                  <a:lnTo>
                    <a:pt x="342" y="322"/>
                  </a:lnTo>
                  <a:lnTo>
                    <a:pt x="332" y="322"/>
                  </a:lnTo>
                  <a:lnTo>
                    <a:pt x="322" y="332"/>
                  </a:lnTo>
                  <a:lnTo>
                    <a:pt x="303" y="332"/>
                  </a:lnTo>
                  <a:lnTo>
                    <a:pt x="293" y="332"/>
                  </a:lnTo>
                  <a:lnTo>
                    <a:pt x="293" y="312"/>
                  </a:lnTo>
                  <a:lnTo>
                    <a:pt x="274" y="303"/>
                  </a:lnTo>
                  <a:lnTo>
                    <a:pt x="235" y="293"/>
                  </a:lnTo>
                  <a:lnTo>
                    <a:pt x="235" y="273"/>
                  </a:lnTo>
                  <a:lnTo>
                    <a:pt x="235" y="254"/>
                  </a:lnTo>
                  <a:lnTo>
                    <a:pt x="215" y="254"/>
                  </a:lnTo>
                  <a:lnTo>
                    <a:pt x="195" y="264"/>
                  </a:lnTo>
                  <a:lnTo>
                    <a:pt x="176" y="254"/>
                  </a:lnTo>
                  <a:lnTo>
                    <a:pt x="166" y="264"/>
                  </a:lnTo>
                  <a:lnTo>
                    <a:pt x="156" y="254"/>
                  </a:lnTo>
                  <a:lnTo>
                    <a:pt x="147" y="244"/>
                  </a:lnTo>
                  <a:lnTo>
                    <a:pt x="147" y="225"/>
                  </a:lnTo>
                  <a:lnTo>
                    <a:pt x="147" y="205"/>
                  </a:lnTo>
                  <a:lnTo>
                    <a:pt x="147" y="195"/>
                  </a:lnTo>
                  <a:lnTo>
                    <a:pt x="117" y="205"/>
                  </a:lnTo>
                  <a:lnTo>
                    <a:pt x="88" y="195"/>
                  </a:lnTo>
                  <a:lnTo>
                    <a:pt x="59" y="176"/>
                  </a:lnTo>
                  <a:lnTo>
                    <a:pt x="30" y="147"/>
                  </a:lnTo>
                  <a:lnTo>
                    <a:pt x="10" y="108"/>
                  </a:lnTo>
                  <a:lnTo>
                    <a:pt x="0" y="98"/>
                  </a:lnTo>
                  <a:lnTo>
                    <a:pt x="30" y="88"/>
                  </a:lnTo>
                  <a:lnTo>
                    <a:pt x="49" y="78"/>
                  </a:lnTo>
                  <a:lnTo>
                    <a:pt x="59" y="69"/>
                  </a:lnTo>
                  <a:lnTo>
                    <a:pt x="69" y="49"/>
                  </a:lnTo>
                  <a:lnTo>
                    <a:pt x="78" y="49"/>
                  </a:lnTo>
                  <a:lnTo>
                    <a:pt x="8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8" y="0"/>
                  </a:lnTo>
                  <a:lnTo>
                    <a:pt x="108" y="0"/>
                  </a:lnTo>
                  <a:lnTo>
                    <a:pt x="127" y="0"/>
                  </a:lnTo>
                  <a:lnTo>
                    <a:pt x="137" y="0"/>
                  </a:lnTo>
                  <a:lnTo>
                    <a:pt x="147" y="10"/>
                  </a:lnTo>
                  <a:lnTo>
                    <a:pt x="147" y="20"/>
                  </a:lnTo>
                  <a:lnTo>
                    <a:pt x="156" y="10"/>
                  </a:lnTo>
                  <a:lnTo>
                    <a:pt x="166" y="10"/>
                  </a:lnTo>
                  <a:lnTo>
                    <a:pt x="186" y="30"/>
                  </a:lnTo>
                  <a:lnTo>
                    <a:pt x="205" y="30"/>
                  </a:lnTo>
                  <a:lnTo>
                    <a:pt x="205" y="39"/>
                  </a:lnTo>
                  <a:lnTo>
                    <a:pt x="205" y="49"/>
                  </a:lnTo>
                  <a:lnTo>
                    <a:pt x="235" y="49"/>
                  </a:lnTo>
                  <a:lnTo>
                    <a:pt x="244" y="59"/>
                  </a:lnTo>
                  <a:lnTo>
                    <a:pt x="244" y="78"/>
                  </a:lnTo>
                  <a:lnTo>
                    <a:pt x="264" y="69"/>
                  </a:lnTo>
                  <a:lnTo>
                    <a:pt x="293" y="69"/>
                  </a:lnTo>
                  <a:lnTo>
                    <a:pt x="313" y="69"/>
                  </a:lnTo>
                  <a:lnTo>
                    <a:pt x="322" y="59"/>
                  </a:lnTo>
                  <a:lnTo>
                    <a:pt x="332" y="49"/>
                  </a:lnTo>
                  <a:lnTo>
                    <a:pt x="342" y="59"/>
                  </a:lnTo>
                  <a:lnTo>
                    <a:pt x="352" y="98"/>
                  </a:lnTo>
                  <a:lnTo>
                    <a:pt x="361" y="108"/>
                  </a:lnTo>
                  <a:lnTo>
                    <a:pt x="371" y="108"/>
                  </a:lnTo>
                  <a:lnTo>
                    <a:pt x="391" y="117"/>
                  </a:lnTo>
                  <a:lnTo>
                    <a:pt x="400" y="117"/>
                  </a:lnTo>
                  <a:lnTo>
                    <a:pt x="430" y="147"/>
                  </a:lnTo>
                  <a:lnTo>
                    <a:pt x="459" y="166"/>
                  </a:lnTo>
                  <a:lnTo>
                    <a:pt x="469" y="166"/>
                  </a:lnTo>
                  <a:lnTo>
                    <a:pt x="488" y="166"/>
                  </a:lnTo>
                  <a:lnTo>
                    <a:pt x="498" y="166"/>
                  </a:lnTo>
                  <a:lnTo>
                    <a:pt x="517" y="186"/>
                  </a:lnTo>
                  <a:lnTo>
                    <a:pt x="508" y="205"/>
                  </a:lnTo>
                  <a:lnTo>
                    <a:pt x="508" y="215"/>
                  </a:lnTo>
                  <a:lnTo>
                    <a:pt x="488" y="225"/>
                  </a:lnTo>
                  <a:lnTo>
                    <a:pt x="469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Freeform 285"/>
            <p:cNvSpPr>
              <a:spLocks/>
            </p:cNvSpPr>
            <p:nvPr/>
          </p:nvSpPr>
          <p:spPr bwMode="auto">
            <a:xfrm>
              <a:off x="5617" y="906"/>
              <a:ext cx="2195" cy="2373"/>
            </a:xfrm>
            <a:custGeom>
              <a:avLst/>
              <a:gdLst>
                <a:gd name="T0" fmla="*/ 878 w 2195"/>
                <a:gd name="T1" fmla="*/ 2186 h 2371"/>
                <a:gd name="T2" fmla="*/ 761 w 2195"/>
                <a:gd name="T3" fmla="*/ 2098 h 2371"/>
                <a:gd name="T4" fmla="*/ 615 w 2195"/>
                <a:gd name="T5" fmla="*/ 2059 h 2371"/>
                <a:gd name="T6" fmla="*/ 488 w 2195"/>
                <a:gd name="T7" fmla="*/ 2186 h 2371"/>
                <a:gd name="T8" fmla="*/ 303 w 2195"/>
                <a:gd name="T9" fmla="*/ 2205 h 2371"/>
                <a:gd name="T10" fmla="*/ 293 w 2195"/>
                <a:gd name="T11" fmla="*/ 1991 h 2371"/>
                <a:gd name="T12" fmla="*/ 254 w 2195"/>
                <a:gd name="T13" fmla="*/ 1844 h 2371"/>
                <a:gd name="T14" fmla="*/ 186 w 2195"/>
                <a:gd name="T15" fmla="*/ 1688 h 2371"/>
                <a:gd name="T16" fmla="*/ 30 w 2195"/>
                <a:gd name="T17" fmla="*/ 1649 h 2371"/>
                <a:gd name="T18" fmla="*/ 39 w 2195"/>
                <a:gd name="T19" fmla="*/ 1415 h 2371"/>
                <a:gd name="T20" fmla="*/ 30 w 2195"/>
                <a:gd name="T21" fmla="*/ 1152 h 2371"/>
                <a:gd name="T22" fmla="*/ 127 w 2195"/>
                <a:gd name="T23" fmla="*/ 1015 h 2371"/>
                <a:gd name="T24" fmla="*/ 196 w 2195"/>
                <a:gd name="T25" fmla="*/ 839 h 2371"/>
                <a:gd name="T26" fmla="*/ 117 w 2195"/>
                <a:gd name="T27" fmla="*/ 605 h 2371"/>
                <a:gd name="T28" fmla="*/ 205 w 2195"/>
                <a:gd name="T29" fmla="*/ 596 h 2371"/>
                <a:gd name="T30" fmla="*/ 303 w 2195"/>
                <a:gd name="T31" fmla="*/ 566 h 2371"/>
                <a:gd name="T32" fmla="*/ 517 w 2195"/>
                <a:gd name="T33" fmla="*/ 586 h 2371"/>
                <a:gd name="T34" fmla="*/ 547 w 2195"/>
                <a:gd name="T35" fmla="*/ 488 h 2371"/>
                <a:gd name="T36" fmla="*/ 654 w 2195"/>
                <a:gd name="T37" fmla="*/ 478 h 2371"/>
                <a:gd name="T38" fmla="*/ 752 w 2195"/>
                <a:gd name="T39" fmla="*/ 488 h 2371"/>
                <a:gd name="T40" fmla="*/ 781 w 2195"/>
                <a:gd name="T41" fmla="*/ 537 h 2371"/>
                <a:gd name="T42" fmla="*/ 752 w 2195"/>
                <a:gd name="T43" fmla="*/ 576 h 2371"/>
                <a:gd name="T44" fmla="*/ 810 w 2195"/>
                <a:gd name="T45" fmla="*/ 596 h 2371"/>
                <a:gd name="T46" fmla="*/ 869 w 2195"/>
                <a:gd name="T47" fmla="*/ 674 h 2371"/>
                <a:gd name="T48" fmla="*/ 947 w 2195"/>
                <a:gd name="T49" fmla="*/ 674 h 2371"/>
                <a:gd name="T50" fmla="*/ 995 w 2195"/>
                <a:gd name="T51" fmla="*/ 576 h 2371"/>
                <a:gd name="T52" fmla="*/ 1132 w 2195"/>
                <a:gd name="T53" fmla="*/ 517 h 2371"/>
                <a:gd name="T54" fmla="*/ 1132 w 2195"/>
                <a:gd name="T55" fmla="*/ 508 h 2371"/>
                <a:gd name="T56" fmla="*/ 1190 w 2195"/>
                <a:gd name="T57" fmla="*/ 439 h 2371"/>
                <a:gd name="T58" fmla="*/ 1122 w 2195"/>
                <a:gd name="T59" fmla="*/ 400 h 2371"/>
                <a:gd name="T60" fmla="*/ 1122 w 2195"/>
                <a:gd name="T61" fmla="*/ 303 h 2371"/>
                <a:gd name="T62" fmla="*/ 1288 w 2195"/>
                <a:gd name="T63" fmla="*/ 254 h 2371"/>
                <a:gd name="T64" fmla="*/ 1347 w 2195"/>
                <a:gd name="T65" fmla="*/ 264 h 2371"/>
                <a:gd name="T66" fmla="*/ 1317 w 2195"/>
                <a:gd name="T67" fmla="*/ 303 h 2371"/>
                <a:gd name="T68" fmla="*/ 1464 w 2195"/>
                <a:gd name="T69" fmla="*/ 176 h 2371"/>
                <a:gd name="T70" fmla="*/ 1512 w 2195"/>
                <a:gd name="T71" fmla="*/ 196 h 2371"/>
                <a:gd name="T72" fmla="*/ 1639 w 2195"/>
                <a:gd name="T73" fmla="*/ 176 h 2371"/>
                <a:gd name="T74" fmla="*/ 1854 w 2195"/>
                <a:gd name="T75" fmla="*/ 30 h 2371"/>
                <a:gd name="T76" fmla="*/ 1981 w 2195"/>
                <a:gd name="T77" fmla="*/ 59 h 2371"/>
                <a:gd name="T78" fmla="*/ 2068 w 2195"/>
                <a:gd name="T79" fmla="*/ 49 h 2371"/>
                <a:gd name="T80" fmla="*/ 2029 w 2195"/>
                <a:gd name="T81" fmla="*/ 235 h 2371"/>
                <a:gd name="T82" fmla="*/ 2185 w 2195"/>
                <a:gd name="T83" fmla="*/ 371 h 2371"/>
                <a:gd name="T84" fmla="*/ 2068 w 2195"/>
                <a:gd name="T85" fmla="*/ 517 h 2371"/>
                <a:gd name="T86" fmla="*/ 2098 w 2195"/>
                <a:gd name="T87" fmla="*/ 674 h 2371"/>
                <a:gd name="T88" fmla="*/ 2068 w 2195"/>
                <a:gd name="T89" fmla="*/ 820 h 2371"/>
                <a:gd name="T90" fmla="*/ 2010 w 2195"/>
                <a:gd name="T91" fmla="*/ 869 h 2371"/>
                <a:gd name="T92" fmla="*/ 1951 w 2195"/>
                <a:gd name="T93" fmla="*/ 976 h 2371"/>
                <a:gd name="T94" fmla="*/ 2020 w 2195"/>
                <a:gd name="T95" fmla="*/ 1191 h 2371"/>
                <a:gd name="T96" fmla="*/ 1951 w 2195"/>
                <a:gd name="T97" fmla="*/ 1269 h 2371"/>
                <a:gd name="T98" fmla="*/ 1825 w 2195"/>
                <a:gd name="T99" fmla="*/ 1347 h 2371"/>
                <a:gd name="T100" fmla="*/ 1873 w 2195"/>
                <a:gd name="T101" fmla="*/ 1591 h 2371"/>
                <a:gd name="T102" fmla="*/ 1766 w 2195"/>
                <a:gd name="T103" fmla="*/ 1747 h 2371"/>
                <a:gd name="T104" fmla="*/ 1649 w 2195"/>
                <a:gd name="T105" fmla="*/ 1854 h 2371"/>
                <a:gd name="T106" fmla="*/ 1649 w 2195"/>
                <a:gd name="T107" fmla="*/ 1981 h 2371"/>
                <a:gd name="T108" fmla="*/ 1698 w 2195"/>
                <a:gd name="T109" fmla="*/ 2157 h 2371"/>
                <a:gd name="T110" fmla="*/ 1532 w 2195"/>
                <a:gd name="T111" fmla="*/ 2322 h 2371"/>
                <a:gd name="T112" fmla="*/ 1405 w 2195"/>
                <a:gd name="T113" fmla="*/ 2342 h 2371"/>
                <a:gd name="T114" fmla="*/ 1181 w 2195"/>
                <a:gd name="T115" fmla="*/ 2332 h 2371"/>
                <a:gd name="T116" fmla="*/ 995 w 2195"/>
                <a:gd name="T117" fmla="*/ 2352 h 23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5"/>
                <a:gd name="T178" fmla="*/ 0 h 2371"/>
                <a:gd name="T179" fmla="*/ 2195 w 2195"/>
                <a:gd name="T180" fmla="*/ 2371 h 23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5" h="2371">
                  <a:moveTo>
                    <a:pt x="937" y="2283"/>
                  </a:moveTo>
                  <a:lnTo>
                    <a:pt x="917" y="2303"/>
                  </a:lnTo>
                  <a:lnTo>
                    <a:pt x="908" y="2293"/>
                  </a:lnTo>
                  <a:lnTo>
                    <a:pt x="917" y="2283"/>
                  </a:lnTo>
                  <a:lnTo>
                    <a:pt x="917" y="2274"/>
                  </a:lnTo>
                  <a:lnTo>
                    <a:pt x="908" y="2274"/>
                  </a:lnTo>
                  <a:lnTo>
                    <a:pt x="908" y="2264"/>
                  </a:lnTo>
                  <a:lnTo>
                    <a:pt x="908" y="2244"/>
                  </a:lnTo>
                  <a:lnTo>
                    <a:pt x="898" y="2225"/>
                  </a:lnTo>
                  <a:lnTo>
                    <a:pt x="888" y="2205"/>
                  </a:lnTo>
                  <a:lnTo>
                    <a:pt x="888" y="2196"/>
                  </a:lnTo>
                  <a:lnTo>
                    <a:pt x="878" y="2186"/>
                  </a:lnTo>
                  <a:lnTo>
                    <a:pt x="859" y="2186"/>
                  </a:lnTo>
                  <a:lnTo>
                    <a:pt x="859" y="2166"/>
                  </a:lnTo>
                  <a:lnTo>
                    <a:pt x="859" y="2147"/>
                  </a:lnTo>
                  <a:lnTo>
                    <a:pt x="859" y="2127"/>
                  </a:lnTo>
                  <a:lnTo>
                    <a:pt x="839" y="2127"/>
                  </a:lnTo>
                  <a:lnTo>
                    <a:pt x="839" y="2108"/>
                  </a:lnTo>
                  <a:lnTo>
                    <a:pt x="830" y="2098"/>
                  </a:lnTo>
                  <a:lnTo>
                    <a:pt x="820" y="2108"/>
                  </a:lnTo>
                  <a:lnTo>
                    <a:pt x="791" y="2088"/>
                  </a:lnTo>
                  <a:lnTo>
                    <a:pt x="791" y="2098"/>
                  </a:lnTo>
                  <a:lnTo>
                    <a:pt x="781" y="2108"/>
                  </a:lnTo>
                  <a:lnTo>
                    <a:pt x="761" y="2098"/>
                  </a:lnTo>
                  <a:lnTo>
                    <a:pt x="761" y="2108"/>
                  </a:lnTo>
                  <a:lnTo>
                    <a:pt x="742" y="2118"/>
                  </a:lnTo>
                  <a:lnTo>
                    <a:pt x="732" y="2098"/>
                  </a:lnTo>
                  <a:lnTo>
                    <a:pt x="732" y="2079"/>
                  </a:lnTo>
                  <a:lnTo>
                    <a:pt x="732" y="2059"/>
                  </a:lnTo>
                  <a:lnTo>
                    <a:pt x="732" y="2049"/>
                  </a:lnTo>
                  <a:lnTo>
                    <a:pt x="703" y="2030"/>
                  </a:lnTo>
                  <a:lnTo>
                    <a:pt x="683" y="2030"/>
                  </a:lnTo>
                  <a:lnTo>
                    <a:pt x="644" y="2020"/>
                  </a:lnTo>
                  <a:lnTo>
                    <a:pt x="615" y="2040"/>
                  </a:lnTo>
                  <a:lnTo>
                    <a:pt x="615" y="2059"/>
                  </a:lnTo>
                  <a:lnTo>
                    <a:pt x="595" y="2079"/>
                  </a:lnTo>
                  <a:lnTo>
                    <a:pt x="586" y="2127"/>
                  </a:lnTo>
                  <a:lnTo>
                    <a:pt x="556" y="2157"/>
                  </a:lnTo>
                  <a:lnTo>
                    <a:pt x="547" y="2166"/>
                  </a:lnTo>
                  <a:lnTo>
                    <a:pt x="547" y="2205"/>
                  </a:lnTo>
                  <a:lnTo>
                    <a:pt x="527" y="2215"/>
                  </a:lnTo>
                  <a:lnTo>
                    <a:pt x="517" y="2225"/>
                  </a:lnTo>
                  <a:lnTo>
                    <a:pt x="508" y="2244"/>
                  </a:lnTo>
                  <a:lnTo>
                    <a:pt x="498" y="2225"/>
                  </a:lnTo>
                  <a:lnTo>
                    <a:pt x="498" y="2215"/>
                  </a:lnTo>
                  <a:lnTo>
                    <a:pt x="498" y="2186"/>
                  </a:lnTo>
                  <a:lnTo>
                    <a:pt x="488" y="2186"/>
                  </a:lnTo>
                  <a:lnTo>
                    <a:pt x="478" y="2166"/>
                  </a:lnTo>
                  <a:lnTo>
                    <a:pt x="459" y="2196"/>
                  </a:lnTo>
                  <a:lnTo>
                    <a:pt x="439" y="2215"/>
                  </a:lnTo>
                  <a:lnTo>
                    <a:pt x="420" y="2225"/>
                  </a:lnTo>
                  <a:lnTo>
                    <a:pt x="400" y="2225"/>
                  </a:lnTo>
                  <a:lnTo>
                    <a:pt x="381" y="2225"/>
                  </a:lnTo>
                  <a:lnTo>
                    <a:pt x="371" y="2244"/>
                  </a:lnTo>
                  <a:lnTo>
                    <a:pt x="361" y="2254"/>
                  </a:lnTo>
                  <a:lnTo>
                    <a:pt x="332" y="2254"/>
                  </a:lnTo>
                  <a:lnTo>
                    <a:pt x="313" y="2235"/>
                  </a:lnTo>
                  <a:lnTo>
                    <a:pt x="303" y="2225"/>
                  </a:lnTo>
                  <a:lnTo>
                    <a:pt x="303" y="2205"/>
                  </a:lnTo>
                  <a:lnTo>
                    <a:pt x="313" y="2176"/>
                  </a:lnTo>
                  <a:lnTo>
                    <a:pt x="313" y="2127"/>
                  </a:lnTo>
                  <a:lnTo>
                    <a:pt x="322" y="2069"/>
                  </a:lnTo>
                  <a:lnTo>
                    <a:pt x="332" y="2069"/>
                  </a:lnTo>
                  <a:lnTo>
                    <a:pt x="332" y="2059"/>
                  </a:lnTo>
                  <a:lnTo>
                    <a:pt x="332" y="2049"/>
                  </a:lnTo>
                  <a:lnTo>
                    <a:pt x="332" y="2040"/>
                  </a:lnTo>
                  <a:lnTo>
                    <a:pt x="342" y="2030"/>
                  </a:lnTo>
                  <a:lnTo>
                    <a:pt x="342" y="2020"/>
                  </a:lnTo>
                  <a:lnTo>
                    <a:pt x="332" y="2010"/>
                  </a:lnTo>
                  <a:lnTo>
                    <a:pt x="303" y="2001"/>
                  </a:lnTo>
                  <a:lnTo>
                    <a:pt x="293" y="1991"/>
                  </a:lnTo>
                  <a:lnTo>
                    <a:pt x="293" y="1971"/>
                  </a:lnTo>
                  <a:lnTo>
                    <a:pt x="293" y="1961"/>
                  </a:lnTo>
                  <a:lnTo>
                    <a:pt x="283" y="1961"/>
                  </a:lnTo>
                  <a:lnTo>
                    <a:pt x="283" y="1952"/>
                  </a:lnTo>
                  <a:lnTo>
                    <a:pt x="283" y="1932"/>
                  </a:lnTo>
                  <a:lnTo>
                    <a:pt x="283" y="1922"/>
                  </a:lnTo>
                  <a:lnTo>
                    <a:pt x="283" y="1874"/>
                  </a:lnTo>
                  <a:lnTo>
                    <a:pt x="274" y="1874"/>
                  </a:lnTo>
                  <a:lnTo>
                    <a:pt x="254" y="1874"/>
                  </a:lnTo>
                  <a:lnTo>
                    <a:pt x="244" y="1854"/>
                  </a:lnTo>
                  <a:lnTo>
                    <a:pt x="254" y="1844"/>
                  </a:lnTo>
                  <a:lnTo>
                    <a:pt x="264" y="1825"/>
                  </a:lnTo>
                  <a:lnTo>
                    <a:pt x="244" y="1786"/>
                  </a:lnTo>
                  <a:lnTo>
                    <a:pt x="225" y="1766"/>
                  </a:lnTo>
                  <a:lnTo>
                    <a:pt x="215" y="1757"/>
                  </a:lnTo>
                  <a:lnTo>
                    <a:pt x="186" y="1757"/>
                  </a:lnTo>
                  <a:lnTo>
                    <a:pt x="166" y="1747"/>
                  </a:lnTo>
                  <a:lnTo>
                    <a:pt x="166" y="1737"/>
                  </a:lnTo>
                  <a:lnTo>
                    <a:pt x="176" y="1727"/>
                  </a:lnTo>
                  <a:lnTo>
                    <a:pt x="186" y="1718"/>
                  </a:lnTo>
                  <a:lnTo>
                    <a:pt x="196" y="1718"/>
                  </a:lnTo>
                  <a:lnTo>
                    <a:pt x="196" y="1708"/>
                  </a:lnTo>
                  <a:lnTo>
                    <a:pt x="186" y="1688"/>
                  </a:lnTo>
                  <a:lnTo>
                    <a:pt x="176" y="1669"/>
                  </a:lnTo>
                  <a:lnTo>
                    <a:pt x="166" y="1669"/>
                  </a:lnTo>
                  <a:lnTo>
                    <a:pt x="166" y="1679"/>
                  </a:lnTo>
                  <a:lnTo>
                    <a:pt x="127" y="1669"/>
                  </a:lnTo>
                  <a:lnTo>
                    <a:pt x="117" y="1679"/>
                  </a:lnTo>
                  <a:lnTo>
                    <a:pt x="88" y="1669"/>
                  </a:lnTo>
                  <a:lnTo>
                    <a:pt x="78" y="1659"/>
                  </a:lnTo>
                  <a:lnTo>
                    <a:pt x="69" y="1659"/>
                  </a:lnTo>
                  <a:lnTo>
                    <a:pt x="69" y="1669"/>
                  </a:lnTo>
                  <a:lnTo>
                    <a:pt x="49" y="1659"/>
                  </a:lnTo>
                  <a:lnTo>
                    <a:pt x="30" y="1659"/>
                  </a:lnTo>
                  <a:lnTo>
                    <a:pt x="30" y="1649"/>
                  </a:lnTo>
                  <a:lnTo>
                    <a:pt x="39" y="1620"/>
                  </a:lnTo>
                  <a:lnTo>
                    <a:pt x="39" y="1591"/>
                  </a:lnTo>
                  <a:lnTo>
                    <a:pt x="59" y="1571"/>
                  </a:lnTo>
                  <a:lnTo>
                    <a:pt x="78" y="1552"/>
                  </a:lnTo>
                  <a:lnTo>
                    <a:pt x="78" y="1542"/>
                  </a:lnTo>
                  <a:lnTo>
                    <a:pt x="69" y="1532"/>
                  </a:lnTo>
                  <a:lnTo>
                    <a:pt x="59" y="1513"/>
                  </a:lnTo>
                  <a:lnTo>
                    <a:pt x="59" y="1483"/>
                  </a:lnTo>
                  <a:lnTo>
                    <a:pt x="49" y="1464"/>
                  </a:lnTo>
                  <a:lnTo>
                    <a:pt x="30" y="1454"/>
                  </a:lnTo>
                  <a:lnTo>
                    <a:pt x="30" y="1435"/>
                  </a:lnTo>
                  <a:lnTo>
                    <a:pt x="39" y="1415"/>
                  </a:lnTo>
                  <a:lnTo>
                    <a:pt x="30" y="1396"/>
                  </a:lnTo>
                  <a:lnTo>
                    <a:pt x="20" y="1386"/>
                  </a:lnTo>
                  <a:lnTo>
                    <a:pt x="0" y="1386"/>
                  </a:lnTo>
                  <a:lnTo>
                    <a:pt x="10" y="1366"/>
                  </a:lnTo>
                  <a:lnTo>
                    <a:pt x="20" y="1357"/>
                  </a:lnTo>
                  <a:lnTo>
                    <a:pt x="30" y="1347"/>
                  </a:lnTo>
                  <a:lnTo>
                    <a:pt x="39" y="1347"/>
                  </a:lnTo>
                  <a:lnTo>
                    <a:pt x="49" y="1327"/>
                  </a:lnTo>
                  <a:lnTo>
                    <a:pt x="39" y="1269"/>
                  </a:lnTo>
                  <a:lnTo>
                    <a:pt x="39" y="1220"/>
                  </a:lnTo>
                  <a:lnTo>
                    <a:pt x="30" y="1152"/>
                  </a:lnTo>
                  <a:lnTo>
                    <a:pt x="20" y="1122"/>
                  </a:lnTo>
                  <a:lnTo>
                    <a:pt x="0" y="1103"/>
                  </a:lnTo>
                  <a:lnTo>
                    <a:pt x="10" y="1083"/>
                  </a:lnTo>
                  <a:lnTo>
                    <a:pt x="30" y="1083"/>
                  </a:lnTo>
                  <a:lnTo>
                    <a:pt x="49" y="1074"/>
                  </a:lnTo>
                  <a:lnTo>
                    <a:pt x="69" y="1054"/>
                  </a:lnTo>
                  <a:lnTo>
                    <a:pt x="78" y="1044"/>
                  </a:lnTo>
                  <a:lnTo>
                    <a:pt x="88" y="1044"/>
                  </a:lnTo>
                  <a:lnTo>
                    <a:pt x="98" y="1044"/>
                  </a:lnTo>
                  <a:lnTo>
                    <a:pt x="117" y="1044"/>
                  </a:lnTo>
                  <a:lnTo>
                    <a:pt x="127" y="1025"/>
                  </a:lnTo>
                  <a:lnTo>
                    <a:pt x="127" y="1015"/>
                  </a:lnTo>
                  <a:lnTo>
                    <a:pt x="127" y="996"/>
                  </a:lnTo>
                  <a:lnTo>
                    <a:pt x="137" y="986"/>
                  </a:lnTo>
                  <a:lnTo>
                    <a:pt x="137" y="966"/>
                  </a:lnTo>
                  <a:lnTo>
                    <a:pt x="157" y="966"/>
                  </a:lnTo>
                  <a:lnTo>
                    <a:pt x="157" y="937"/>
                  </a:lnTo>
                  <a:lnTo>
                    <a:pt x="186" y="908"/>
                  </a:lnTo>
                  <a:lnTo>
                    <a:pt x="205" y="888"/>
                  </a:lnTo>
                  <a:lnTo>
                    <a:pt x="225" y="878"/>
                  </a:lnTo>
                  <a:lnTo>
                    <a:pt x="225" y="869"/>
                  </a:lnTo>
                  <a:lnTo>
                    <a:pt x="225" y="849"/>
                  </a:lnTo>
                  <a:lnTo>
                    <a:pt x="196" y="839"/>
                  </a:lnTo>
                  <a:lnTo>
                    <a:pt x="196" y="820"/>
                  </a:lnTo>
                  <a:lnTo>
                    <a:pt x="196" y="791"/>
                  </a:lnTo>
                  <a:lnTo>
                    <a:pt x="166" y="761"/>
                  </a:lnTo>
                  <a:lnTo>
                    <a:pt x="147" y="742"/>
                  </a:lnTo>
                  <a:lnTo>
                    <a:pt x="137" y="742"/>
                  </a:lnTo>
                  <a:lnTo>
                    <a:pt x="137" y="722"/>
                  </a:lnTo>
                  <a:lnTo>
                    <a:pt x="108" y="703"/>
                  </a:lnTo>
                  <a:lnTo>
                    <a:pt x="117" y="674"/>
                  </a:lnTo>
                  <a:lnTo>
                    <a:pt x="108" y="654"/>
                  </a:lnTo>
                  <a:lnTo>
                    <a:pt x="88" y="635"/>
                  </a:lnTo>
                  <a:lnTo>
                    <a:pt x="98" y="625"/>
                  </a:lnTo>
                  <a:lnTo>
                    <a:pt x="117" y="605"/>
                  </a:lnTo>
                  <a:lnTo>
                    <a:pt x="117" y="596"/>
                  </a:lnTo>
                  <a:lnTo>
                    <a:pt x="117" y="586"/>
                  </a:lnTo>
                  <a:lnTo>
                    <a:pt x="127" y="576"/>
                  </a:lnTo>
                  <a:lnTo>
                    <a:pt x="137" y="586"/>
                  </a:lnTo>
                  <a:lnTo>
                    <a:pt x="166" y="586"/>
                  </a:lnTo>
                  <a:lnTo>
                    <a:pt x="186" y="576"/>
                  </a:lnTo>
                  <a:lnTo>
                    <a:pt x="176" y="566"/>
                  </a:lnTo>
                  <a:lnTo>
                    <a:pt x="176" y="557"/>
                  </a:lnTo>
                  <a:lnTo>
                    <a:pt x="186" y="557"/>
                  </a:lnTo>
                  <a:lnTo>
                    <a:pt x="196" y="566"/>
                  </a:lnTo>
                  <a:lnTo>
                    <a:pt x="205" y="596"/>
                  </a:lnTo>
                  <a:lnTo>
                    <a:pt x="205" y="615"/>
                  </a:lnTo>
                  <a:lnTo>
                    <a:pt x="215" y="625"/>
                  </a:lnTo>
                  <a:lnTo>
                    <a:pt x="215" y="635"/>
                  </a:lnTo>
                  <a:lnTo>
                    <a:pt x="225" y="625"/>
                  </a:lnTo>
                  <a:lnTo>
                    <a:pt x="235" y="615"/>
                  </a:lnTo>
                  <a:lnTo>
                    <a:pt x="225" y="615"/>
                  </a:lnTo>
                  <a:lnTo>
                    <a:pt x="215" y="605"/>
                  </a:lnTo>
                  <a:lnTo>
                    <a:pt x="215" y="596"/>
                  </a:lnTo>
                  <a:lnTo>
                    <a:pt x="235" y="596"/>
                  </a:lnTo>
                  <a:lnTo>
                    <a:pt x="254" y="586"/>
                  </a:lnTo>
                  <a:lnTo>
                    <a:pt x="274" y="566"/>
                  </a:lnTo>
                  <a:lnTo>
                    <a:pt x="303" y="566"/>
                  </a:lnTo>
                  <a:lnTo>
                    <a:pt x="361" y="557"/>
                  </a:lnTo>
                  <a:lnTo>
                    <a:pt x="381" y="557"/>
                  </a:lnTo>
                  <a:lnTo>
                    <a:pt x="400" y="566"/>
                  </a:lnTo>
                  <a:lnTo>
                    <a:pt x="391" y="566"/>
                  </a:lnTo>
                  <a:lnTo>
                    <a:pt x="381" y="566"/>
                  </a:lnTo>
                  <a:lnTo>
                    <a:pt x="381" y="576"/>
                  </a:lnTo>
                  <a:lnTo>
                    <a:pt x="381" y="596"/>
                  </a:lnTo>
                  <a:lnTo>
                    <a:pt x="430" y="605"/>
                  </a:lnTo>
                  <a:lnTo>
                    <a:pt x="449" y="605"/>
                  </a:lnTo>
                  <a:lnTo>
                    <a:pt x="459" y="596"/>
                  </a:lnTo>
                  <a:lnTo>
                    <a:pt x="498" y="596"/>
                  </a:lnTo>
                  <a:lnTo>
                    <a:pt x="517" y="586"/>
                  </a:lnTo>
                  <a:lnTo>
                    <a:pt x="537" y="586"/>
                  </a:lnTo>
                  <a:lnTo>
                    <a:pt x="537" y="576"/>
                  </a:lnTo>
                  <a:lnTo>
                    <a:pt x="547" y="576"/>
                  </a:lnTo>
                  <a:lnTo>
                    <a:pt x="566" y="576"/>
                  </a:lnTo>
                  <a:lnTo>
                    <a:pt x="566" y="566"/>
                  </a:lnTo>
                  <a:lnTo>
                    <a:pt x="566" y="547"/>
                  </a:lnTo>
                  <a:lnTo>
                    <a:pt x="576" y="537"/>
                  </a:lnTo>
                  <a:lnTo>
                    <a:pt x="556" y="537"/>
                  </a:lnTo>
                  <a:lnTo>
                    <a:pt x="547" y="527"/>
                  </a:lnTo>
                  <a:lnTo>
                    <a:pt x="547" y="517"/>
                  </a:lnTo>
                  <a:lnTo>
                    <a:pt x="537" y="508"/>
                  </a:lnTo>
                  <a:lnTo>
                    <a:pt x="547" y="488"/>
                  </a:lnTo>
                  <a:lnTo>
                    <a:pt x="547" y="498"/>
                  </a:lnTo>
                  <a:lnTo>
                    <a:pt x="566" y="498"/>
                  </a:lnTo>
                  <a:lnTo>
                    <a:pt x="556" y="478"/>
                  </a:lnTo>
                  <a:lnTo>
                    <a:pt x="566" y="469"/>
                  </a:lnTo>
                  <a:lnTo>
                    <a:pt x="586" y="478"/>
                  </a:lnTo>
                  <a:lnTo>
                    <a:pt x="595" y="478"/>
                  </a:lnTo>
                  <a:lnTo>
                    <a:pt x="605" y="488"/>
                  </a:lnTo>
                  <a:lnTo>
                    <a:pt x="625" y="488"/>
                  </a:lnTo>
                  <a:lnTo>
                    <a:pt x="634" y="478"/>
                  </a:lnTo>
                  <a:lnTo>
                    <a:pt x="644" y="488"/>
                  </a:lnTo>
                  <a:lnTo>
                    <a:pt x="654" y="478"/>
                  </a:lnTo>
                  <a:lnTo>
                    <a:pt x="664" y="469"/>
                  </a:lnTo>
                  <a:lnTo>
                    <a:pt x="673" y="459"/>
                  </a:lnTo>
                  <a:lnTo>
                    <a:pt x="683" y="459"/>
                  </a:lnTo>
                  <a:lnTo>
                    <a:pt x="693" y="459"/>
                  </a:lnTo>
                  <a:lnTo>
                    <a:pt x="703" y="459"/>
                  </a:lnTo>
                  <a:lnTo>
                    <a:pt x="713" y="459"/>
                  </a:lnTo>
                  <a:lnTo>
                    <a:pt x="722" y="478"/>
                  </a:lnTo>
                  <a:lnTo>
                    <a:pt x="732" y="469"/>
                  </a:lnTo>
                  <a:lnTo>
                    <a:pt x="732" y="478"/>
                  </a:lnTo>
                  <a:lnTo>
                    <a:pt x="742" y="478"/>
                  </a:lnTo>
                  <a:lnTo>
                    <a:pt x="752" y="488"/>
                  </a:lnTo>
                  <a:lnTo>
                    <a:pt x="752" y="498"/>
                  </a:lnTo>
                  <a:lnTo>
                    <a:pt x="761" y="498"/>
                  </a:lnTo>
                  <a:lnTo>
                    <a:pt x="761" y="508"/>
                  </a:lnTo>
                  <a:lnTo>
                    <a:pt x="761" y="517"/>
                  </a:lnTo>
                  <a:lnTo>
                    <a:pt x="771" y="517"/>
                  </a:lnTo>
                  <a:lnTo>
                    <a:pt x="771" y="527"/>
                  </a:lnTo>
                  <a:lnTo>
                    <a:pt x="761" y="527"/>
                  </a:lnTo>
                  <a:lnTo>
                    <a:pt x="761" y="537"/>
                  </a:lnTo>
                  <a:lnTo>
                    <a:pt x="761" y="547"/>
                  </a:lnTo>
                  <a:lnTo>
                    <a:pt x="771" y="547"/>
                  </a:lnTo>
                  <a:lnTo>
                    <a:pt x="781" y="537"/>
                  </a:lnTo>
                  <a:lnTo>
                    <a:pt x="791" y="547"/>
                  </a:lnTo>
                  <a:lnTo>
                    <a:pt x="800" y="557"/>
                  </a:lnTo>
                  <a:lnTo>
                    <a:pt x="791" y="557"/>
                  </a:lnTo>
                  <a:lnTo>
                    <a:pt x="800" y="557"/>
                  </a:lnTo>
                  <a:lnTo>
                    <a:pt x="800" y="566"/>
                  </a:lnTo>
                  <a:lnTo>
                    <a:pt x="810" y="576"/>
                  </a:lnTo>
                  <a:lnTo>
                    <a:pt x="800" y="576"/>
                  </a:lnTo>
                  <a:lnTo>
                    <a:pt x="791" y="586"/>
                  </a:lnTo>
                  <a:lnTo>
                    <a:pt x="781" y="586"/>
                  </a:lnTo>
                  <a:lnTo>
                    <a:pt x="771" y="576"/>
                  </a:lnTo>
                  <a:lnTo>
                    <a:pt x="761" y="576"/>
                  </a:lnTo>
                  <a:lnTo>
                    <a:pt x="752" y="576"/>
                  </a:lnTo>
                  <a:lnTo>
                    <a:pt x="742" y="576"/>
                  </a:lnTo>
                  <a:lnTo>
                    <a:pt x="752" y="586"/>
                  </a:lnTo>
                  <a:lnTo>
                    <a:pt x="771" y="586"/>
                  </a:lnTo>
                  <a:lnTo>
                    <a:pt x="781" y="605"/>
                  </a:lnTo>
                  <a:lnTo>
                    <a:pt x="781" y="615"/>
                  </a:lnTo>
                  <a:lnTo>
                    <a:pt x="791" y="615"/>
                  </a:lnTo>
                  <a:lnTo>
                    <a:pt x="810" y="615"/>
                  </a:lnTo>
                  <a:lnTo>
                    <a:pt x="800" y="596"/>
                  </a:lnTo>
                  <a:lnTo>
                    <a:pt x="810" y="596"/>
                  </a:lnTo>
                  <a:lnTo>
                    <a:pt x="820" y="605"/>
                  </a:lnTo>
                  <a:lnTo>
                    <a:pt x="830" y="605"/>
                  </a:lnTo>
                  <a:lnTo>
                    <a:pt x="830" y="615"/>
                  </a:lnTo>
                  <a:lnTo>
                    <a:pt x="820" y="615"/>
                  </a:lnTo>
                  <a:lnTo>
                    <a:pt x="820" y="625"/>
                  </a:lnTo>
                  <a:lnTo>
                    <a:pt x="820" y="635"/>
                  </a:lnTo>
                  <a:lnTo>
                    <a:pt x="830" y="635"/>
                  </a:lnTo>
                  <a:lnTo>
                    <a:pt x="849" y="654"/>
                  </a:lnTo>
                  <a:lnTo>
                    <a:pt x="859" y="664"/>
                  </a:lnTo>
                  <a:lnTo>
                    <a:pt x="869" y="674"/>
                  </a:lnTo>
                  <a:lnTo>
                    <a:pt x="878" y="674"/>
                  </a:lnTo>
                  <a:lnTo>
                    <a:pt x="888" y="674"/>
                  </a:lnTo>
                  <a:lnTo>
                    <a:pt x="888" y="683"/>
                  </a:lnTo>
                  <a:lnTo>
                    <a:pt x="898" y="683"/>
                  </a:lnTo>
                  <a:lnTo>
                    <a:pt x="908" y="683"/>
                  </a:lnTo>
                  <a:lnTo>
                    <a:pt x="917" y="693"/>
                  </a:lnTo>
                  <a:lnTo>
                    <a:pt x="917" y="674"/>
                  </a:lnTo>
                  <a:lnTo>
                    <a:pt x="927" y="683"/>
                  </a:lnTo>
                  <a:lnTo>
                    <a:pt x="927" y="693"/>
                  </a:lnTo>
                  <a:lnTo>
                    <a:pt x="947" y="693"/>
                  </a:lnTo>
                  <a:lnTo>
                    <a:pt x="947" y="674"/>
                  </a:lnTo>
                  <a:lnTo>
                    <a:pt x="947" y="644"/>
                  </a:lnTo>
                  <a:lnTo>
                    <a:pt x="937" y="625"/>
                  </a:lnTo>
                  <a:lnTo>
                    <a:pt x="937" y="615"/>
                  </a:lnTo>
                  <a:lnTo>
                    <a:pt x="937" y="605"/>
                  </a:lnTo>
                  <a:lnTo>
                    <a:pt x="937" y="576"/>
                  </a:lnTo>
                  <a:lnTo>
                    <a:pt x="927" y="566"/>
                  </a:lnTo>
                  <a:lnTo>
                    <a:pt x="927" y="547"/>
                  </a:lnTo>
                  <a:lnTo>
                    <a:pt x="937" y="547"/>
                  </a:lnTo>
                  <a:lnTo>
                    <a:pt x="947" y="557"/>
                  </a:lnTo>
                  <a:lnTo>
                    <a:pt x="956" y="566"/>
                  </a:lnTo>
                  <a:lnTo>
                    <a:pt x="966" y="566"/>
                  </a:lnTo>
                  <a:lnTo>
                    <a:pt x="995" y="576"/>
                  </a:lnTo>
                  <a:lnTo>
                    <a:pt x="1015" y="566"/>
                  </a:lnTo>
                  <a:lnTo>
                    <a:pt x="1025" y="557"/>
                  </a:lnTo>
                  <a:lnTo>
                    <a:pt x="1025" y="537"/>
                  </a:lnTo>
                  <a:lnTo>
                    <a:pt x="1034" y="537"/>
                  </a:lnTo>
                  <a:lnTo>
                    <a:pt x="1034" y="517"/>
                  </a:lnTo>
                  <a:lnTo>
                    <a:pt x="1054" y="508"/>
                  </a:lnTo>
                  <a:lnTo>
                    <a:pt x="1073" y="508"/>
                  </a:lnTo>
                  <a:lnTo>
                    <a:pt x="1083" y="517"/>
                  </a:lnTo>
                  <a:lnTo>
                    <a:pt x="1093" y="508"/>
                  </a:lnTo>
                  <a:lnTo>
                    <a:pt x="1103" y="517"/>
                  </a:lnTo>
                  <a:lnTo>
                    <a:pt x="1122" y="517"/>
                  </a:lnTo>
                  <a:lnTo>
                    <a:pt x="1132" y="517"/>
                  </a:lnTo>
                  <a:lnTo>
                    <a:pt x="1132" y="527"/>
                  </a:lnTo>
                  <a:lnTo>
                    <a:pt x="1142" y="527"/>
                  </a:lnTo>
                  <a:lnTo>
                    <a:pt x="1151" y="517"/>
                  </a:lnTo>
                  <a:lnTo>
                    <a:pt x="1142" y="517"/>
                  </a:lnTo>
                  <a:lnTo>
                    <a:pt x="1151" y="508"/>
                  </a:lnTo>
                  <a:lnTo>
                    <a:pt x="1171" y="508"/>
                  </a:lnTo>
                  <a:lnTo>
                    <a:pt x="1181" y="517"/>
                  </a:lnTo>
                  <a:lnTo>
                    <a:pt x="1181" y="508"/>
                  </a:lnTo>
                  <a:lnTo>
                    <a:pt x="1181" y="498"/>
                  </a:lnTo>
                  <a:lnTo>
                    <a:pt x="1161" y="498"/>
                  </a:lnTo>
                  <a:lnTo>
                    <a:pt x="1151" y="498"/>
                  </a:lnTo>
                  <a:lnTo>
                    <a:pt x="1132" y="508"/>
                  </a:lnTo>
                  <a:lnTo>
                    <a:pt x="1132" y="498"/>
                  </a:lnTo>
                  <a:lnTo>
                    <a:pt x="1132" y="478"/>
                  </a:lnTo>
                  <a:lnTo>
                    <a:pt x="1132" y="469"/>
                  </a:lnTo>
                  <a:lnTo>
                    <a:pt x="1142" y="469"/>
                  </a:lnTo>
                  <a:lnTo>
                    <a:pt x="1142" y="459"/>
                  </a:lnTo>
                  <a:lnTo>
                    <a:pt x="1151" y="459"/>
                  </a:lnTo>
                  <a:lnTo>
                    <a:pt x="1171" y="469"/>
                  </a:lnTo>
                  <a:lnTo>
                    <a:pt x="1181" y="459"/>
                  </a:lnTo>
                  <a:lnTo>
                    <a:pt x="1190" y="449"/>
                  </a:lnTo>
                  <a:lnTo>
                    <a:pt x="1190" y="439"/>
                  </a:lnTo>
                  <a:lnTo>
                    <a:pt x="1181" y="439"/>
                  </a:lnTo>
                  <a:lnTo>
                    <a:pt x="1161" y="430"/>
                  </a:lnTo>
                  <a:lnTo>
                    <a:pt x="1151" y="420"/>
                  </a:lnTo>
                  <a:lnTo>
                    <a:pt x="1142" y="420"/>
                  </a:lnTo>
                  <a:lnTo>
                    <a:pt x="1142" y="410"/>
                  </a:lnTo>
                  <a:lnTo>
                    <a:pt x="1142" y="400"/>
                  </a:lnTo>
                  <a:lnTo>
                    <a:pt x="1142" y="391"/>
                  </a:lnTo>
                  <a:lnTo>
                    <a:pt x="1151" y="381"/>
                  </a:lnTo>
                  <a:lnTo>
                    <a:pt x="1142" y="381"/>
                  </a:lnTo>
                  <a:lnTo>
                    <a:pt x="1132" y="381"/>
                  </a:lnTo>
                  <a:lnTo>
                    <a:pt x="1132" y="391"/>
                  </a:lnTo>
                  <a:lnTo>
                    <a:pt x="1122" y="400"/>
                  </a:lnTo>
                  <a:lnTo>
                    <a:pt x="1112" y="400"/>
                  </a:lnTo>
                  <a:lnTo>
                    <a:pt x="1112" y="391"/>
                  </a:lnTo>
                  <a:lnTo>
                    <a:pt x="1112" y="371"/>
                  </a:lnTo>
                  <a:lnTo>
                    <a:pt x="1112" y="361"/>
                  </a:lnTo>
                  <a:lnTo>
                    <a:pt x="1112" y="352"/>
                  </a:lnTo>
                  <a:lnTo>
                    <a:pt x="1132" y="352"/>
                  </a:lnTo>
                  <a:lnTo>
                    <a:pt x="1132" y="342"/>
                  </a:lnTo>
                  <a:lnTo>
                    <a:pt x="1151" y="332"/>
                  </a:lnTo>
                  <a:lnTo>
                    <a:pt x="1142" y="322"/>
                  </a:lnTo>
                  <a:lnTo>
                    <a:pt x="1142" y="313"/>
                  </a:lnTo>
                  <a:lnTo>
                    <a:pt x="1132" y="313"/>
                  </a:lnTo>
                  <a:lnTo>
                    <a:pt x="1122" y="303"/>
                  </a:lnTo>
                  <a:lnTo>
                    <a:pt x="1132" y="293"/>
                  </a:lnTo>
                  <a:lnTo>
                    <a:pt x="1142" y="293"/>
                  </a:lnTo>
                  <a:lnTo>
                    <a:pt x="1161" y="293"/>
                  </a:lnTo>
                  <a:lnTo>
                    <a:pt x="1190" y="274"/>
                  </a:lnTo>
                  <a:lnTo>
                    <a:pt x="1229" y="254"/>
                  </a:lnTo>
                  <a:lnTo>
                    <a:pt x="1259" y="244"/>
                  </a:lnTo>
                  <a:lnTo>
                    <a:pt x="1288" y="225"/>
                  </a:lnTo>
                  <a:lnTo>
                    <a:pt x="1317" y="215"/>
                  </a:lnTo>
                  <a:lnTo>
                    <a:pt x="1337" y="215"/>
                  </a:lnTo>
                  <a:lnTo>
                    <a:pt x="1317" y="235"/>
                  </a:lnTo>
                  <a:lnTo>
                    <a:pt x="1298" y="244"/>
                  </a:lnTo>
                  <a:lnTo>
                    <a:pt x="1288" y="254"/>
                  </a:lnTo>
                  <a:lnTo>
                    <a:pt x="1278" y="254"/>
                  </a:lnTo>
                  <a:lnTo>
                    <a:pt x="1269" y="264"/>
                  </a:lnTo>
                  <a:lnTo>
                    <a:pt x="1278" y="274"/>
                  </a:lnTo>
                  <a:lnTo>
                    <a:pt x="1269" y="283"/>
                  </a:lnTo>
                  <a:lnTo>
                    <a:pt x="1278" y="293"/>
                  </a:lnTo>
                  <a:lnTo>
                    <a:pt x="1288" y="283"/>
                  </a:lnTo>
                  <a:lnTo>
                    <a:pt x="1288" y="264"/>
                  </a:lnTo>
                  <a:lnTo>
                    <a:pt x="1308" y="244"/>
                  </a:lnTo>
                  <a:lnTo>
                    <a:pt x="1327" y="235"/>
                  </a:lnTo>
                  <a:lnTo>
                    <a:pt x="1347" y="235"/>
                  </a:lnTo>
                  <a:lnTo>
                    <a:pt x="1347" y="244"/>
                  </a:lnTo>
                  <a:lnTo>
                    <a:pt x="1347" y="264"/>
                  </a:lnTo>
                  <a:lnTo>
                    <a:pt x="1347" y="283"/>
                  </a:lnTo>
                  <a:lnTo>
                    <a:pt x="1337" y="264"/>
                  </a:lnTo>
                  <a:lnTo>
                    <a:pt x="1337" y="254"/>
                  </a:lnTo>
                  <a:lnTo>
                    <a:pt x="1327" y="264"/>
                  </a:lnTo>
                  <a:lnTo>
                    <a:pt x="1317" y="254"/>
                  </a:lnTo>
                  <a:lnTo>
                    <a:pt x="1308" y="254"/>
                  </a:lnTo>
                  <a:lnTo>
                    <a:pt x="1317" y="274"/>
                  </a:lnTo>
                  <a:lnTo>
                    <a:pt x="1337" y="274"/>
                  </a:lnTo>
                  <a:lnTo>
                    <a:pt x="1337" y="283"/>
                  </a:lnTo>
                  <a:lnTo>
                    <a:pt x="1337" y="293"/>
                  </a:lnTo>
                  <a:lnTo>
                    <a:pt x="1317" y="293"/>
                  </a:lnTo>
                  <a:lnTo>
                    <a:pt x="1317" y="303"/>
                  </a:lnTo>
                  <a:lnTo>
                    <a:pt x="1327" y="303"/>
                  </a:lnTo>
                  <a:lnTo>
                    <a:pt x="1337" y="322"/>
                  </a:lnTo>
                  <a:lnTo>
                    <a:pt x="1347" y="313"/>
                  </a:lnTo>
                  <a:lnTo>
                    <a:pt x="1356" y="303"/>
                  </a:lnTo>
                  <a:lnTo>
                    <a:pt x="1356" y="274"/>
                  </a:lnTo>
                  <a:lnTo>
                    <a:pt x="1356" y="244"/>
                  </a:lnTo>
                  <a:lnTo>
                    <a:pt x="1347" y="235"/>
                  </a:lnTo>
                  <a:lnTo>
                    <a:pt x="1347" y="205"/>
                  </a:lnTo>
                  <a:lnTo>
                    <a:pt x="1386" y="186"/>
                  </a:lnTo>
                  <a:lnTo>
                    <a:pt x="1405" y="176"/>
                  </a:lnTo>
                  <a:lnTo>
                    <a:pt x="1444" y="176"/>
                  </a:lnTo>
                  <a:lnTo>
                    <a:pt x="1464" y="176"/>
                  </a:lnTo>
                  <a:lnTo>
                    <a:pt x="1464" y="186"/>
                  </a:lnTo>
                  <a:lnTo>
                    <a:pt x="1464" y="205"/>
                  </a:lnTo>
                  <a:lnTo>
                    <a:pt x="1454" y="205"/>
                  </a:lnTo>
                  <a:lnTo>
                    <a:pt x="1444" y="196"/>
                  </a:lnTo>
                  <a:lnTo>
                    <a:pt x="1444" y="215"/>
                  </a:lnTo>
                  <a:lnTo>
                    <a:pt x="1444" y="225"/>
                  </a:lnTo>
                  <a:lnTo>
                    <a:pt x="1464" y="215"/>
                  </a:lnTo>
                  <a:lnTo>
                    <a:pt x="1483" y="196"/>
                  </a:lnTo>
                  <a:lnTo>
                    <a:pt x="1493" y="205"/>
                  </a:lnTo>
                  <a:lnTo>
                    <a:pt x="1493" y="215"/>
                  </a:lnTo>
                  <a:lnTo>
                    <a:pt x="1503" y="205"/>
                  </a:lnTo>
                  <a:lnTo>
                    <a:pt x="1512" y="196"/>
                  </a:lnTo>
                  <a:lnTo>
                    <a:pt x="1522" y="215"/>
                  </a:lnTo>
                  <a:lnTo>
                    <a:pt x="1532" y="205"/>
                  </a:lnTo>
                  <a:lnTo>
                    <a:pt x="1532" y="196"/>
                  </a:lnTo>
                  <a:lnTo>
                    <a:pt x="1542" y="186"/>
                  </a:lnTo>
                  <a:lnTo>
                    <a:pt x="1571" y="196"/>
                  </a:lnTo>
                  <a:lnTo>
                    <a:pt x="1590" y="205"/>
                  </a:lnTo>
                  <a:lnTo>
                    <a:pt x="1590" y="215"/>
                  </a:lnTo>
                  <a:lnTo>
                    <a:pt x="1600" y="205"/>
                  </a:lnTo>
                  <a:lnTo>
                    <a:pt x="1629" y="196"/>
                  </a:lnTo>
                  <a:lnTo>
                    <a:pt x="1639" y="186"/>
                  </a:lnTo>
                  <a:lnTo>
                    <a:pt x="1639" y="176"/>
                  </a:lnTo>
                  <a:lnTo>
                    <a:pt x="1649" y="166"/>
                  </a:lnTo>
                  <a:lnTo>
                    <a:pt x="1659" y="156"/>
                  </a:lnTo>
                  <a:lnTo>
                    <a:pt x="1668" y="117"/>
                  </a:lnTo>
                  <a:lnTo>
                    <a:pt x="1688" y="98"/>
                  </a:lnTo>
                  <a:lnTo>
                    <a:pt x="1707" y="78"/>
                  </a:lnTo>
                  <a:lnTo>
                    <a:pt x="1727" y="59"/>
                  </a:lnTo>
                  <a:lnTo>
                    <a:pt x="1737" y="49"/>
                  </a:lnTo>
                  <a:lnTo>
                    <a:pt x="1776" y="30"/>
                  </a:lnTo>
                  <a:lnTo>
                    <a:pt x="1805" y="20"/>
                  </a:lnTo>
                  <a:lnTo>
                    <a:pt x="1825" y="20"/>
                  </a:lnTo>
                  <a:lnTo>
                    <a:pt x="1854" y="20"/>
                  </a:lnTo>
                  <a:lnTo>
                    <a:pt x="1854" y="30"/>
                  </a:lnTo>
                  <a:lnTo>
                    <a:pt x="1873" y="30"/>
                  </a:lnTo>
                  <a:lnTo>
                    <a:pt x="1883" y="39"/>
                  </a:lnTo>
                  <a:lnTo>
                    <a:pt x="1883" y="49"/>
                  </a:lnTo>
                  <a:lnTo>
                    <a:pt x="1893" y="59"/>
                  </a:lnTo>
                  <a:lnTo>
                    <a:pt x="1893" y="69"/>
                  </a:lnTo>
                  <a:lnTo>
                    <a:pt x="1903" y="69"/>
                  </a:lnTo>
                  <a:lnTo>
                    <a:pt x="1912" y="69"/>
                  </a:lnTo>
                  <a:lnTo>
                    <a:pt x="1932" y="69"/>
                  </a:lnTo>
                  <a:lnTo>
                    <a:pt x="1951" y="59"/>
                  </a:lnTo>
                  <a:lnTo>
                    <a:pt x="1971" y="69"/>
                  </a:lnTo>
                  <a:lnTo>
                    <a:pt x="1981" y="69"/>
                  </a:lnTo>
                  <a:lnTo>
                    <a:pt x="1981" y="59"/>
                  </a:lnTo>
                  <a:lnTo>
                    <a:pt x="1981" y="49"/>
                  </a:lnTo>
                  <a:lnTo>
                    <a:pt x="1990" y="49"/>
                  </a:lnTo>
                  <a:lnTo>
                    <a:pt x="2000" y="49"/>
                  </a:lnTo>
                  <a:lnTo>
                    <a:pt x="1990" y="30"/>
                  </a:lnTo>
                  <a:lnTo>
                    <a:pt x="1990" y="20"/>
                  </a:lnTo>
                  <a:lnTo>
                    <a:pt x="1990" y="0"/>
                  </a:lnTo>
                  <a:lnTo>
                    <a:pt x="2000" y="10"/>
                  </a:lnTo>
                  <a:lnTo>
                    <a:pt x="2010" y="30"/>
                  </a:lnTo>
                  <a:lnTo>
                    <a:pt x="2020" y="20"/>
                  </a:lnTo>
                  <a:lnTo>
                    <a:pt x="2039" y="30"/>
                  </a:lnTo>
                  <a:lnTo>
                    <a:pt x="2039" y="39"/>
                  </a:lnTo>
                  <a:lnTo>
                    <a:pt x="2068" y="49"/>
                  </a:lnTo>
                  <a:lnTo>
                    <a:pt x="2068" y="59"/>
                  </a:lnTo>
                  <a:lnTo>
                    <a:pt x="2088" y="69"/>
                  </a:lnTo>
                  <a:lnTo>
                    <a:pt x="2107" y="69"/>
                  </a:lnTo>
                  <a:lnTo>
                    <a:pt x="2107" y="88"/>
                  </a:lnTo>
                  <a:lnTo>
                    <a:pt x="2098" y="98"/>
                  </a:lnTo>
                  <a:lnTo>
                    <a:pt x="2078" y="117"/>
                  </a:lnTo>
                  <a:lnTo>
                    <a:pt x="2078" y="137"/>
                  </a:lnTo>
                  <a:lnTo>
                    <a:pt x="2078" y="166"/>
                  </a:lnTo>
                  <a:lnTo>
                    <a:pt x="2059" y="186"/>
                  </a:lnTo>
                  <a:lnTo>
                    <a:pt x="2059" y="196"/>
                  </a:lnTo>
                  <a:lnTo>
                    <a:pt x="2049" y="205"/>
                  </a:lnTo>
                  <a:lnTo>
                    <a:pt x="2029" y="235"/>
                  </a:lnTo>
                  <a:lnTo>
                    <a:pt x="2029" y="244"/>
                  </a:lnTo>
                  <a:lnTo>
                    <a:pt x="2029" y="264"/>
                  </a:lnTo>
                  <a:lnTo>
                    <a:pt x="2049" y="264"/>
                  </a:lnTo>
                  <a:lnTo>
                    <a:pt x="2039" y="293"/>
                  </a:lnTo>
                  <a:lnTo>
                    <a:pt x="2049" y="303"/>
                  </a:lnTo>
                  <a:lnTo>
                    <a:pt x="2078" y="313"/>
                  </a:lnTo>
                  <a:lnTo>
                    <a:pt x="2117" y="303"/>
                  </a:lnTo>
                  <a:lnTo>
                    <a:pt x="2146" y="303"/>
                  </a:lnTo>
                  <a:lnTo>
                    <a:pt x="2156" y="322"/>
                  </a:lnTo>
                  <a:lnTo>
                    <a:pt x="2166" y="352"/>
                  </a:lnTo>
                  <a:lnTo>
                    <a:pt x="2176" y="361"/>
                  </a:lnTo>
                  <a:lnTo>
                    <a:pt x="2185" y="371"/>
                  </a:lnTo>
                  <a:lnTo>
                    <a:pt x="2195" y="381"/>
                  </a:lnTo>
                  <a:lnTo>
                    <a:pt x="2185" y="400"/>
                  </a:lnTo>
                  <a:lnTo>
                    <a:pt x="2185" y="439"/>
                  </a:lnTo>
                  <a:lnTo>
                    <a:pt x="2146" y="439"/>
                  </a:lnTo>
                  <a:lnTo>
                    <a:pt x="2146" y="449"/>
                  </a:lnTo>
                  <a:lnTo>
                    <a:pt x="2146" y="459"/>
                  </a:lnTo>
                  <a:lnTo>
                    <a:pt x="2137" y="469"/>
                  </a:lnTo>
                  <a:lnTo>
                    <a:pt x="2107" y="488"/>
                  </a:lnTo>
                  <a:lnTo>
                    <a:pt x="2098" y="488"/>
                  </a:lnTo>
                  <a:lnTo>
                    <a:pt x="2098" y="508"/>
                  </a:lnTo>
                  <a:lnTo>
                    <a:pt x="2068" y="508"/>
                  </a:lnTo>
                  <a:lnTo>
                    <a:pt x="2068" y="517"/>
                  </a:lnTo>
                  <a:lnTo>
                    <a:pt x="2078" y="527"/>
                  </a:lnTo>
                  <a:lnTo>
                    <a:pt x="2098" y="537"/>
                  </a:lnTo>
                  <a:lnTo>
                    <a:pt x="2098" y="557"/>
                  </a:lnTo>
                  <a:lnTo>
                    <a:pt x="2078" y="566"/>
                  </a:lnTo>
                  <a:lnTo>
                    <a:pt x="2068" y="576"/>
                  </a:lnTo>
                  <a:lnTo>
                    <a:pt x="2107" y="596"/>
                  </a:lnTo>
                  <a:lnTo>
                    <a:pt x="2107" y="615"/>
                  </a:lnTo>
                  <a:lnTo>
                    <a:pt x="2098" y="625"/>
                  </a:lnTo>
                  <a:lnTo>
                    <a:pt x="2088" y="635"/>
                  </a:lnTo>
                  <a:lnTo>
                    <a:pt x="2088" y="654"/>
                  </a:lnTo>
                  <a:lnTo>
                    <a:pt x="2098" y="674"/>
                  </a:lnTo>
                  <a:lnTo>
                    <a:pt x="2127" y="683"/>
                  </a:lnTo>
                  <a:lnTo>
                    <a:pt x="2137" y="693"/>
                  </a:lnTo>
                  <a:lnTo>
                    <a:pt x="2137" y="722"/>
                  </a:lnTo>
                  <a:lnTo>
                    <a:pt x="2146" y="732"/>
                  </a:lnTo>
                  <a:lnTo>
                    <a:pt x="2146" y="742"/>
                  </a:lnTo>
                  <a:lnTo>
                    <a:pt x="2127" y="742"/>
                  </a:lnTo>
                  <a:lnTo>
                    <a:pt x="2117" y="791"/>
                  </a:lnTo>
                  <a:lnTo>
                    <a:pt x="2107" y="791"/>
                  </a:lnTo>
                  <a:lnTo>
                    <a:pt x="2098" y="800"/>
                  </a:lnTo>
                  <a:lnTo>
                    <a:pt x="2098" y="810"/>
                  </a:lnTo>
                  <a:lnTo>
                    <a:pt x="2088" y="830"/>
                  </a:lnTo>
                  <a:lnTo>
                    <a:pt x="2068" y="820"/>
                  </a:lnTo>
                  <a:lnTo>
                    <a:pt x="2068" y="810"/>
                  </a:lnTo>
                  <a:lnTo>
                    <a:pt x="2049" y="810"/>
                  </a:lnTo>
                  <a:lnTo>
                    <a:pt x="2049" y="830"/>
                  </a:lnTo>
                  <a:lnTo>
                    <a:pt x="2039" y="839"/>
                  </a:lnTo>
                  <a:lnTo>
                    <a:pt x="2020" y="839"/>
                  </a:lnTo>
                  <a:lnTo>
                    <a:pt x="2010" y="849"/>
                  </a:lnTo>
                  <a:lnTo>
                    <a:pt x="2000" y="849"/>
                  </a:lnTo>
                  <a:lnTo>
                    <a:pt x="1990" y="849"/>
                  </a:lnTo>
                  <a:lnTo>
                    <a:pt x="1990" y="859"/>
                  </a:lnTo>
                  <a:lnTo>
                    <a:pt x="2000" y="869"/>
                  </a:lnTo>
                  <a:lnTo>
                    <a:pt x="2010" y="869"/>
                  </a:lnTo>
                  <a:lnTo>
                    <a:pt x="2020" y="898"/>
                  </a:lnTo>
                  <a:lnTo>
                    <a:pt x="2020" y="908"/>
                  </a:lnTo>
                  <a:lnTo>
                    <a:pt x="2010" y="918"/>
                  </a:lnTo>
                  <a:lnTo>
                    <a:pt x="2000" y="908"/>
                  </a:lnTo>
                  <a:lnTo>
                    <a:pt x="1981" y="908"/>
                  </a:lnTo>
                  <a:lnTo>
                    <a:pt x="1981" y="927"/>
                  </a:lnTo>
                  <a:lnTo>
                    <a:pt x="1961" y="927"/>
                  </a:lnTo>
                  <a:lnTo>
                    <a:pt x="1951" y="937"/>
                  </a:lnTo>
                  <a:lnTo>
                    <a:pt x="1942" y="947"/>
                  </a:lnTo>
                  <a:lnTo>
                    <a:pt x="1942" y="966"/>
                  </a:lnTo>
                  <a:lnTo>
                    <a:pt x="1951" y="976"/>
                  </a:lnTo>
                  <a:lnTo>
                    <a:pt x="1942" y="996"/>
                  </a:lnTo>
                  <a:lnTo>
                    <a:pt x="1942" y="1005"/>
                  </a:lnTo>
                  <a:lnTo>
                    <a:pt x="1951" y="1025"/>
                  </a:lnTo>
                  <a:lnTo>
                    <a:pt x="1971" y="1064"/>
                  </a:lnTo>
                  <a:lnTo>
                    <a:pt x="1981" y="1083"/>
                  </a:lnTo>
                  <a:lnTo>
                    <a:pt x="2000" y="1093"/>
                  </a:lnTo>
                  <a:lnTo>
                    <a:pt x="2000" y="1103"/>
                  </a:lnTo>
                  <a:lnTo>
                    <a:pt x="2020" y="1122"/>
                  </a:lnTo>
                  <a:lnTo>
                    <a:pt x="2010" y="1132"/>
                  </a:lnTo>
                  <a:lnTo>
                    <a:pt x="2029" y="1152"/>
                  </a:lnTo>
                  <a:lnTo>
                    <a:pt x="2029" y="1181"/>
                  </a:lnTo>
                  <a:lnTo>
                    <a:pt x="2020" y="1191"/>
                  </a:lnTo>
                  <a:lnTo>
                    <a:pt x="2020" y="1210"/>
                  </a:lnTo>
                  <a:lnTo>
                    <a:pt x="2020" y="1230"/>
                  </a:lnTo>
                  <a:lnTo>
                    <a:pt x="2010" y="1230"/>
                  </a:lnTo>
                  <a:lnTo>
                    <a:pt x="2010" y="1220"/>
                  </a:lnTo>
                  <a:lnTo>
                    <a:pt x="2000" y="1210"/>
                  </a:lnTo>
                  <a:lnTo>
                    <a:pt x="1990" y="1220"/>
                  </a:lnTo>
                  <a:lnTo>
                    <a:pt x="1990" y="1230"/>
                  </a:lnTo>
                  <a:lnTo>
                    <a:pt x="1981" y="1239"/>
                  </a:lnTo>
                  <a:lnTo>
                    <a:pt x="1971" y="1220"/>
                  </a:lnTo>
                  <a:lnTo>
                    <a:pt x="1951" y="1239"/>
                  </a:lnTo>
                  <a:lnTo>
                    <a:pt x="1961" y="1259"/>
                  </a:lnTo>
                  <a:lnTo>
                    <a:pt x="1951" y="1269"/>
                  </a:lnTo>
                  <a:lnTo>
                    <a:pt x="1932" y="1279"/>
                  </a:lnTo>
                  <a:lnTo>
                    <a:pt x="1912" y="1269"/>
                  </a:lnTo>
                  <a:lnTo>
                    <a:pt x="1893" y="1279"/>
                  </a:lnTo>
                  <a:lnTo>
                    <a:pt x="1873" y="1269"/>
                  </a:lnTo>
                  <a:lnTo>
                    <a:pt x="1854" y="1269"/>
                  </a:lnTo>
                  <a:lnTo>
                    <a:pt x="1844" y="1279"/>
                  </a:lnTo>
                  <a:lnTo>
                    <a:pt x="1834" y="1279"/>
                  </a:lnTo>
                  <a:lnTo>
                    <a:pt x="1825" y="1269"/>
                  </a:lnTo>
                  <a:lnTo>
                    <a:pt x="1815" y="1279"/>
                  </a:lnTo>
                  <a:lnTo>
                    <a:pt x="1825" y="1288"/>
                  </a:lnTo>
                  <a:lnTo>
                    <a:pt x="1815" y="1308"/>
                  </a:lnTo>
                  <a:lnTo>
                    <a:pt x="1825" y="1347"/>
                  </a:lnTo>
                  <a:lnTo>
                    <a:pt x="1834" y="1357"/>
                  </a:lnTo>
                  <a:lnTo>
                    <a:pt x="1834" y="1386"/>
                  </a:lnTo>
                  <a:lnTo>
                    <a:pt x="1825" y="1405"/>
                  </a:lnTo>
                  <a:lnTo>
                    <a:pt x="1815" y="1425"/>
                  </a:lnTo>
                  <a:lnTo>
                    <a:pt x="1815" y="1444"/>
                  </a:lnTo>
                  <a:lnTo>
                    <a:pt x="1805" y="1454"/>
                  </a:lnTo>
                  <a:lnTo>
                    <a:pt x="1805" y="1483"/>
                  </a:lnTo>
                  <a:lnTo>
                    <a:pt x="1805" y="1513"/>
                  </a:lnTo>
                  <a:lnTo>
                    <a:pt x="1834" y="1532"/>
                  </a:lnTo>
                  <a:lnTo>
                    <a:pt x="1844" y="1571"/>
                  </a:lnTo>
                  <a:lnTo>
                    <a:pt x="1854" y="1581"/>
                  </a:lnTo>
                  <a:lnTo>
                    <a:pt x="1873" y="1591"/>
                  </a:lnTo>
                  <a:lnTo>
                    <a:pt x="1873" y="1610"/>
                  </a:lnTo>
                  <a:lnTo>
                    <a:pt x="1873" y="1620"/>
                  </a:lnTo>
                  <a:lnTo>
                    <a:pt x="1864" y="1630"/>
                  </a:lnTo>
                  <a:lnTo>
                    <a:pt x="1864" y="1659"/>
                  </a:lnTo>
                  <a:lnTo>
                    <a:pt x="1854" y="1679"/>
                  </a:lnTo>
                  <a:lnTo>
                    <a:pt x="1834" y="1698"/>
                  </a:lnTo>
                  <a:lnTo>
                    <a:pt x="1815" y="1698"/>
                  </a:lnTo>
                  <a:lnTo>
                    <a:pt x="1805" y="1708"/>
                  </a:lnTo>
                  <a:lnTo>
                    <a:pt x="1785" y="1708"/>
                  </a:lnTo>
                  <a:lnTo>
                    <a:pt x="1776" y="1708"/>
                  </a:lnTo>
                  <a:lnTo>
                    <a:pt x="1766" y="1727"/>
                  </a:lnTo>
                  <a:lnTo>
                    <a:pt x="1766" y="1747"/>
                  </a:lnTo>
                  <a:lnTo>
                    <a:pt x="1766" y="1757"/>
                  </a:lnTo>
                  <a:lnTo>
                    <a:pt x="1756" y="1766"/>
                  </a:lnTo>
                  <a:lnTo>
                    <a:pt x="1737" y="1776"/>
                  </a:lnTo>
                  <a:lnTo>
                    <a:pt x="1727" y="1776"/>
                  </a:lnTo>
                  <a:lnTo>
                    <a:pt x="1717" y="1796"/>
                  </a:lnTo>
                  <a:lnTo>
                    <a:pt x="1698" y="1786"/>
                  </a:lnTo>
                  <a:lnTo>
                    <a:pt x="1688" y="1796"/>
                  </a:lnTo>
                  <a:lnTo>
                    <a:pt x="1668" y="1796"/>
                  </a:lnTo>
                  <a:lnTo>
                    <a:pt x="1649" y="1805"/>
                  </a:lnTo>
                  <a:lnTo>
                    <a:pt x="1649" y="1835"/>
                  </a:lnTo>
                  <a:lnTo>
                    <a:pt x="1649" y="1854"/>
                  </a:lnTo>
                  <a:lnTo>
                    <a:pt x="1639" y="1864"/>
                  </a:lnTo>
                  <a:lnTo>
                    <a:pt x="1649" y="1913"/>
                  </a:lnTo>
                  <a:lnTo>
                    <a:pt x="1639" y="1913"/>
                  </a:lnTo>
                  <a:lnTo>
                    <a:pt x="1639" y="1922"/>
                  </a:lnTo>
                  <a:lnTo>
                    <a:pt x="1649" y="1932"/>
                  </a:lnTo>
                  <a:lnTo>
                    <a:pt x="1649" y="1942"/>
                  </a:lnTo>
                  <a:lnTo>
                    <a:pt x="1649" y="1952"/>
                  </a:lnTo>
                  <a:lnTo>
                    <a:pt x="1649" y="1961"/>
                  </a:lnTo>
                  <a:lnTo>
                    <a:pt x="1629" y="1961"/>
                  </a:lnTo>
                  <a:lnTo>
                    <a:pt x="1620" y="1961"/>
                  </a:lnTo>
                  <a:lnTo>
                    <a:pt x="1629" y="1971"/>
                  </a:lnTo>
                  <a:lnTo>
                    <a:pt x="1649" y="1981"/>
                  </a:lnTo>
                  <a:lnTo>
                    <a:pt x="1659" y="1991"/>
                  </a:lnTo>
                  <a:lnTo>
                    <a:pt x="1678" y="2001"/>
                  </a:lnTo>
                  <a:lnTo>
                    <a:pt x="1668" y="2020"/>
                  </a:lnTo>
                  <a:lnTo>
                    <a:pt x="1659" y="2049"/>
                  </a:lnTo>
                  <a:lnTo>
                    <a:pt x="1659" y="2069"/>
                  </a:lnTo>
                  <a:lnTo>
                    <a:pt x="1678" y="2069"/>
                  </a:lnTo>
                  <a:lnTo>
                    <a:pt x="1698" y="2088"/>
                  </a:lnTo>
                  <a:lnTo>
                    <a:pt x="1707" y="2098"/>
                  </a:lnTo>
                  <a:lnTo>
                    <a:pt x="1707" y="2108"/>
                  </a:lnTo>
                  <a:lnTo>
                    <a:pt x="1707" y="2127"/>
                  </a:lnTo>
                  <a:lnTo>
                    <a:pt x="1698" y="2137"/>
                  </a:lnTo>
                  <a:lnTo>
                    <a:pt x="1698" y="2157"/>
                  </a:lnTo>
                  <a:lnTo>
                    <a:pt x="1698" y="2166"/>
                  </a:lnTo>
                  <a:lnTo>
                    <a:pt x="1688" y="2186"/>
                  </a:lnTo>
                  <a:lnTo>
                    <a:pt x="1688" y="2205"/>
                  </a:lnTo>
                  <a:lnTo>
                    <a:pt x="1707" y="2225"/>
                  </a:lnTo>
                  <a:lnTo>
                    <a:pt x="1659" y="2244"/>
                  </a:lnTo>
                  <a:lnTo>
                    <a:pt x="1629" y="2254"/>
                  </a:lnTo>
                  <a:lnTo>
                    <a:pt x="1590" y="2274"/>
                  </a:lnTo>
                  <a:lnTo>
                    <a:pt x="1590" y="2293"/>
                  </a:lnTo>
                  <a:lnTo>
                    <a:pt x="1600" y="2303"/>
                  </a:lnTo>
                  <a:lnTo>
                    <a:pt x="1590" y="2313"/>
                  </a:lnTo>
                  <a:lnTo>
                    <a:pt x="1551" y="2322"/>
                  </a:lnTo>
                  <a:lnTo>
                    <a:pt x="1532" y="2322"/>
                  </a:lnTo>
                  <a:lnTo>
                    <a:pt x="1522" y="2322"/>
                  </a:lnTo>
                  <a:lnTo>
                    <a:pt x="1512" y="2322"/>
                  </a:lnTo>
                  <a:lnTo>
                    <a:pt x="1512" y="2342"/>
                  </a:lnTo>
                  <a:lnTo>
                    <a:pt x="1493" y="2342"/>
                  </a:lnTo>
                  <a:lnTo>
                    <a:pt x="1493" y="2332"/>
                  </a:lnTo>
                  <a:lnTo>
                    <a:pt x="1483" y="2342"/>
                  </a:lnTo>
                  <a:lnTo>
                    <a:pt x="1473" y="2342"/>
                  </a:lnTo>
                  <a:lnTo>
                    <a:pt x="1454" y="2342"/>
                  </a:lnTo>
                  <a:lnTo>
                    <a:pt x="1444" y="2362"/>
                  </a:lnTo>
                  <a:lnTo>
                    <a:pt x="1425" y="2362"/>
                  </a:lnTo>
                  <a:lnTo>
                    <a:pt x="1415" y="2352"/>
                  </a:lnTo>
                  <a:lnTo>
                    <a:pt x="1405" y="2342"/>
                  </a:lnTo>
                  <a:lnTo>
                    <a:pt x="1395" y="2352"/>
                  </a:lnTo>
                  <a:lnTo>
                    <a:pt x="1386" y="2352"/>
                  </a:lnTo>
                  <a:lnTo>
                    <a:pt x="1356" y="2352"/>
                  </a:lnTo>
                  <a:lnTo>
                    <a:pt x="1327" y="2362"/>
                  </a:lnTo>
                  <a:lnTo>
                    <a:pt x="1308" y="2371"/>
                  </a:lnTo>
                  <a:lnTo>
                    <a:pt x="1298" y="2362"/>
                  </a:lnTo>
                  <a:lnTo>
                    <a:pt x="1278" y="2342"/>
                  </a:lnTo>
                  <a:lnTo>
                    <a:pt x="1259" y="2332"/>
                  </a:lnTo>
                  <a:lnTo>
                    <a:pt x="1239" y="2332"/>
                  </a:lnTo>
                  <a:lnTo>
                    <a:pt x="1220" y="2332"/>
                  </a:lnTo>
                  <a:lnTo>
                    <a:pt x="1190" y="2332"/>
                  </a:lnTo>
                  <a:lnTo>
                    <a:pt x="1181" y="2332"/>
                  </a:lnTo>
                  <a:lnTo>
                    <a:pt x="1181" y="2352"/>
                  </a:lnTo>
                  <a:lnTo>
                    <a:pt x="1161" y="2352"/>
                  </a:lnTo>
                  <a:lnTo>
                    <a:pt x="1142" y="2342"/>
                  </a:lnTo>
                  <a:lnTo>
                    <a:pt x="1132" y="2322"/>
                  </a:lnTo>
                  <a:lnTo>
                    <a:pt x="1112" y="2342"/>
                  </a:lnTo>
                  <a:lnTo>
                    <a:pt x="1093" y="2332"/>
                  </a:lnTo>
                  <a:lnTo>
                    <a:pt x="1083" y="2322"/>
                  </a:lnTo>
                  <a:lnTo>
                    <a:pt x="1064" y="2322"/>
                  </a:lnTo>
                  <a:lnTo>
                    <a:pt x="1044" y="2322"/>
                  </a:lnTo>
                  <a:lnTo>
                    <a:pt x="1015" y="2332"/>
                  </a:lnTo>
                  <a:lnTo>
                    <a:pt x="1005" y="2342"/>
                  </a:lnTo>
                  <a:lnTo>
                    <a:pt x="995" y="2352"/>
                  </a:lnTo>
                  <a:lnTo>
                    <a:pt x="976" y="2342"/>
                  </a:lnTo>
                  <a:lnTo>
                    <a:pt x="947" y="2303"/>
                  </a:lnTo>
                  <a:lnTo>
                    <a:pt x="947" y="2283"/>
                  </a:lnTo>
                  <a:lnTo>
                    <a:pt x="937" y="2283"/>
                  </a:lnTo>
                  <a:close/>
                </a:path>
              </a:pathLst>
            </a:custGeom>
            <a:solidFill>
              <a:srgbClr val="FEE950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9" name="Freeform 284"/>
            <p:cNvSpPr>
              <a:spLocks/>
            </p:cNvSpPr>
            <p:nvPr/>
          </p:nvSpPr>
          <p:spPr bwMode="auto">
            <a:xfrm>
              <a:off x="7550" y="1220"/>
              <a:ext cx="839" cy="1046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97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9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3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5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20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3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29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87"/>
                  </a:lnTo>
                  <a:lnTo>
                    <a:pt x="117" y="48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58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97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4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83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29"/>
                  </a:lnTo>
                  <a:lnTo>
                    <a:pt x="64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90" y="38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819" y="23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7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39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5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  <a:lnTo>
                    <a:pt x="253" y="4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67" name="Group 281"/>
            <p:cNvGrpSpPr>
              <a:grpSpLocks/>
            </p:cNvGrpSpPr>
            <p:nvPr/>
          </p:nvGrpSpPr>
          <p:grpSpPr bwMode="auto">
            <a:xfrm>
              <a:off x="7549" y="1220"/>
              <a:ext cx="839" cy="1044"/>
              <a:chOff x="7550" y="1220"/>
              <a:chExt cx="839" cy="1044"/>
            </a:xfrm>
          </p:grpSpPr>
          <p:sp>
            <p:nvSpPr>
              <p:cNvPr id="369" name="Freeform 283"/>
              <p:cNvSpPr>
                <a:spLocks/>
              </p:cNvSpPr>
              <p:nvPr/>
            </p:nvSpPr>
            <p:spPr bwMode="auto">
              <a:xfrm>
                <a:off x="7551" y="1220"/>
                <a:ext cx="839" cy="1046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  <a:lnTo>
                      <a:pt x="253" y="48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0" name="Freeform 282"/>
              <p:cNvSpPr>
                <a:spLocks/>
              </p:cNvSpPr>
              <p:nvPr/>
            </p:nvSpPr>
            <p:spPr bwMode="auto">
              <a:xfrm>
                <a:off x="7551" y="1220"/>
                <a:ext cx="839" cy="1046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11" name="Freeform 280"/>
            <p:cNvSpPr>
              <a:spLocks/>
            </p:cNvSpPr>
            <p:nvPr/>
          </p:nvSpPr>
          <p:spPr bwMode="auto">
            <a:xfrm>
              <a:off x="8135" y="2138"/>
              <a:ext cx="8" cy="17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69" name="Group 277"/>
            <p:cNvGrpSpPr>
              <a:grpSpLocks/>
            </p:cNvGrpSpPr>
            <p:nvPr/>
          </p:nvGrpSpPr>
          <p:grpSpPr bwMode="auto">
            <a:xfrm>
              <a:off x="8134" y="2137"/>
              <a:ext cx="10" cy="19"/>
              <a:chOff x="8135" y="2137"/>
              <a:chExt cx="10" cy="19"/>
            </a:xfrm>
          </p:grpSpPr>
          <p:sp>
            <p:nvSpPr>
              <p:cNvPr id="367" name="Freeform 279"/>
              <p:cNvSpPr>
                <a:spLocks/>
              </p:cNvSpPr>
              <p:nvPr/>
            </p:nvSpPr>
            <p:spPr bwMode="auto">
              <a:xfrm>
                <a:off x="8136" y="2138"/>
                <a:ext cx="8" cy="17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8" name="Freeform 278"/>
              <p:cNvSpPr>
                <a:spLocks/>
              </p:cNvSpPr>
              <p:nvPr/>
            </p:nvSpPr>
            <p:spPr bwMode="auto">
              <a:xfrm>
                <a:off x="8136" y="2138"/>
                <a:ext cx="8" cy="17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13" name="Freeform 276"/>
            <p:cNvSpPr>
              <a:spLocks/>
            </p:cNvSpPr>
            <p:nvPr/>
          </p:nvSpPr>
          <p:spPr bwMode="auto">
            <a:xfrm>
              <a:off x="8633" y="1737"/>
              <a:ext cx="487" cy="770"/>
            </a:xfrm>
            <a:custGeom>
              <a:avLst/>
              <a:gdLst>
                <a:gd name="T0" fmla="*/ 29 w 487"/>
                <a:gd name="T1" fmla="*/ 449 h 770"/>
                <a:gd name="T2" fmla="*/ 5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8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5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3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5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61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58" y="31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51" y="283"/>
                  </a:lnTo>
                  <a:lnTo>
                    <a:pt x="35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8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51"/>
                  </a:lnTo>
                  <a:lnTo>
                    <a:pt x="448" y="75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3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71" name="Group 273"/>
            <p:cNvGrpSpPr>
              <a:grpSpLocks/>
            </p:cNvGrpSpPr>
            <p:nvPr/>
          </p:nvGrpSpPr>
          <p:grpSpPr bwMode="auto">
            <a:xfrm>
              <a:off x="8632" y="1737"/>
              <a:ext cx="487" cy="770"/>
              <a:chOff x="8633" y="1737"/>
              <a:chExt cx="487" cy="770"/>
            </a:xfrm>
          </p:grpSpPr>
          <p:sp>
            <p:nvSpPr>
              <p:cNvPr id="365" name="Freeform 275"/>
              <p:cNvSpPr>
                <a:spLocks/>
              </p:cNvSpPr>
              <p:nvPr/>
            </p:nvSpPr>
            <p:spPr bwMode="auto">
              <a:xfrm>
                <a:off x="8634" y="1737"/>
                <a:ext cx="487" cy="770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6" name="Freeform 274"/>
              <p:cNvSpPr>
                <a:spLocks/>
              </p:cNvSpPr>
              <p:nvPr/>
            </p:nvSpPr>
            <p:spPr bwMode="auto">
              <a:xfrm>
                <a:off x="8634" y="1737"/>
                <a:ext cx="487" cy="770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15" name="Freeform 272"/>
            <p:cNvSpPr>
              <a:spLocks/>
            </p:cNvSpPr>
            <p:nvPr/>
          </p:nvSpPr>
          <p:spPr bwMode="auto">
            <a:xfrm>
              <a:off x="2994" y="1170"/>
              <a:ext cx="948" cy="636"/>
            </a:xfrm>
            <a:custGeom>
              <a:avLst/>
              <a:gdLst>
                <a:gd name="T0" fmla="*/ 282 w 946"/>
                <a:gd name="T1" fmla="*/ 390 h 634"/>
                <a:gd name="T2" fmla="*/ 370 w 946"/>
                <a:gd name="T3" fmla="*/ 429 h 634"/>
                <a:gd name="T4" fmla="*/ 497 w 946"/>
                <a:gd name="T5" fmla="*/ 527 h 634"/>
                <a:gd name="T6" fmla="*/ 663 w 946"/>
                <a:gd name="T7" fmla="*/ 634 h 634"/>
                <a:gd name="T8" fmla="*/ 741 w 946"/>
                <a:gd name="T9" fmla="*/ 614 h 634"/>
                <a:gd name="T10" fmla="*/ 790 w 946"/>
                <a:gd name="T11" fmla="*/ 595 h 634"/>
                <a:gd name="T12" fmla="*/ 838 w 946"/>
                <a:gd name="T13" fmla="*/ 585 h 634"/>
                <a:gd name="T14" fmla="*/ 897 w 946"/>
                <a:gd name="T15" fmla="*/ 585 h 634"/>
                <a:gd name="T16" fmla="*/ 907 w 946"/>
                <a:gd name="T17" fmla="*/ 517 h 634"/>
                <a:gd name="T18" fmla="*/ 946 w 946"/>
                <a:gd name="T19" fmla="*/ 517 h 634"/>
                <a:gd name="T20" fmla="*/ 946 w 946"/>
                <a:gd name="T21" fmla="*/ 497 h 634"/>
                <a:gd name="T22" fmla="*/ 916 w 946"/>
                <a:gd name="T23" fmla="*/ 439 h 634"/>
                <a:gd name="T24" fmla="*/ 829 w 946"/>
                <a:gd name="T25" fmla="*/ 361 h 634"/>
                <a:gd name="T26" fmla="*/ 780 w 946"/>
                <a:gd name="T27" fmla="*/ 371 h 634"/>
                <a:gd name="T28" fmla="*/ 770 w 946"/>
                <a:gd name="T29" fmla="*/ 419 h 634"/>
                <a:gd name="T30" fmla="*/ 731 w 946"/>
                <a:gd name="T31" fmla="*/ 458 h 634"/>
                <a:gd name="T32" fmla="*/ 702 w 946"/>
                <a:gd name="T33" fmla="*/ 458 h 634"/>
                <a:gd name="T34" fmla="*/ 673 w 946"/>
                <a:gd name="T35" fmla="*/ 458 h 634"/>
                <a:gd name="T36" fmla="*/ 702 w 946"/>
                <a:gd name="T37" fmla="*/ 429 h 634"/>
                <a:gd name="T38" fmla="*/ 712 w 946"/>
                <a:gd name="T39" fmla="*/ 400 h 634"/>
                <a:gd name="T40" fmla="*/ 673 w 946"/>
                <a:gd name="T41" fmla="*/ 400 h 634"/>
                <a:gd name="T42" fmla="*/ 653 w 946"/>
                <a:gd name="T43" fmla="*/ 390 h 634"/>
                <a:gd name="T44" fmla="*/ 624 w 946"/>
                <a:gd name="T45" fmla="*/ 400 h 634"/>
                <a:gd name="T46" fmla="*/ 585 w 946"/>
                <a:gd name="T47" fmla="*/ 361 h 634"/>
                <a:gd name="T48" fmla="*/ 526 w 946"/>
                <a:gd name="T49" fmla="*/ 341 h 634"/>
                <a:gd name="T50" fmla="*/ 497 w 946"/>
                <a:gd name="T51" fmla="*/ 341 h 634"/>
                <a:gd name="T52" fmla="*/ 458 w 946"/>
                <a:gd name="T53" fmla="*/ 312 h 634"/>
                <a:gd name="T54" fmla="*/ 497 w 946"/>
                <a:gd name="T55" fmla="*/ 312 h 634"/>
                <a:gd name="T56" fmla="*/ 517 w 946"/>
                <a:gd name="T57" fmla="*/ 273 h 634"/>
                <a:gd name="T58" fmla="*/ 507 w 946"/>
                <a:gd name="T59" fmla="*/ 253 h 634"/>
                <a:gd name="T60" fmla="*/ 448 w 946"/>
                <a:gd name="T61" fmla="*/ 263 h 634"/>
                <a:gd name="T62" fmla="*/ 419 w 946"/>
                <a:gd name="T63" fmla="*/ 283 h 634"/>
                <a:gd name="T64" fmla="*/ 409 w 946"/>
                <a:gd name="T65" fmla="*/ 244 h 634"/>
                <a:gd name="T66" fmla="*/ 321 w 946"/>
                <a:gd name="T67" fmla="*/ 234 h 634"/>
                <a:gd name="T68" fmla="*/ 263 w 946"/>
                <a:gd name="T69" fmla="*/ 224 h 634"/>
                <a:gd name="T70" fmla="*/ 214 w 946"/>
                <a:gd name="T71" fmla="*/ 214 h 634"/>
                <a:gd name="T72" fmla="*/ 156 w 946"/>
                <a:gd name="T73" fmla="*/ 253 h 634"/>
                <a:gd name="T74" fmla="*/ 87 w 946"/>
                <a:gd name="T75" fmla="*/ 205 h 634"/>
                <a:gd name="T76" fmla="*/ 107 w 946"/>
                <a:gd name="T77" fmla="*/ 156 h 634"/>
                <a:gd name="T78" fmla="*/ 136 w 946"/>
                <a:gd name="T79" fmla="*/ 136 h 634"/>
                <a:gd name="T80" fmla="*/ 185 w 946"/>
                <a:gd name="T81" fmla="*/ 146 h 634"/>
                <a:gd name="T82" fmla="*/ 224 w 946"/>
                <a:gd name="T83" fmla="*/ 117 h 634"/>
                <a:gd name="T84" fmla="*/ 224 w 946"/>
                <a:gd name="T85" fmla="*/ 58 h 634"/>
                <a:gd name="T86" fmla="*/ 185 w 946"/>
                <a:gd name="T87" fmla="*/ 0 h 634"/>
                <a:gd name="T88" fmla="*/ 165 w 946"/>
                <a:gd name="T89" fmla="*/ 29 h 634"/>
                <a:gd name="T90" fmla="*/ 126 w 946"/>
                <a:gd name="T91" fmla="*/ 68 h 634"/>
                <a:gd name="T92" fmla="*/ 97 w 946"/>
                <a:gd name="T93" fmla="*/ 88 h 634"/>
                <a:gd name="T94" fmla="*/ 58 w 946"/>
                <a:gd name="T95" fmla="*/ 117 h 634"/>
                <a:gd name="T96" fmla="*/ 48 w 946"/>
                <a:gd name="T97" fmla="*/ 166 h 634"/>
                <a:gd name="T98" fmla="*/ 0 w 946"/>
                <a:gd name="T99" fmla="*/ 185 h 634"/>
                <a:gd name="T100" fmla="*/ 29 w 946"/>
                <a:gd name="T101" fmla="*/ 302 h 634"/>
                <a:gd name="T102" fmla="*/ 97 w 946"/>
                <a:gd name="T103" fmla="*/ 332 h 63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6"/>
                <a:gd name="T157" fmla="*/ 0 h 634"/>
                <a:gd name="T158" fmla="*/ 946 w 946"/>
                <a:gd name="T159" fmla="*/ 634 h 63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6" h="634">
                  <a:moveTo>
                    <a:pt x="136" y="361"/>
                  </a:moveTo>
                  <a:lnTo>
                    <a:pt x="185" y="371"/>
                  </a:lnTo>
                  <a:lnTo>
                    <a:pt x="253" y="380"/>
                  </a:lnTo>
                  <a:lnTo>
                    <a:pt x="282" y="390"/>
                  </a:lnTo>
                  <a:lnTo>
                    <a:pt x="302" y="380"/>
                  </a:lnTo>
                  <a:lnTo>
                    <a:pt x="331" y="390"/>
                  </a:lnTo>
                  <a:lnTo>
                    <a:pt x="351" y="410"/>
                  </a:lnTo>
                  <a:lnTo>
                    <a:pt x="370" y="429"/>
                  </a:lnTo>
                  <a:lnTo>
                    <a:pt x="409" y="458"/>
                  </a:lnTo>
                  <a:lnTo>
                    <a:pt x="419" y="478"/>
                  </a:lnTo>
                  <a:lnTo>
                    <a:pt x="438" y="488"/>
                  </a:lnTo>
                  <a:lnTo>
                    <a:pt x="497" y="527"/>
                  </a:lnTo>
                  <a:lnTo>
                    <a:pt x="546" y="556"/>
                  </a:lnTo>
                  <a:lnTo>
                    <a:pt x="595" y="595"/>
                  </a:lnTo>
                  <a:lnTo>
                    <a:pt x="643" y="634"/>
                  </a:lnTo>
                  <a:lnTo>
                    <a:pt x="663" y="634"/>
                  </a:lnTo>
                  <a:lnTo>
                    <a:pt x="682" y="634"/>
                  </a:lnTo>
                  <a:lnTo>
                    <a:pt x="702" y="634"/>
                  </a:lnTo>
                  <a:lnTo>
                    <a:pt x="721" y="624"/>
                  </a:lnTo>
                  <a:lnTo>
                    <a:pt x="741" y="614"/>
                  </a:lnTo>
                  <a:lnTo>
                    <a:pt x="751" y="614"/>
                  </a:lnTo>
                  <a:lnTo>
                    <a:pt x="760" y="595"/>
                  </a:lnTo>
                  <a:lnTo>
                    <a:pt x="770" y="595"/>
                  </a:lnTo>
                  <a:lnTo>
                    <a:pt x="790" y="595"/>
                  </a:lnTo>
                  <a:lnTo>
                    <a:pt x="799" y="605"/>
                  </a:lnTo>
                  <a:lnTo>
                    <a:pt x="819" y="605"/>
                  </a:lnTo>
                  <a:lnTo>
                    <a:pt x="819" y="595"/>
                  </a:lnTo>
                  <a:lnTo>
                    <a:pt x="838" y="585"/>
                  </a:lnTo>
                  <a:lnTo>
                    <a:pt x="848" y="575"/>
                  </a:lnTo>
                  <a:lnTo>
                    <a:pt x="858" y="575"/>
                  </a:lnTo>
                  <a:lnTo>
                    <a:pt x="887" y="575"/>
                  </a:lnTo>
                  <a:lnTo>
                    <a:pt x="897" y="585"/>
                  </a:lnTo>
                  <a:lnTo>
                    <a:pt x="907" y="575"/>
                  </a:lnTo>
                  <a:lnTo>
                    <a:pt x="916" y="556"/>
                  </a:lnTo>
                  <a:lnTo>
                    <a:pt x="916" y="536"/>
                  </a:lnTo>
                  <a:lnTo>
                    <a:pt x="907" y="517"/>
                  </a:lnTo>
                  <a:lnTo>
                    <a:pt x="916" y="507"/>
                  </a:lnTo>
                  <a:lnTo>
                    <a:pt x="936" y="517"/>
                  </a:lnTo>
                  <a:lnTo>
                    <a:pt x="946" y="517"/>
                  </a:lnTo>
                  <a:lnTo>
                    <a:pt x="946" y="507"/>
                  </a:lnTo>
                  <a:lnTo>
                    <a:pt x="926" y="497"/>
                  </a:lnTo>
                  <a:lnTo>
                    <a:pt x="946" y="497"/>
                  </a:lnTo>
                  <a:lnTo>
                    <a:pt x="926" y="478"/>
                  </a:lnTo>
                  <a:lnTo>
                    <a:pt x="926" y="458"/>
                  </a:lnTo>
                  <a:lnTo>
                    <a:pt x="916" y="458"/>
                  </a:lnTo>
                  <a:lnTo>
                    <a:pt x="916" y="439"/>
                  </a:lnTo>
                  <a:lnTo>
                    <a:pt x="877" y="410"/>
                  </a:lnTo>
                  <a:lnTo>
                    <a:pt x="848" y="380"/>
                  </a:lnTo>
                  <a:lnTo>
                    <a:pt x="848" y="371"/>
                  </a:lnTo>
                  <a:lnTo>
                    <a:pt x="829" y="361"/>
                  </a:lnTo>
                  <a:lnTo>
                    <a:pt x="819" y="361"/>
                  </a:lnTo>
                  <a:lnTo>
                    <a:pt x="809" y="371"/>
                  </a:lnTo>
                  <a:lnTo>
                    <a:pt x="799" y="361"/>
                  </a:lnTo>
                  <a:lnTo>
                    <a:pt x="780" y="371"/>
                  </a:lnTo>
                  <a:lnTo>
                    <a:pt x="780" y="390"/>
                  </a:lnTo>
                  <a:lnTo>
                    <a:pt x="780" y="400"/>
                  </a:lnTo>
                  <a:lnTo>
                    <a:pt x="770" y="410"/>
                  </a:lnTo>
                  <a:lnTo>
                    <a:pt x="770" y="419"/>
                  </a:lnTo>
                  <a:lnTo>
                    <a:pt x="780" y="429"/>
                  </a:lnTo>
                  <a:lnTo>
                    <a:pt x="770" y="439"/>
                  </a:lnTo>
                  <a:lnTo>
                    <a:pt x="770" y="449"/>
                  </a:lnTo>
                  <a:lnTo>
                    <a:pt x="731" y="458"/>
                  </a:lnTo>
                  <a:lnTo>
                    <a:pt x="721" y="439"/>
                  </a:lnTo>
                  <a:lnTo>
                    <a:pt x="712" y="439"/>
                  </a:lnTo>
                  <a:lnTo>
                    <a:pt x="702" y="449"/>
                  </a:lnTo>
                  <a:lnTo>
                    <a:pt x="702" y="458"/>
                  </a:lnTo>
                  <a:lnTo>
                    <a:pt x="702" y="468"/>
                  </a:lnTo>
                  <a:lnTo>
                    <a:pt x="682" y="468"/>
                  </a:lnTo>
                  <a:lnTo>
                    <a:pt x="673" y="458"/>
                  </a:lnTo>
                  <a:lnTo>
                    <a:pt x="673" y="449"/>
                  </a:lnTo>
                  <a:lnTo>
                    <a:pt x="673" y="429"/>
                  </a:lnTo>
                  <a:lnTo>
                    <a:pt x="692" y="429"/>
                  </a:lnTo>
                  <a:lnTo>
                    <a:pt x="702" y="429"/>
                  </a:lnTo>
                  <a:lnTo>
                    <a:pt x="702" y="419"/>
                  </a:lnTo>
                  <a:lnTo>
                    <a:pt x="702" y="400"/>
                  </a:lnTo>
                  <a:lnTo>
                    <a:pt x="712" y="400"/>
                  </a:lnTo>
                  <a:lnTo>
                    <a:pt x="702" y="390"/>
                  </a:lnTo>
                  <a:lnTo>
                    <a:pt x="682" y="380"/>
                  </a:lnTo>
                  <a:lnTo>
                    <a:pt x="673" y="380"/>
                  </a:lnTo>
                  <a:lnTo>
                    <a:pt x="673" y="400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53" y="390"/>
                  </a:lnTo>
                  <a:lnTo>
                    <a:pt x="643" y="400"/>
                  </a:lnTo>
                  <a:lnTo>
                    <a:pt x="643" y="390"/>
                  </a:lnTo>
                  <a:lnTo>
                    <a:pt x="634" y="390"/>
                  </a:lnTo>
                  <a:lnTo>
                    <a:pt x="624" y="400"/>
                  </a:lnTo>
                  <a:lnTo>
                    <a:pt x="614" y="390"/>
                  </a:lnTo>
                  <a:lnTo>
                    <a:pt x="604" y="380"/>
                  </a:lnTo>
                  <a:lnTo>
                    <a:pt x="595" y="371"/>
                  </a:lnTo>
                  <a:lnTo>
                    <a:pt x="585" y="361"/>
                  </a:lnTo>
                  <a:lnTo>
                    <a:pt x="575" y="351"/>
                  </a:lnTo>
                  <a:lnTo>
                    <a:pt x="565" y="351"/>
                  </a:lnTo>
                  <a:lnTo>
                    <a:pt x="546" y="341"/>
                  </a:lnTo>
                  <a:lnTo>
                    <a:pt x="526" y="341"/>
                  </a:lnTo>
                  <a:lnTo>
                    <a:pt x="517" y="351"/>
                  </a:lnTo>
                  <a:lnTo>
                    <a:pt x="507" y="361"/>
                  </a:lnTo>
                  <a:lnTo>
                    <a:pt x="497" y="361"/>
                  </a:lnTo>
                  <a:lnTo>
                    <a:pt x="497" y="341"/>
                  </a:lnTo>
                  <a:lnTo>
                    <a:pt x="478" y="341"/>
                  </a:lnTo>
                  <a:lnTo>
                    <a:pt x="468" y="332"/>
                  </a:lnTo>
                  <a:lnTo>
                    <a:pt x="458" y="312"/>
                  </a:lnTo>
                  <a:lnTo>
                    <a:pt x="468" y="312"/>
                  </a:lnTo>
                  <a:lnTo>
                    <a:pt x="478" y="312"/>
                  </a:lnTo>
                  <a:lnTo>
                    <a:pt x="487" y="322"/>
                  </a:lnTo>
                  <a:lnTo>
                    <a:pt x="497" y="312"/>
                  </a:lnTo>
                  <a:lnTo>
                    <a:pt x="497" y="302"/>
                  </a:lnTo>
                  <a:lnTo>
                    <a:pt x="517" y="283"/>
                  </a:lnTo>
                  <a:lnTo>
                    <a:pt x="517" y="273"/>
                  </a:lnTo>
                  <a:lnTo>
                    <a:pt x="536" y="283"/>
                  </a:lnTo>
                  <a:lnTo>
                    <a:pt x="546" y="283"/>
                  </a:lnTo>
                  <a:lnTo>
                    <a:pt x="526" y="263"/>
                  </a:lnTo>
                  <a:lnTo>
                    <a:pt x="507" y="253"/>
                  </a:lnTo>
                  <a:lnTo>
                    <a:pt x="458" y="253"/>
                  </a:lnTo>
                  <a:lnTo>
                    <a:pt x="448" y="253"/>
                  </a:lnTo>
                  <a:lnTo>
                    <a:pt x="458" y="263"/>
                  </a:lnTo>
                  <a:lnTo>
                    <a:pt x="448" y="263"/>
                  </a:lnTo>
                  <a:lnTo>
                    <a:pt x="458" y="283"/>
                  </a:lnTo>
                  <a:lnTo>
                    <a:pt x="448" y="283"/>
                  </a:lnTo>
                  <a:lnTo>
                    <a:pt x="438" y="283"/>
                  </a:lnTo>
                  <a:lnTo>
                    <a:pt x="419" y="283"/>
                  </a:lnTo>
                  <a:lnTo>
                    <a:pt x="438" y="273"/>
                  </a:lnTo>
                  <a:lnTo>
                    <a:pt x="438" y="253"/>
                  </a:lnTo>
                  <a:lnTo>
                    <a:pt x="419" y="253"/>
                  </a:lnTo>
                  <a:lnTo>
                    <a:pt x="409" y="244"/>
                  </a:lnTo>
                  <a:lnTo>
                    <a:pt x="390" y="244"/>
                  </a:lnTo>
                  <a:lnTo>
                    <a:pt x="380" y="234"/>
                  </a:lnTo>
                  <a:lnTo>
                    <a:pt x="360" y="234"/>
                  </a:lnTo>
                  <a:lnTo>
                    <a:pt x="321" y="234"/>
                  </a:lnTo>
                  <a:lnTo>
                    <a:pt x="292" y="234"/>
                  </a:lnTo>
                  <a:lnTo>
                    <a:pt x="273" y="224"/>
                  </a:lnTo>
                  <a:lnTo>
                    <a:pt x="273" y="214"/>
                  </a:lnTo>
                  <a:lnTo>
                    <a:pt x="263" y="224"/>
                  </a:lnTo>
                  <a:lnTo>
                    <a:pt x="263" y="234"/>
                  </a:lnTo>
                  <a:lnTo>
                    <a:pt x="243" y="224"/>
                  </a:lnTo>
                  <a:lnTo>
                    <a:pt x="234" y="214"/>
                  </a:lnTo>
                  <a:lnTo>
                    <a:pt x="214" y="214"/>
                  </a:lnTo>
                  <a:lnTo>
                    <a:pt x="214" y="224"/>
                  </a:lnTo>
                  <a:lnTo>
                    <a:pt x="175" y="234"/>
                  </a:lnTo>
                  <a:lnTo>
                    <a:pt x="175" y="253"/>
                  </a:lnTo>
                  <a:lnTo>
                    <a:pt x="156" y="253"/>
                  </a:lnTo>
                  <a:lnTo>
                    <a:pt x="146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87" y="205"/>
                  </a:lnTo>
                  <a:lnTo>
                    <a:pt x="97" y="195"/>
                  </a:lnTo>
                  <a:lnTo>
                    <a:pt x="97" y="185"/>
                  </a:lnTo>
                  <a:lnTo>
                    <a:pt x="107" y="175"/>
                  </a:lnTo>
                  <a:lnTo>
                    <a:pt x="107" y="156"/>
                  </a:lnTo>
                  <a:lnTo>
                    <a:pt x="107" y="146"/>
                  </a:lnTo>
                  <a:lnTo>
                    <a:pt x="117" y="136"/>
                  </a:lnTo>
                  <a:lnTo>
                    <a:pt x="136" y="136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75" y="136"/>
                  </a:lnTo>
                  <a:lnTo>
                    <a:pt x="185" y="146"/>
                  </a:lnTo>
                  <a:lnTo>
                    <a:pt x="195" y="166"/>
                  </a:lnTo>
                  <a:lnTo>
                    <a:pt x="204" y="146"/>
                  </a:lnTo>
                  <a:lnTo>
                    <a:pt x="21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24" y="88"/>
                  </a:lnTo>
                  <a:lnTo>
                    <a:pt x="224" y="7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195" y="29"/>
                  </a:lnTo>
                  <a:lnTo>
                    <a:pt x="185" y="19"/>
                  </a:lnTo>
                  <a:lnTo>
                    <a:pt x="185" y="0"/>
                  </a:lnTo>
                  <a:lnTo>
                    <a:pt x="175" y="0"/>
                  </a:lnTo>
                  <a:lnTo>
                    <a:pt x="165" y="10"/>
                  </a:lnTo>
                  <a:lnTo>
                    <a:pt x="165" y="29"/>
                  </a:lnTo>
                  <a:lnTo>
                    <a:pt x="165" y="49"/>
                  </a:lnTo>
                  <a:lnTo>
                    <a:pt x="156" y="58"/>
                  </a:lnTo>
                  <a:lnTo>
                    <a:pt x="136" y="58"/>
                  </a:lnTo>
                  <a:lnTo>
                    <a:pt x="126" y="68"/>
                  </a:lnTo>
                  <a:lnTo>
                    <a:pt x="136" y="78"/>
                  </a:lnTo>
                  <a:lnTo>
                    <a:pt x="117" y="78"/>
                  </a:lnTo>
                  <a:lnTo>
                    <a:pt x="107" y="88"/>
                  </a:lnTo>
                  <a:lnTo>
                    <a:pt x="97" y="88"/>
                  </a:lnTo>
                  <a:lnTo>
                    <a:pt x="78" y="97"/>
                  </a:lnTo>
                  <a:lnTo>
                    <a:pt x="68" y="107"/>
                  </a:lnTo>
                  <a:lnTo>
                    <a:pt x="58" y="107"/>
                  </a:lnTo>
                  <a:lnTo>
                    <a:pt x="58" y="117"/>
                  </a:lnTo>
                  <a:lnTo>
                    <a:pt x="68" y="127"/>
                  </a:lnTo>
                  <a:lnTo>
                    <a:pt x="58" y="136"/>
                  </a:lnTo>
                  <a:lnTo>
                    <a:pt x="58" y="156"/>
                  </a:lnTo>
                  <a:lnTo>
                    <a:pt x="48" y="166"/>
                  </a:lnTo>
                  <a:lnTo>
                    <a:pt x="39" y="166"/>
                  </a:lnTo>
                  <a:lnTo>
                    <a:pt x="29" y="175"/>
                  </a:lnTo>
                  <a:lnTo>
                    <a:pt x="19" y="185"/>
                  </a:lnTo>
                  <a:lnTo>
                    <a:pt x="0" y="185"/>
                  </a:lnTo>
                  <a:lnTo>
                    <a:pt x="9" y="214"/>
                  </a:lnTo>
                  <a:lnTo>
                    <a:pt x="19" y="253"/>
                  </a:lnTo>
                  <a:lnTo>
                    <a:pt x="29" y="273"/>
                  </a:lnTo>
                  <a:lnTo>
                    <a:pt x="29" y="302"/>
                  </a:lnTo>
                  <a:lnTo>
                    <a:pt x="39" y="322"/>
                  </a:lnTo>
                  <a:lnTo>
                    <a:pt x="48" y="322"/>
                  </a:lnTo>
                  <a:lnTo>
                    <a:pt x="68" y="341"/>
                  </a:lnTo>
                  <a:lnTo>
                    <a:pt x="97" y="332"/>
                  </a:lnTo>
                  <a:lnTo>
                    <a:pt x="117" y="351"/>
                  </a:lnTo>
                  <a:lnTo>
                    <a:pt x="136" y="361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6" name="Freeform 271"/>
            <p:cNvSpPr>
              <a:spLocks/>
            </p:cNvSpPr>
            <p:nvPr/>
          </p:nvSpPr>
          <p:spPr bwMode="auto">
            <a:xfrm>
              <a:off x="771" y="2869"/>
              <a:ext cx="174" cy="136"/>
            </a:xfrm>
            <a:custGeom>
              <a:avLst/>
              <a:gdLst>
                <a:gd name="T0" fmla="*/ 68 w 175"/>
                <a:gd name="T1" fmla="*/ 137 h 137"/>
                <a:gd name="T2" fmla="*/ 97 w 175"/>
                <a:gd name="T3" fmla="*/ 127 h 137"/>
                <a:gd name="T4" fmla="*/ 107 w 175"/>
                <a:gd name="T5" fmla="*/ 127 h 137"/>
                <a:gd name="T6" fmla="*/ 146 w 175"/>
                <a:gd name="T7" fmla="*/ 127 h 137"/>
                <a:gd name="T8" fmla="*/ 146 w 175"/>
                <a:gd name="T9" fmla="*/ 108 h 137"/>
                <a:gd name="T10" fmla="*/ 146 w 175"/>
                <a:gd name="T11" fmla="*/ 98 h 137"/>
                <a:gd name="T12" fmla="*/ 136 w 175"/>
                <a:gd name="T13" fmla="*/ 88 h 137"/>
                <a:gd name="T14" fmla="*/ 136 w 175"/>
                <a:gd name="T15" fmla="*/ 79 h 137"/>
                <a:gd name="T16" fmla="*/ 136 w 175"/>
                <a:gd name="T17" fmla="*/ 79 h 137"/>
                <a:gd name="T18" fmla="*/ 156 w 175"/>
                <a:gd name="T19" fmla="*/ 79 h 137"/>
                <a:gd name="T20" fmla="*/ 175 w 175"/>
                <a:gd name="T21" fmla="*/ 79 h 137"/>
                <a:gd name="T22" fmla="*/ 175 w 175"/>
                <a:gd name="T23" fmla="*/ 59 h 137"/>
                <a:gd name="T24" fmla="*/ 165 w 175"/>
                <a:gd name="T25" fmla="*/ 49 h 137"/>
                <a:gd name="T26" fmla="*/ 156 w 175"/>
                <a:gd name="T27" fmla="*/ 49 h 137"/>
                <a:gd name="T28" fmla="*/ 146 w 175"/>
                <a:gd name="T29" fmla="*/ 30 h 137"/>
                <a:gd name="T30" fmla="*/ 146 w 175"/>
                <a:gd name="T31" fmla="*/ 10 h 137"/>
                <a:gd name="T32" fmla="*/ 126 w 175"/>
                <a:gd name="T33" fmla="*/ 10 h 137"/>
                <a:gd name="T34" fmla="*/ 126 w 175"/>
                <a:gd name="T35" fmla="*/ 30 h 137"/>
                <a:gd name="T36" fmla="*/ 97 w 175"/>
                <a:gd name="T37" fmla="*/ 30 h 137"/>
                <a:gd name="T38" fmla="*/ 87 w 175"/>
                <a:gd name="T39" fmla="*/ 40 h 137"/>
                <a:gd name="T40" fmla="*/ 78 w 175"/>
                <a:gd name="T41" fmla="*/ 30 h 137"/>
                <a:gd name="T42" fmla="*/ 87 w 175"/>
                <a:gd name="T43" fmla="*/ 10 h 137"/>
                <a:gd name="T44" fmla="*/ 68 w 175"/>
                <a:gd name="T45" fmla="*/ 0 h 137"/>
                <a:gd name="T46" fmla="*/ 48 w 175"/>
                <a:gd name="T47" fmla="*/ 0 h 137"/>
                <a:gd name="T48" fmla="*/ 29 w 175"/>
                <a:gd name="T49" fmla="*/ 0 h 137"/>
                <a:gd name="T50" fmla="*/ 0 w 175"/>
                <a:gd name="T51" fmla="*/ 20 h 137"/>
                <a:gd name="T52" fmla="*/ 9 w 175"/>
                <a:gd name="T53" fmla="*/ 40 h 137"/>
                <a:gd name="T54" fmla="*/ 19 w 175"/>
                <a:gd name="T55" fmla="*/ 59 h 137"/>
                <a:gd name="T56" fmla="*/ 29 w 175"/>
                <a:gd name="T57" fmla="*/ 79 h 137"/>
                <a:gd name="T58" fmla="*/ 29 w 175"/>
                <a:gd name="T59" fmla="*/ 98 h 137"/>
                <a:gd name="T60" fmla="*/ 39 w 175"/>
                <a:gd name="T61" fmla="*/ 108 h 137"/>
                <a:gd name="T62" fmla="*/ 48 w 175"/>
                <a:gd name="T63" fmla="*/ 108 h 137"/>
                <a:gd name="T64" fmla="*/ 58 w 175"/>
                <a:gd name="T65" fmla="*/ 118 h 137"/>
                <a:gd name="T66" fmla="*/ 68 w 175"/>
                <a:gd name="T67" fmla="*/ 137 h 13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5"/>
                <a:gd name="T103" fmla="*/ 0 h 137"/>
                <a:gd name="T104" fmla="*/ 175 w 175"/>
                <a:gd name="T105" fmla="*/ 137 h 13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5" h="137">
                  <a:moveTo>
                    <a:pt x="68" y="137"/>
                  </a:moveTo>
                  <a:lnTo>
                    <a:pt x="97" y="127"/>
                  </a:lnTo>
                  <a:lnTo>
                    <a:pt x="107" y="127"/>
                  </a:lnTo>
                  <a:lnTo>
                    <a:pt x="146" y="127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36" y="88"/>
                  </a:lnTo>
                  <a:lnTo>
                    <a:pt x="136" y="79"/>
                  </a:lnTo>
                  <a:lnTo>
                    <a:pt x="156" y="79"/>
                  </a:lnTo>
                  <a:lnTo>
                    <a:pt x="175" y="79"/>
                  </a:lnTo>
                  <a:lnTo>
                    <a:pt x="175" y="59"/>
                  </a:lnTo>
                  <a:lnTo>
                    <a:pt x="165" y="49"/>
                  </a:lnTo>
                  <a:lnTo>
                    <a:pt x="156" y="49"/>
                  </a:lnTo>
                  <a:lnTo>
                    <a:pt x="146" y="30"/>
                  </a:lnTo>
                  <a:lnTo>
                    <a:pt x="146" y="10"/>
                  </a:lnTo>
                  <a:lnTo>
                    <a:pt x="126" y="10"/>
                  </a:lnTo>
                  <a:lnTo>
                    <a:pt x="126" y="30"/>
                  </a:lnTo>
                  <a:lnTo>
                    <a:pt x="97" y="30"/>
                  </a:lnTo>
                  <a:lnTo>
                    <a:pt x="87" y="40"/>
                  </a:lnTo>
                  <a:lnTo>
                    <a:pt x="78" y="3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48" y="0"/>
                  </a:lnTo>
                  <a:lnTo>
                    <a:pt x="29" y="0"/>
                  </a:lnTo>
                  <a:lnTo>
                    <a:pt x="0" y="20"/>
                  </a:lnTo>
                  <a:lnTo>
                    <a:pt x="9" y="40"/>
                  </a:lnTo>
                  <a:lnTo>
                    <a:pt x="19" y="59"/>
                  </a:lnTo>
                  <a:lnTo>
                    <a:pt x="29" y="79"/>
                  </a:lnTo>
                  <a:lnTo>
                    <a:pt x="29" y="98"/>
                  </a:lnTo>
                  <a:lnTo>
                    <a:pt x="39" y="108"/>
                  </a:lnTo>
                  <a:lnTo>
                    <a:pt x="48" y="108"/>
                  </a:lnTo>
                  <a:lnTo>
                    <a:pt x="58" y="118"/>
                  </a:lnTo>
                  <a:lnTo>
                    <a:pt x="68" y="137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7" name="Freeform 270"/>
            <p:cNvSpPr>
              <a:spLocks/>
            </p:cNvSpPr>
            <p:nvPr/>
          </p:nvSpPr>
          <p:spPr bwMode="auto">
            <a:xfrm>
              <a:off x="2741" y="2068"/>
              <a:ext cx="214" cy="322"/>
            </a:xfrm>
            <a:custGeom>
              <a:avLst/>
              <a:gdLst>
                <a:gd name="T0" fmla="*/ 58 w 215"/>
                <a:gd name="T1" fmla="*/ 157 h 322"/>
                <a:gd name="T2" fmla="*/ 68 w 215"/>
                <a:gd name="T3" fmla="*/ 157 h 322"/>
                <a:gd name="T4" fmla="*/ 88 w 215"/>
                <a:gd name="T5" fmla="*/ 137 h 322"/>
                <a:gd name="T6" fmla="*/ 97 w 215"/>
                <a:gd name="T7" fmla="*/ 127 h 322"/>
                <a:gd name="T8" fmla="*/ 97 w 215"/>
                <a:gd name="T9" fmla="*/ 108 h 322"/>
                <a:gd name="T10" fmla="*/ 78 w 215"/>
                <a:gd name="T11" fmla="*/ 108 h 322"/>
                <a:gd name="T12" fmla="*/ 58 w 215"/>
                <a:gd name="T13" fmla="*/ 78 h 322"/>
                <a:gd name="T14" fmla="*/ 49 w 215"/>
                <a:gd name="T15" fmla="*/ 69 h 322"/>
                <a:gd name="T16" fmla="*/ 68 w 215"/>
                <a:gd name="T17" fmla="*/ 59 h 322"/>
                <a:gd name="T18" fmla="*/ 68 w 215"/>
                <a:gd name="T19" fmla="*/ 20 h 322"/>
                <a:gd name="T20" fmla="*/ 78 w 215"/>
                <a:gd name="T21" fmla="*/ 0 h 322"/>
                <a:gd name="T22" fmla="*/ 97 w 215"/>
                <a:gd name="T23" fmla="*/ 10 h 322"/>
                <a:gd name="T24" fmla="*/ 107 w 215"/>
                <a:gd name="T25" fmla="*/ 10 h 322"/>
                <a:gd name="T26" fmla="*/ 117 w 215"/>
                <a:gd name="T27" fmla="*/ 20 h 322"/>
                <a:gd name="T28" fmla="*/ 136 w 215"/>
                <a:gd name="T29" fmla="*/ 10 h 322"/>
                <a:gd name="T30" fmla="*/ 166 w 215"/>
                <a:gd name="T31" fmla="*/ 30 h 322"/>
                <a:gd name="T32" fmla="*/ 156 w 215"/>
                <a:gd name="T33" fmla="*/ 49 h 322"/>
                <a:gd name="T34" fmla="*/ 166 w 215"/>
                <a:gd name="T35" fmla="*/ 69 h 322"/>
                <a:gd name="T36" fmla="*/ 185 w 215"/>
                <a:gd name="T37" fmla="*/ 59 h 322"/>
                <a:gd name="T38" fmla="*/ 215 w 215"/>
                <a:gd name="T39" fmla="*/ 108 h 322"/>
                <a:gd name="T40" fmla="*/ 215 w 215"/>
                <a:gd name="T41" fmla="*/ 127 h 322"/>
                <a:gd name="T42" fmla="*/ 205 w 215"/>
                <a:gd name="T43" fmla="*/ 127 h 322"/>
                <a:gd name="T44" fmla="*/ 195 w 215"/>
                <a:gd name="T45" fmla="*/ 137 h 322"/>
                <a:gd name="T46" fmla="*/ 185 w 215"/>
                <a:gd name="T47" fmla="*/ 147 h 322"/>
                <a:gd name="T48" fmla="*/ 195 w 215"/>
                <a:gd name="T49" fmla="*/ 157 h 322"/>
                <a:gd name="T50" fmla="*/ 185 w 215"/>
                <a:gd name="T51" fmla="*/ 176 h 322"/>
                <a:gd name="T52" fmla="*/ 185 w 215"/>
                <a:gd name="T53" fmla="*/ 186 h 322"/>
                <a:gd name="T54" fmla="*/ 185 w 215"/>
                <a:gd name="T55" fmla="*/ 196 h 322"/>
                <a:gd name="T56" fmla="*/ 176 w 215"/>
                <a:gd name="T57" fmla="*/ 205 h 322"/>
                <a:gd name="T58" fmla="*/ 166 w 215"/>
                <a:gd name="T59" fmla="*/ 196 h 322"/>
                <a:gd name="T60" fmla="*/ 166 w 215"/>
                <a:gd name="T61" fmla="*/ 205 h 322"/>
                <a:gd name="T62" fmla="*/ 156 w 215"/>
                <a:gd name="T63" fmla="*/ 215 h 322"/>
                <a:gd name="T64" fmla="*/ 156 w 215"/>
                <a:gd name="T65" fmla="*/ 225 h 322"/>
                <a:gd name="T66" fmla="*/ 146 w 215"/>
                <a:gd name="T67" fmla="*/ 235 h 322"/>
                <a:gd name="T68" fmla="*/ 136 w 215"/>
                <a:gd name="T69" fmla="*/ 235 h 322"/>
                <a:gd name="T70" fmla="*/ 136 w 215"/>
                <a:gd name="T71" fmla="*/ 244 h 322"/>
                <a:gd name="T72" fmla="*/ 136 w 215"/>
                <a:gd name="T73" fmla="*/ 254 h 322"/>
                <a:gd name="T74" fmla="*/ 127 w 215"/>
                <a:gd name="T75" fmla="*/ 264 h 322"/>
                <a:gd name="T76" fmla="*/ 127 w 215"/>
                <a:gd name="T77" fmla="*/ 274 h 322"/>
                <a:gd name="T78" fmla="*/ 146 w 215"/>
                <a:gd name="T79" fmla="*/ 293 h 322"/>
                <a:gd name="T80" fmla="*/ 146 w 215"/>
                <a:gd name="T81" fmla="*/ 303 h 322"/>
                <a:gd name="T82" fmla="*/ 146 w 215"/>
                <a:gd name="T83" fmla="*/ 313 h 322"/>
                <a:gd name="T84" fmla="*/ 136 w 215"/>
                <a:gd name="T85" fmla="*/ 322 h 322"/>
                <a:gd name="T86" fmla="*/ 127 w 215"/>
                <a:gd name="T87" fmla="*/ 313 h 322"/>
                <a:gd name="T88" fmla="*/ 107 w 215"/>
                <a:gd name="T89" fmla="*/ 313 h 322"/>
                <a:gd name="T90" fmla="*/ 78 w 215"/>
                <a:gd name="T91" fmla="*/ 313 h 322"/>
                <a:gd name="T92" fmla="*/ 58 w 215"/>
                <a:gd name="T93" fmla="*/ 283 h 322"/>
                <a:gd name="T94" fmla="*/ 49 w 215"/>
                <a:gd name="T95" fmla="*/ 293 h 322"/>
                <a:gd name="T96" fmla="*/ 49 w 215"/>
                <a:gd name="T97" fmla="*/ 303 h 322"/>
                <a:gd name="T98" fmla="*/ 19 w 215"/>
                <a:gd name="T99" fmla="*/ 303 h 322"/>
                <a:gd name="T100" fmla="*/ 10 w 215"/>
                <a:gd name="T101" fmla="*/ 293 h 322"/>
                <a:gd name="T102" fmla="*/ 0 w 215"/>
                <a:gd name="T103" fmla="*/ 264 h 322"/>
                <a:gd name="T104" fmla="*/ 0 w 215"/>
                <a:gd name="T105" fmla="*/ 244 h 322"/>
                <a:gd name="T106" fmla="*/ 10 w 215"/>
                <a:gd name="T107" fmla="*/ 225 h 322"/>
                <a:gd name="T108" fmla="*/ 19 w 215"/>
                <a:gd name="T109" fmla="*/ 215 h 322"/>
                <a:gd name="T110" fmla="*/ 10 w 215"/>
                <a:gd name="T111" fmla="*/ 205 h 322"/>
                <a:gd name="T112" fmla="*/ 10 w 215"/>
                <a:gd name="T113" fmla="*/ 196 h 322"/>
                <a:gd name="T114" fmla="*/ 19 w 215"/>
                <a:gd name="T115" fmla="*/ 186 h 322"/>
                <a:gd name="T116" fmla="*/ 58 w 215"/>
                <a:gd name="T117" fmla="*/ 157 h 3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5"/>
                <a:gd name="T178" fmla="*/ 0 h 322"/>
                <a:gd name="T179" fmla="*/ 215 w 215"/>
                <a:gd name="T180" fmla="*/ 322 h 3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5" h="322">
                  <a:moveTo>
                    <a:pt x="58" y="157"/>
                  </a:moveTo>
                  <a:lnTo>
                    <a:pt x="68" y="157"/>
                  </a:lnTo>
                  <a:lnTo>
                    <a:pt x="88" y="137"/>
                  </a:lnTo>
                  <a:lnTo>
                    <a:pt x="97" y="127"/>
                  </a:lnTo>
                  <a:lnTo>
                    <a:pt x="97" y="108"/>
                  </a:lnTo>
                  <a:lnTo>
                    <a:pt x="78" y="108"/>
                  </a:lnTo>
                  <a:lnTo>
                    <a:pt x="58" y="78"/>
                  </a:lnTo>
                  <a:lnTo>
                    <a:pt x="49" y="69"/>
                  </a:lnTo>
                  <a:lnTo>
                    <a:pt x="68" y="59"/>
                  </a:lnTo>
                  <a:lnTo>
                    <a:pt x="68" y="2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10"/>
                  </a:lnTo>
                  <a:lnTo>
                    <a:pt x="117" y="20"/>
                  </a:lnTo>
                  <a:lnTo>
                    <a:pt x="136" y="10"/>
                  </a:lnTo>
                  <a:lnTo>
                    <a:pt x="166" y="30"/>
                  </a:lnTo>
                  <a:lnTo>
                    <a:pt x="156" y="49"/>
                  </a:lnTo>
                  <a:lnTo>
                    <a:pt x="166" y="69"/>
                  </a:lnTo>
                  <a:lnTo>
                    <a:pt x="185" y="59"/>
                  </a:lnTo>
                  <a:lnTo>
                    <a:pt x="215" y="108"/>
                  </a:lnTo>
                  <a:lnTo>
                    <a:pt x="215" y="127"/>
                  </a:lnTo>
                  <a:lnTo>
                    <a:pt x="205" y="127"/>
                  </a:lnTo>
                  <a:lnTo>
                    <a:pt x="195" y="137"/>
                  </a:lnTo>
                  <a:lnTo>
                    <a:pt x="185" y="147"/>
                  </a:lnTo>
                  <a:lnTo>
                    <a:pt x="195" y="157"/>
                  </a:lnTo>
                  <a:lnTo>
                    <a:pt x="185" y="176"/>
                  </a:lnTo>
                  <a:lnTo>
                    <a:pt x="185" y="186"/>
                  </a:lnTo>
                  <a:lnTo>
                    <a:pt x="185" y="196"/>
                  </a:lnTo>
                  <a:lnTo>
                    <a:pt x="176" y="205"/>
                  </a:lnTo>
                  <a:lnTo>
                    <a:pt x="166" y="196"/>
                  </a:lnTo>
                  <a:lnTo>
                    <a:pt x="166" y="205"/>
                  </a:lnTo>
                  <a:lnTo>
                    <a:pt x="156" y="215"/>
                  </a:lnTo>
                  <a:lnTo>
                    <a:pt x="156" y="225"/>
                  </a:lnTo>
                  <a:lnTo>
                    <a:pt x="146" y="235"/>
                  </a:lnTo>
                  <a:lnTo>
                    <a:pt x="136" y="235"/>
                  </a:lnTo>
                  <a:lnTo>
                    <a:pt x="136" y="244"/>
                  </a:lnTo>
                  <a:lnTo>
                    <a:pt x="136" y="254"/>
                  </a:lnTo>
                  <a:lnTo>
                    <a:pt x="127" y="264"/>
                  </a:lnTo>
                  <a:lnTo>
                    <a:pt x="127" y="274"/>
                  </a:lnTo>
                  <a:lnTo>
                    <a:pt x="146" y="293"/>
                  </a:lnTo>
                  <a:lnTo>
                    <a:pt x="146" y="303"/>
                  </a:lnTo>
                  <a:lnTo>
                    <a:pt x="146" y="313"/>
                  </a:lnTo>
                  <a:lnTo>
                    <a:pt x="136" y="322"/>
                  </a:lnTo>
                  <a:lnTo>
                    <a:pt x="127" y="313"/>
                  </a:lnTo>
                  <a:lnTo>
                    <a:pt x="107" y="313"/>
                  </a:lnTo>
                  <a:lnTo>
                    <a:pt x="78" y="313"/>
                  </a:lnTo>
                  <a:lnTo>
                    <a:pt x="58" y="283"/>
                  </a:lnTo>
                  <a:lnTo>
                    <a:pt x="49" y="293"/>
                  </a:lnTo>
                  <a:lnTo>
                    <a:pt x="49" y="303"/>
                  </a:lnTo>
                  <a:lnTo>
                    <a:pt x="19" y="303"/>
                  </a:lnTo>
                  <a:lnTo>
                    <a:pt x="10" y="293"/>
                  </a:lnTo>
                  <a:lnTo>
                    <a:pt x="0" y="264"/>
                  </a:lnTo>
                  <a:lnTo>
                    <a:pt x="0" y="244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10" y="205"/>
                  </a:lnTo>
                  <a:lnTo>
                    <a:pt x="10" y="196"/>
                  </a:lnTo>
                  <a:lnTo>
                    <a:pt x="19" y="186"/>
                  </a:lnTo>
                  <a:lnTo>
                    <a:pt x="58" y="15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8" name="Freeform 269"/>
            <p:cNvSpPr>
              <a:spLocks/>
            </p:cNvSpPr>
            <p:nvPr/>
          </p:nvSpPr>
          <p:spPr bwMode="auto">
            <a:xfrm>
              <a:off x="4156" y="3845"/>
              <a:ext cx="428" cy="389"/>
            </a:xfrm>
            <a:custGeom>
              <a:avLst/>
              <a:gdLst>
                <a:gd name="T0" fmla="*/ 293 w 429"/>
                <a:gd name="T1" fmla="*/ 29 h 390"/>
                <a:gd name="T2" fmla="*/ 322 w 429"/>
                <a:gd name="T3" fmla="*/ 20 h 390"/>
                <a:gd name="T4" fmla="*/ 351 w 429"/>
                <a:gd name="T5" fmla="*/ 49 h 390"/>
                <a:gd name="T6" fmla="*/ 332 w 429"/>
                <a:gd name="T7" fmla="*/ 68 h 390"/>
                <a:gd name="T8" fmla="*/ 312 w 429"/>
                <a:gd name="T9" fmla="*/ 78 h 390"/>
                <a:gd name="T10" fmla="*/ 312 w 429"/>
                <a:gd name="T11" fmla="*/ 98 h 390"/>
                <a:gd name="T12" fmla="*/ 312 w 429"/>
                <a:gd name="T13" fmla="*/ 117 h 390"/>
                <a:gd name="T14" fmla="*/ 332 w 429"/>
                <a:gd name="T15" fmla="*/ 147 h 390"/>
                <a:gd name="T16" fmla="*/ 371 w 429"/>
                <a:gd name="T17" fmla="*/ 147 h 390"/>
                <a:gd name="T18" fmla="*/ 371 w 429"/>
                <a:gd name="T19" fmla="*/ 166 h 390"/>
                <a:gd name="T20" fmla="*/ 371 w 429"/>
                <a:gd name="T21" fmla="*/ 205 h 390"/>
                <a:gd name="T22" fmla="*/ 400 w 429"/>
                <a:gd name="T23" fmla="*/ 234 h 390"/>
                <a:gd name="T24" fmla="*/ 429 w 429"/>
                <a:gd name="T25" fmla="*/ 283 h 390"/>
                <a:gd name="T26" fmla="*/ 410 w 429"/>
                <a:gd name="T27" fmla="*/ 273 h 390"/>
                <a:gd name="T28" fmla="*/ 400 w 429"/>
                <a:gd name="T29" fmla="*/ 283 h 390"/>
                <a:gd name="T30" fmla="*/ 371 w 429"/>
                <a:gd name="T31" fmla="*/ 293 h 390"/>
                <a:gd name="T32" fmla="*/ 390 w 429"/>
                <a:gd name="T33" fmla="*/ 303 h 390"/>
                <a:gd name="T34" fmla="*/ 400 w 429"/>
                <a:gd name="T35" fmla="*/ 322 h 390"/>
                <a:gd name="T36" fmla="*/ 400 w 429"/>
                <a:gd name="T37" fmla="*/ 332 h 390"/>
                <a:gd name="T38" fmla="*/ 410 w 429"/>
                <a:gd name="T39" fmla="*/ 342 h 390"/>
                <a:gd name="T40" fmla="*/ 400 w 429"/>
                <a:gd name="T41" fmla="*/ 361 h 390"/>
                <a:gd name="T42" fmla="*/ 351 w 429"/>
                <a:gd name="T43" fmla="*/ 371 h 390"/>
                <a:gd name="T44" fmla="*/ 293 w 429"/>
                <a:gd name="T45" fmla="*/ 371 h 390"/>
                <a:gd name="T46" fmla="*/ 273 w 429"/>
                <a:gd name="T47" fmla="*/ 390 h 390"/>
                <a:gd name="T48" fmla="*/ 234 w 429"/>
                <a:gd name="T49" fmla="*/ 390 h 390"/>
                <a:gd name="T50" fmla="*/ 205 w 429"/>
                <a:gd name="T51" fmla="*/ 390 h 390"/>
                <a:gd name="T52" fmla="*/ 186 w 429"/>
                <a:gd name="T53" fmla="*/ 371 h 390"/>
                <a:gd name="T54" fmla="*/ 176 w 429"/>
                <a:gd name="T55" fmla="*/ 332 h 390"/>
                <a:gd name="T56" fmla="*/ 176 w 429"/>
                <a:gd name="T57" fmla="*/ 322 h 390"/>
                <a:gd name="T58" fmla="*/ 176 w 429"/>
                <a:gd name="T59" fmla="*/ 312 h 390"/>
                <a:gd name="T60" fmla="*/ 147 w 429"/>
                <a:gd name="T61" fmla="*/ 322 h 390"/>
                <a:gd name="T62" fmla="*/ 108 w 429"/>
                <a:gd name="T63" fmla="*/ 322 h 390"/>
                <a:gd name="T64" fmla="*/ 78 w 429"/>
                <a:gd name="T65" fmla="*/ 312 h 390"/>
                <a:gd name="T66" fmla="*/ 59 w 429"/>
                <a:gd name="T67" fmla="*/ 303 h 390"/>
                <a:gd name="T68" fmla="*/ 49 w 429"/>
                <a:gd name="T69" fmla="*/ 273 h 390"/>
                <a:gd name="T70" fmla="*/ 49 w 429"/>
                <a:gd name="T71" fmla="*/ 254 h 390"/>
                <a:gd name="T72" fmla="*/ 30 w 429"/>
                <a:gd name="T73" fmla="*/ 225 h 390"/>
                <a:gd name="T74" fmla="*/ 10 w 429"/>
                <a:gd name="T75" fmla="*/ 215 h 390"/>
                <a:gd name="T76" fmla="*/ 10 w 429"/>
                <a:gd name="T77" fmla="*/ 176 h 390"/>
                <a:gd name="T78" fmla="*/ 10 w 429"/>
                <a:gd name="T79" fmla="*/ 166 h 390"/>
                <a:gd name="T80" fmla="*/ 30 w 429"/>
                <a:gd name="T81" fmla="*/ 156 h 390"/>
                <a:gd name="T82" fmla="*/ 30 w 429"/>
                <a:gd name="T83" fmla="*/ 137 h 390"/>
                <a:gd name="T84" fmla="*/ 10 w 429"/>
                <a:gd name="T85" fmla="*/ 107 h 390"/>
                <a:gd name="T86" fmla="*/ 39 w 429"/>
                <a:gd name="T87" fmla="*/ 107 h 390"/>
                <a:gd name="T88" fmla="*/ 98 w 429"/>
                <a:gd name="T89" fmla="*/ 88 h 390"/>
                <a:gd name="T90" fmla="*/ 147 w 429"/>
                <a:gd name="T91" fmla="*/ 78 h 390"/>
                <a:gd name="T92" fmla="*/ 166 w 429"/>
                <a:gd name="T93" fmla="*/ 49 h 390"/>
                <a:gd name="T94" fmla="*/ 195 w 429"/>
                <a:gd name="T95" fmla="*/ 39 h 390"/>
                <a:gd name="T96" fmla="*/ 215 w 429"/>
                <a:gd name="T97" fmla="*/ 29 h 390"/>
                <a:gd name="T98" fmla="*/ 234 w 429"/>
                <a:gd name="T99" fmla="*/ 20 h 390"/>
                <a:gd name="T100" fmla="*/ 254 w 429"/>
                <a:gd name="T101" fmla="*/ 0 h 390"/>
                <a:gd name="T102" fmla="*/ 273 w 429"/>
                <a:gd name="T103" fmla="*/ 10 h 3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29"/>
                <a:gd name="T157" fmla="*/ 0 h 390"/>
                <a:gd name="T158" fmla="*/ 429 w 429"/>
                <a:gd name="T159" fmla="*/ 390 h 3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29" h="390">
                  <a:moveTo>
                    <a:pt x="273" y="10"/>
                  </a:moveTo>
                  <a:lnTo>
                    <a:pt x="293" y="29"/>
                  </a:lnTo>
                  <a:lnTo>
                    <a:pt x="312" y="20"/>
                  </a:lnTo>
                  <a:lnTo>
                    <a:pt x="322" y="20"/>
                  </a:lnTo>
                  <a:lnTo>
                    <a:pt x="342" y="39"/>
                  </a:lnTo>
                  <a:lnTo>
                    <a:pt x="351" y="49"/>
                  </a:lnTo>
                  <a:lnTo>
                    <a:pt x="342" y="68"/>
                  </a:lnTo>
                  <a:lnTo>
                    <a:pt x="332" y="68"/>
                  </a:lnTo>
                  <a:lnTo>
                    <a:pt x="322" y="68"/>
                  </a:lnTo>
                  <a:lnTo>
                    <a:pt x="312" y="78"/>
                  </a:lnTo>
                  <a:lnTo>
                    <a:pt x="303" y="88"/>
                  </a:lnTo>
                  <a:lnTo>
                    <a:pt x="312" y="98"/>
                  </a:lnTo>
                  <a:lnTo>
                    <a:pt x="322" y="107"/>
                  </a:lnTo>
                  <a:lnTo>
                    <a:pt x="312" y="117"/>
                  </a:lnTo>
                  <a:lnTo>
                    <a:pt x="312" y="127"/>
                  </a:lnTo>
                  <a:lnTo>
                    <a:pt x="332" y="147"/>
                  </a:lnTo>
                  <a:lnTo>
                    <a:pt x="351" y="137"/>
                  </a:lnTo>
                  <a:lnTo>
                    <a:pt x="371" y="147"/>
                  </a:lnTo>
                  <a:lnTo>
                    <a:pt x="371" y="156"/>
                  </a:lnTo>
                  <a:lnTo>
                    <a:pt x="371" y="166"/>
                  </a:lnTo>
                  <a:lnTo>
                    <a:pt x="361" y="186"/>
                  </a:lnTo>
                  <a:lnTo>
                    <a:pt x="371" y="205"/>
                  </a:lnTo>
                  <a:lnTo>
                    <a:pt x="381" y="215"/>
                  </a:lnTo>
                  <a:lnTo>
                    <a:pt x="400" y="234"/>
                  </a:lnTo>
                  <a:lnTo>
                    <a:pt x="420" y="264"/>
                  </a:lnTo>
                  <a:lnTo>
                    <a:pt x="429" y="283"/>
                  </a:lnTo>
                  <a:lnTo>
                    <a:pt x="420" y="283"/>
                  </a:lnTo>
                  <a:lnTo>
                    <a:pt x="410" y="273"/>
                  </a:lnTo>
                  <a:lnTo>
                    <a:pt x="400" y="273"/>
                  </a:lnTo>
                  <a:lnTo>
                    <a:pt x="400" y="283"/>
                  </a:lnTo>
                  <a:lnTo>
                    <a:pt x="390" y="283"/>
                  </a:lnTo>
                  <a:lnTo>
                    <a:pt x="371" y="293"/>
                  </a:lnTo>
                  <a:lnTo>
                    <a:pt x="371" y="303"/>
                  </a:lnTo>
                  <a:lnTo>
                    <a:pt x="390" y="303"/>
                  </a:lnTo>
                  <a:lnTo>
                    <a:pt x="400" y="312"/>
                  </a:lnTo>
                  <a:lnTo>
                    <a:pt x="400" y="322"/>
                  </a:lnTo>
                  <a:lnTo>
                    <a:pt x="400" y="332"/>
                  </a:lnTo>
                  <a:lnTo>
                    <a:pt x="410" y="342"/>
                  </a:lnTo>
                  <a:lnTo>
                    <a:pt x="410" y="351"/>
                  </a:lnTo>
                  <a:lnTo>
                    <a:pt x="400" y="361"/>
                  </a:lnTo>
                  <a:lnTo>
                    <a:pt x="381" y="361"/>
                  </a:lnTo>
                  <a:lnTo>
                    <a:pt x="351" y="371"/>
                  </a:lnTo>
                  <a:lnTo>
                    <a:pt x="312" y="371"/>
                  </a:lnTo>
                  <a:lnTo>
                    <a:pt x="293" y="371"/>
                  </a:lnTo>
                  <a:lnTo>
                    <a:pt x="283" y="371"/>
                  </a:lnTo>
                  <a:lnTo>
                    <a:pt x="273" y="390"/>
                  </a:lnTo>
                  <a:lnTo>
                    <a:pt x="254" y="390"/>
                  </a:lnTo>
                  <a:lnTo>
                    <a:pt x="234" y="390"/>
                  </a:lnTo>
                  <a:lnTo>
                    <a:pt x="205" y="390"/>
                  </a:lnTo>
                  <a:lnTo>
                    <a:pt x="195" y="371"/>
                  </a:lnTo>
                  <a:lnTo>
                    <a:pt x="186" y="371"/>
                  </a:lnTo>
                  <a:lnTo>
                    <a:pt x="186" y="351"/>
                  </a:lnTo>
                  <a:lnTo>
                    <a:pt x="176" y="332"/>
                  </a:lnTo>
                  <a:lnTo>
                    <a:pt x="166" y="332"/>
                  </a:lnTo>
                  <a:lnTo>
                    <a:pt x="176" y="322"/>
                  </a:lnTo>
                  <a:lnTo>
                    <a:pt x="186" y="312"/>
                  </a:lnTo>
                  <a:lnTo>
                    <a:pt x="176" y="312"/>
                  </a:lnTo>
                  <a:lnTo>
                    <a:pt x="156" y="322"/>
                  </a:lnTo>
                  <a:lnTo>
                    <a:pt x="147" y="322"/>
                  </a:lnTo>
                  <a:lnTo>
                    <a:pt x="127" y="332"/>
                  </a:lnTo>
                  <a:lnTo>
                    <a:pt x="108" y="322"/>
                  </a:lnTo>
                  <a:lnTo>
                    <a:pt x="98" y="312"/>
                  </a:lnTo>
                  <a:lnTo>
                    <a:pt x="78" y="312"/>
                  </a:lnTo>
                  <a:lnTo>
                    <a:pt x="69" y="312"/>
                  </a:lnTo>
                  <a:lnTo>
                    <a:pt x="59" y="303"/>
                  </a:lnTo>
                  <a:lnTo>
                    <a:pt x="59" y="283"/>
                  </a:lnTo>
                  <a:lnTo>
                    <a:pt x="49" y="273"/>
                  </a:lnTo>
                  <a:lnTo>
                    <a:pt x="49" y="264"/>
                  </a:lnTo>
                  <a:lnTo>
                    <a:pt x="49" y="254"/>
                  </a:lnTo>
                  <a:lnTo>
                    <a:pt x="39" y="244"/>
                  </a:lnTo>
                  <a:lnTo>
                    <a:pt x="30" y="225"/>
                  </a:lnTo>
                  <a:lnTo>
                    <a:pt x="10" y="225"/>
                  </a:lnTo>
                  <a:lnTo>
                    <a:pt x="10" y="215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166"/>
                  </a:lnTo>
                  <a:lnTo>
                    <a:pt x="10" y="166"/>
                  </a:lnTo>
                  <a:lnTo>
                    <a:pt x="20" y="156"/>
                  </a:lnTo>
                  <a:lnTo>
                    <a:pt x="30" y="156"/>
                  </a:lnTo>
                  <a:lnTo>
                    <a:pt x="30" y="137"/>
                  </a:lnTo>
                  <a:lnTo>
                    <a:pt x="10" y="127"/>
                  </a:lnTo>
                  <a:lnTo>
                    <a:pt x="10" y="107"/>
                  </a:lnTo>
                  <a:lnTo>
                    <a:pt x="39" y="107"/>
                  </a:lnTo>
                  <a:lnTo>
                    <a:pt x="69" y="98"/>
                  </a:lnTo>
                  <a:lnTo>
                    <a:pt x="98" y="88"/>
                  </a:lnTo>
                  <a:lnTo>
                    <a:pt x="117" y="78"/>
                  </a:lnTo>
                  <a:lnTo>
                    <a:pt x="147" y="78"/>
                  </a:lnTo>
                  <a:lnTo>
                    <a:pt x="166" y="59"/>
                  </a:lnTo>
                  <a:lnTo>
                    <a:pt x="166" y="49"/>
                  </a:lnTo>
                  <a:lnTo>
                    <a:pt x="176" y="39"/>
                  </a:lnTo>
                  <a:lnTo>
                    <a:pt x="195" y="39"/>
                  </a:lnTo>
                  <a:lnTo>
                    <a:pt x="205" y="39"/>
                  </a:lnTo>
                  <a:lnTo>
                    <a:pt x="215" y="29"/>
                  </a:lnTo>
                  <a:lnTo>
                    <a:pt x="234" y="29"/>
                  </a:lnTo>
                  <a:lnTo>
                    <a:pt x="234" y="20"/>
                  </a:lnTo>
                  <a:lnTo>
                    <a:pt x="234" y="0"/>
                  </a:lnTo>
                  <a:lnTo>
                    <a:pt x="254" y="0"/>
                  </a:lnTo>
                  <a:lnTo>
                    <a:pt x="273" y="1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9" name="Freeform 268"/>
            <p:cNvSpPr>
              <a:spLocks/>
            </p:cNvSpPr>
            <p:nvPr/>
          </p:nvSpPr>
          <p:spPr bwMode="auto">
            <a:xfrm>
              <a:off x="3239" y="1943"/>
              <a:ext cx="1317" cy="1022"/>
            </a:xfrm>
            <a:custGeom>
              <a:avLst/>
              <a:gdLst>
                <a:gd name="T0" fmla="*/ 673 w 1317"/>
                <a:gd name="T1" fmla="*/ 985 h 1024"/>
                <a:gd name="T2" fmla="*/ 732 w 1317"/>
                <a:gd name="T3" fmla="*/ 946 h 1024"/>
                <a:gd name="T4" fmla="*/ 771 w 1317"/>
                <a:gd name="T5" fmla="*/ 907 h 1024"/>
                <a:gd name="T6" fmla="*/ 810 w 1317"/>
                <a:gd name="T7" fmla="*/ 858 h 1024"/>
                <a:gd name="T8" fmla="*/ 849 w 1317"/>
                <a:gd name="T9" fmla="*/ 839 h 1024"/>
                <a:gd name="T10" fmla="*/ 888 w 1317"/>
                <a:gd name="T11" fmla="*/ 858 h 1024"/>
                <a:gd name="T12" fmla="*/ 976 w 1317"/>
                <a:gd name="T13" fmla="*/ 907 h 1024"/>
                <a:gd name="T14" fmla="*/ 1025 w 1317"/>
                <a:gd name="T15" fmla="*/ 897 h 1024"/>
                <a:gd name="T16" fmla="*/ 1064 w 1317"/>
                <a:gd name="T17" fmla="*/ 936 h 1024"/>
                <a:gd name="T18" fmla="*/ 1103 w 1317"/>
                <a:gd name="T19" fmla="*/ 936 h 1024"/>
                <a:gd name="T20" fmla="*/ 1181 w 1317"/>
                <a:gd name="T21" fmla="*/ 926 h 1024"/>
                <a:gd name="T22" fmla="*/ 1249 w 1317"/>
                <a:gd name="T23" fmla="*/ 936 h 1024"/>
                <a:gd name="T24" fmla="*/ 1317 w 1317"/>
                <a:gd name="T25" fmla="*/ 878 h 1024"/>
                <a:gd name="T26" fmla="*/ 1259 w 1317"/>
                <a:gd name="T27" fmla="*/ 829 h 1024"/>
                <a:gd name="T28" fmla="*/ 1249 w 1317"/>
                <a:gd name="T29" fmla="*/ 751 h 1024"/>
                <a:gd name="T30" fmla="*/ 1190 w 1317"/>
                <a:gd name="T31" fmla="*/ 722 h 1024"/>
                <a:gd name="T32" fmla="*/ 1142 w 1317"/>
                <a:gd name="T33" fmla="*/ 712 h 1024"/>
                <a:gd name="T34" fmla="*/ 1103 w 1317"/>
                <a:gd name="T35" fmla="*/ 653 h 1024"/>
                <a:gd name="T36" fmla="*/ 1054 w 1317"/>
                <a:gd name="T37" fmla="*/ 673 h 1024"/>
                <a:gd name="T38" fmla="*/ 1005 w 1317"/>
                <a:gd name="T39" fmla="*/ 683 h 1024"/>
                <a:gd name="T40" fmla="*/ 927 w 1317"/>
                <a:gd name="T41" fmla="*/ 663 h 1024"/>
                <a:gd name="T42" fmla="*/ 898 w 1317"/>
                <a:gd name="T43" fmla="*/ 595 h 1024"/>
                <a:gd name="T44" fmla="*/ 820 w 1317"/>
                <a:gd name="T45" fmla="*/ 556 h 1024"/>
                <a:gd name="T46" fmla="*/ 742 w 1317"/>
                <a:gd name="T47" fmla="*/ 517 h 1024"/>
                <a:gd name="T48" fmla="*/ 703 w 1317"/>
                <a:gd name="T49" fmla="*/ 487 h 1024"/>
                <a:gd name="T50" fmla="*/ 654 w 1317"/>
                <a:gd name="T51" fmla="*/ 468 h 1024"/>
                <a:gd name="T52" fmla="*/ 654 w 1317"/>
                <a:gd name="T53" fmla="*/ 429 h 1024"/>
                <a:gd name="T54" fmla="*/ 664 w 1317"/>
                <a:gd name="T55" fmla="*/ 351 h 1024"/>
                <a:gd name="T56" fmla="*/ 634 w 1317"/>
                <a:gd name="T57" fmla="*/ 331 h 1024"/>
                <a:gd name="T58" fmla="*/ 586 w 1317"/>
                <a:gd name="T59" fmla="*/ 292 h 1024"/>
                <a:gd name="T60" fmla="*/ 547 w 1317"/>
                <a:gd name="T61" fmla="*/ 292 h 1024"/>
                <a:gd name="T62" fmla="*/ 478 w 1317"/>
                <a:gd name="T63" fmla="*/ 263 h 1024"/>
                <a:gd name="T64" fmla="*/ 478 w 1317"/>
                <a:gd name="T65" fmla="*/ 224 h 1024"/>
                <a:gd name="T66" fmla="*/ 400 w 1317"/>
                <a:gd name="T67" fmla="*/ 185 h 1024"/>
                <a:gd name="T68" fmla="*/ 342 w 1317"/>
                <a:gd name="T69" fmla="*/ 165 h 1024"/>
                <a:gd name="T70" fmla="*/ 303 w 1317"/>
                <a:gd name="T71" fmla="*/ 126 h 1024"/>
                <a:gd name="T72" fmla="*/ 361 w 1317"/>
                <a:gd name="T73" fmla="*/ 58 h 1024"/>
                <a:gd name="T74" fmla="*/ 371 w 1317"/>
                <a:gd name="T75" fmla="*/ 0 h 1024"/>
                <a:gd name="T76" fmla="*/ 283 w 1317"/>
                <a:gd name="T77" fmla="*/ 29 h 1024"/>
                <a:gd name="T78" fmla="*/ 215 w 1317"/>
                <a:gd name="T79" fmla="*/ 9 h 1024"/>
                <a:gd name="T80" fmla="*/ 186 w 1317"/>
                <a:gd name="T81" fmla="*/ 58 h 1024"/>
                <a:gd name="T82" fmla="*/ 137 w 1317"/>
                <a:gd name="T83" fmla="*/ 126 h 1024"/>
                <a:gd name="T84" fmla="*/ 49 w 1317"/>
                <a:gd name="T85" fmla="*/ 224 h 1024"/>
                <a:gd name="T86" fmla="*/ 0 w 1317"/>
                <a:gd name="T87" fmla="*/ 292 h 1024"/>
                <a:gd name="T88" fmla="*/ 10 w 1317"/>
                <a:gd name="T89" fmla="*/ 331 h 1024"/>
                <a:gd name="T90" fmla="*/ 108 w 1317"/>
                <a:gd name="T91" fmla="*/ 458 h 1024"/>
                <a:gd name="T92" fmla="*/ 78 w 1317"/>
                <a:gd name="T93" fmla="*/ 556 h 1024"/>
                <a:gd name="T94" fmla="*/ 78 w 1317"/>
                <a:gd name="T95" fmla="*/ 683 h 1024"/>
                <a:gd name="T96" fmla="*/ 108 w 1317"/>
                <a:gd name="T97" fmla="*/ 790 h 1024"/>
                <a:gd name="T98" fmla="*/ 186 w 1317"/>
                <a:gd name="T99" fmla="*/ 790 h 1024"/>
                <a:gd name="T100" fmla="*/ 254 w 1317"/>
                <a:gd name="T101" fmla="*/ 800 h 1024"/>
                <a:gd name="T102" fmla="*/ 313 w 1317"/>
                <a:gd name="T103" fmla="*/ 790 h 1024"/>
                <a:gd name="T104" fmla="*/ 361 w 1317"/>
                <a:gd name="T105" fmla="*/ 751 h 1024"/>
                <a:gd name="T106" fmla="*/ 410 w 1317"/>
                <a:gd name="T107" fmla="*/ 780 h 1024"/>
                <a:gd name="T108" fmla="*/ 498 w 1317"/>
                <a:gd name="T109" fmla="*/ 868 h 1024"/>
                <a:gd name="T110" fmla="*/ 517 w 1317"/>
                <a:gd name="T111" fmla="*/ 926 h 1024"/>
                <a:gd name="T112" fmla="*/ 537 w 1317"/>
                <a:gd name="T113" fmla="*/ 975 h 10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17"/>
                <a:gd name="T172" fmla="*/ 0 h 1024"/>
                <a:gd name="T173" fmla="*/ 1317 w 1317"/>
                <a:gd name="T174" fmla="*/ 1024 h 10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17" h="1024">
                  <a:moveTo>
                    <a:pt x="625" y="1024"/>
                  </a:moveTo>
                  <a:lnTo>
                    <a:pt x="654" y="1014"/>
                  </a:lnTo>
                  <a:lnTo>
                    <a:pt x="673" y="1005"/>
                  </a:lnTo>
                  <a:lnTo>
                    <a:pt x="673" y="985"/>
                  </a:lnTo>
                  <a:lnTo>
                    <a:pt x="683" y="975"/>
                  </a:lnTo>
                  <a:lnTo>
                    <a:pt x="703" y="966"/>
                  </a:lnTo>
                  <a:lnTo>
                    <a:pt x="703" y="956"/>
                  </a:lnTo>
                  <a:lnTo>
                    <a:pt x="732" y="946"/>
                  </a:lnTo>
                  <a:lnTo>
                    <a:pt x="751" y="946"/>
                  </a:lnTo>
                  <a:lnTo>
                    <a:pt x="761" y="946"/>
                  </a:lnTo>
                  <a:lnTo>
                    <a:pt x="771" y="936"/>
                  </a:lnTo>
                  <a:lnTo>
                    <a:pt x="771" y="907"/>
                  </a:lnTo>
                  <a:lnTo>
                    <a:pt x="790" y="887"/>
                  </a:lnTo>
                  <a:lnTo>
                    <a:pt x="790" y="868"/>
                  </a:lnTo>
                  <a:lnTo>
                    <a:pt x="800" y="858"/>
                  </a:lnTo>
                  <a:lnTo>
                    <a:pt x="810" y="858"/>
                  </a:lnTo>
                  <a:lnTo>
                    <a:pt x="810" y="839"/>
                  </a:lnTo>
                  <a:lnTo>
                    <a:pt x="830" y="829"/>
                  </a:lnTo>
                  <a:lnTo>
                    <a:pt x="830" y="839"/>
                  </a:lnTo>
                  <a:lnTo>
                    <a:pt x="849" y="839"/>
                  </a:lnTo>
                  <a:lnTo>
                    <a:pt x="859" y="848"/>
                  </a:lnTo>
                  <a:lnTo>
                    <a:pt x="859" y="858"/>
                  </a:lnTo>
                  <a:lnTo>
                    <a:pt x="869" y="848"/>
                  </a:lnTo>
                  <a:lnTo>
                    <a:pt x="888" y="858"/>
                  </a:lnTo>
                  <a:lnTo>
                    <a:pt x="917" y="868"/>
                  </a:lnTo>
                  <a:lnTo>
                    <a:pt x="927" y="887"/>
                  </a:lnTo>
                  <a:lnTo>
                    <a:pt x="956" y="907"/>
                  </a:lnTo>
                  <a:lnTo>
                    <a:pt x="976" y="907"/>
                  </a:lnTo>
                  <a:lnTo>
                    <a:pt x="986" y="907"/>
                  </a:lnTo>
                  <a:lnTo>
                    <a:pt x="1005" y="897"/>
                  </a:lnTo>
                  <a:lnTo>
                    <a:pt x="1015" y="897"/>
                  </a:lnTo>
                  <a:lnTo>
                    <a:pt x="1025" y="897"/>
                  </a:lnTo>
                  <a:lnTo>
                    <a:pt x="1025" y="926"/>
                  </a:lnTo>
                  <a:lnTo>
                    <a:pt x="1034" y="926"/>
                  </a:lnTo>
                  <a:lnTo>
                    <a:pt x="1054" y="926"/>
                  </a:lnTo>
                  <a:lnTo>
                    <a:pt x="1064" y="936"/>
                  </a:lnTo>
                  <a:lnTo>
                    <a:pt x="1073" y="946"/>
                  </a:lnTo>
                  <a:lnTo>
                    <a:pt x="1093" y="946"/>
                  </a:lnTo>
                  <a:lnTo>
                    <a:pt x="1103" y="946"/>
                  </a:lnTo>
                  <a:lnTo>
                    <a:pt x="1103" y="936"/>
                  </a:lnTo>
                  <a:lnTo>
                    <a:pt x="1122" y="926"/>
                  </a:lnTo>
                  <a:lnTo>
                    <a:pt x="1142" y="926"/>
                  </a:lnTo>
                  <a:lnTo>
                    <a:pt x="1161" y="926"/>
                  </a:lnTo>
                  <a:lnTo>
                    <a:pt x="1181" y="926"/>
                  </a:lnTo>
                  <a:lnTo>
                    <a:pt x="1190" y="936"/>
                  </a:lnTo>
                  <a:lnTo>
                    <a:pt x="1210" y="946"/>
                  </a:lnTo>
                  <a:lnTo>
                    <a:pt x="1249" y="936"/>
                  </a:lnTo>
                  <a:lnTo>
                    <a:pt x="1307" y="926"/>
                  </a:lnTo>
                  <a:lnTo>
                    <a:pt x="1307" y="907"/>
                  </a:lnTo>
                  <a:lnTo>
                    <a:pt x="1317" y="897"/>
                  </a:lnTo>
                  <a:lnTo>
                    <a:pt x="1317" y="878"/>
                  </a:lnTo>
                  <a:lnTo>
                    <a:pt x="1307" y="878"/>
                  </a:lnTo>
                  <a:lnTo>
                    <a:pt x="1288" y="868"/>
                  </a:lnTo>
                  <a:lnTo>
                    <a:pt x="1268" y="848"/>
                  </a:lnTo>
                  <a:lnTo>
                    <a:pt x="1259" y="829"/>
                  </a:lnTo>
                  <a:lnTo>
                    <a:pt x="1288" y="790"/>
                  </a:lnTo>
                  <a:lnTo>
                    <a:pt x="1278" y="780"/>
                  </a:lnTo>
                  <a:lnTo>
                    <a:pt x="1259" y="761"/>
                  </a:lnTo>
                  <a:lnTo>
                    <a:pt x="1249" y="751"/>
                  </a:lnTo>
                  <a:lnTo>
                    <a:pt x="1239" y="761"/>
                  </a:lnTo>
                  <a:lnTo>
                    <a:pt x="1220" y="751"/>
                  </a:lnTo>
                  <a:lnTo>
                    <a:pt x="1200" y="731"/>
                  </a:lnTo>
                  <a:lnTo>
                    <a:pt x="1190" y="722"/>
                  </a:lnTo>
                  <a:lnTo>
                    <a:pt x="1181" y="722"/>
                  </a:lnTo>
                  <a:lnTo>
                    <a:pt x="1171" y="712"/>
                  </a:lnTo>
                  <a:lnTo>
                    <a:pt x="1161" y="712"/>
                  </a:lnTo>
                  <a:lnTo>
                    <a:pt x="1142" y="712"/>
                  </a:lnTo>
                  <a:lnTo>
                    <a:pt x="1132" y="702"/>
                  </a:lnTo>
                  <a:lnTo>
                    <a:pt x="1122" y="692"/>
                  </a:lnTo>
                  <a:lnTo>
                    <a:pt x="1112" y="673"/>
                  </a:lnTo>
                  <a:lnTo>
                    <a:pt x="1103" y="653"/>
                  </a:lnTo>
                  <a:lnTo>
                    <a:pt x="1083" y="663"/>
                  </a:lnTo>
                  <a:lnTo>
                    <a:pt x="1064" y="663"/>
                  </a:lnTo>
                  <a:lnTo>
                    <a:pt x="1054" y="673"/>
                  </a:lnTo>
                  <a:lnTo>
                    <a:pt x="1044" y="683"/>
                  </a:lnTo>
                  <a:lnTo>
                    <a:pt x="1034" y="692"/>
                  </a:lnTo>
                  <a:lnTo>
                    <a:pt x="1025" y="692"/>
                  </a:lnTo>
                  <a:lnTo>
                    <a:pt x="1005" y="683"/>
                  </a:lnTo>
                  <a:lnTo>
                    <a:pt x="995" y="673"/>
                  </a:lnTo>
                  <a:lnTo>
                    <a:pt x="976" y="673"/>
                  </a:lnTo>
                  <a:lnTo>
                    <a:pt x="947" y="673"/>
                  </a:lnTo>
                  <a:lnTo>
                    <a:pt x="927" y="663"/>
                  </a:lnTo>
                  <a:lnTo>
                    <a:pt x="908" y="644"/>
                  </a:lnTo>
                  <a:lnTo>
                    <a:pt x="908" y="634"/>
                  </a:lnTo>
                  <a:lnTo>
                    <a:pt x="898" y="605"/>
                  </a:lnTo>
                  <a:lnTo>
                    <a:pt x="898" y="595"/>
                  </a:lnTo>
                  <a:lnTo>
                    <a:pt x="869" y="585"/>
                  </a:lnTo>
                  <a:lnTo>
                    <a:pt x="859" y="565"/>
                  </a:lnTo>
                  <a:lnTo>
                    <a:pt x="849" y="556"/>
                  </a:lnTo>
                  <a:lnTo>
                    <a:pt x="820" y="556"/>
                  </a:lnTo>
                  <a:lnTo>
                    <a:pt x="800" y="546"/>
                  </a:lnTo>
                  <a:lnTo>
                    <a:pt x="781" y="536"/>
                  </a:lnTo>
                  <a:lnTo>
                    <a:pt x="771" y="517"/>
                  </a:lnTo>
                  <a:lnTo>
                    <a:pt x="742" y="517"/>
                  </a:lnTo>
                  <a:lnTo>
                    <a:pt x="732" y="507"/>
                  </a:lnTo>
                  <a:lnTo>
                    <a:pt x="732" y="487"/>
                  </a:lnTo>
                  <a:lnTo>
                    <a:pt x="722" y="478"/>
                  </a:lnTo>
                  <a:lnTo>
                    <a:pt x="703" y="487"/>
                  </a:lnTo>
                  <a:lnTo>
                    <a:pt x="693" y="487"/>
                  </a:lnTo>
                  <a:lnTo>
                    <a:pt x="673" y="478"/>
                  </a:lnTo>
                  <a:lnTo>
                    <a:pt x="654" y="478"/>
                  </a:lnTo>
                  <a:lnTo>
                    <a:pt x="654" y="468"/>
                  </a:lnTo>
                  <a:lnTo>
                    <a:pt x="654" y="458"/>
                  </a:lnTo>
                  <a:lnTo>
                    <a:pt x="664" y="448"/>
                  </a:lnTo>
                  <a:lnTo>
                    <a:pt x="664" y="439"/>
                  </a:lnTo>
                  <a:lnTo>
                    <a:pt x="654" y="429"/>
                  </a:lnTo>
                  <a:lnTo>
                    <a:pt x="654" y="400"/>
                  </a:lnTo>
                  <a:lnTo>
                    <a:pt x="654" y="370"/>
                  </a:lnTo>
                  <a:lnTo>
                    <a:pt x="654" y="361"/>
                  </a:lnTo>
                  <a:lnTo>
                    <a:pt x="664" y="351"/>
                  </a:lnTo>
                  <a:lnTo>
                    <a:pt x="664" y="341"/>
                  </a:lnTo>
                  <a:lnTo>
                    <a:pt x="654" y="341"/>
                  </a:lnTo>
                  <a:lnTo>
                    <a:pt x="644" y="322"/>
                  </a:lnTo>
                  <a:lnTo>
                    <a:pt x="634" y="331"/>
                  </a:lnTo>
                  <a:lnTo>
                    <a:pt x="625" y="322"/>
                  </a:lnTo>
                  <a:lnTo>
                    <a:pt x="605" y="292"/>
                  </a:lnTo>
                  <a:lnTo>
                    <a:pt x="595" y="292"/>
                  </a:lnTo>
                  <a:lnTo>
                    <a:pt x="586" y="292"/>
                  </a:lnTo>
                  <a:lnTo>
                    <a:pt x="566" y="302"/>
                  </a:lnTo>
                  <a:lnTo>
                    <a:pt x="556" y="292"/>
                  </a:lnTo>
                  <a:lnTo>
                    <a:pt x="547" y="292"/>
                  </a:lnTo>
                  <a:lnTo>
                    <a:pt x="517" y="292"/>
                  </a:lnTo>
                  <a:lnTo>
                    <a:pt x="498" y="292"/>
                  </a:lnTo>
                  <a:lnTo>
                    <a:pt x="478" y="283"/>
                  </a:lnTo>
                  <a:lnTo>
                    <a:pt x="478" y="263"/>
                  </a:lnTo>
                  <a:lnTo>
                    <a:pt x="488" y="244"/>
                  </a:lnTo>
                  <a:lnTo>
                    <a:pt x="498" y="234"/>
                  </a:lnTo>
                  <a:lnTo>
                    <a:pt x="498" y="224"/>
                  </a:lnTo>
                  <a:lnTo>
                    <a:pt x="478" y="224"/>
                  </a:lnTo>
                  <a:lnTo>
                    <a:pt x="459" y="204"/>
                  </a:lnTo>
                  <a:lnTo>
                    <a:pt x="439" y="204"/>
                  </a:lnTo>
                  <a:lnTo>
                    <a:pt x="430" y="195"/>
                  </a:lnTo>
                  <a:lnTo>
                    <a:pt x="400" y="185"/>
                  </a:lnTo>
                  <a:lnTo>
                    <a:pt x="361" y="185"/>
                  </a:lnTo>
                  <a:lnTo>
                    <a:pt x="352" y="185"/>
                  </a:lnTo>
                  <a:lnTo>
                    <a:pt x="342" y="185"/>
                  </a:lnTo>
                  <a:lnTo>
                    <a:pt x="342" y="165"/>
                  </a:lnTo>
                  <a:lnTo>
                    <a:pt x="332" y="146"/>
                  </a:lnTo>
                  <a:lnTo>
                    <a:pt x="322" y="146"/>
                  </a:lnTo>
                  <a:lnTo>
                    <a:pt x="303" y="136"/>
                  </a:lnTo>
                  <a:lnTo>
                    <a:pt x="303" y="126"/>
                  </a:lnTo>
                  <a:lnTo>
                    <a:pt x="322" y="117"/>
                  </a:lnTo>
                  <a:lnTo>
                    <a:pt x="342" y="97"/>
                  </a:lnTo>
                  <a:lnTo>
                    <a:pt x="352" y="78"/>
                  </a:lnTo>
                  <a:lnTo>
                    <a:pt x="361" y="58"/>
                  </a:lnTo>
                  <a:lnTo>
                    <a:pt x="352" y="48"/>
                  </a:lnTo>
                  <a:lnTo>
                    <a:pt x="361" y="29"/>
                  </a:lnTo>
                  <a:lnTo>
                    <a:pt x="361" y="19"/>
                  </a:lnTo>
                  <a:lnTo>
                    <a:pt x="371" y="0"/>
                  </a:lnTo>
                  <a:lnTo>
                    <a:pt x="342" y="0"/>
                  </a:lnTo>
                  <a:lnTo>
                    <a:pt x="313" y="9"/>
                  </a:lnTo>
                  <a:lnTo>
                    <a:pt x="293" y="29"/>
                  </a:lnTo>
                  <a:lnTo>
                    <a:pt x="283" y="29"/>
                  </a:lnTo>
                  <a:lnTo>
                    <a:pt x="254" y="29"/>
                  </a:lnTo>
                  <a:lnTo>
                    <a:pt x="244" y="19"/>
                  </a:lnTo>
                  <a:lnTo>
                    <a:pt x="235" y="9"/>
                  </a:lnTo>
                  <a:lnTo>
                    <a:pt x="215" y="9"/>
                  </a:lnTo>
                  <a:lnTo>
                    <a:pt x="195" y="19"/>
                  </a:lnTo>
                  <a:lnTo>
                    <a:pt x="195" y="39"/>
                  </a:lnTo>
                  <a:lnTo>
                    <a:pt x="195" y="4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66" y="97"/>
                  </a:lnTo>
                  <a:lnTo>
                    <a:pt x="147" y="107"/>
                  </a:lnTo>
                  <a:lnTo>
                    <a:pt x="137" y="126"/>
                  </a:lnTo>
                  <a:lnTo>
                    <a:pt x="88" y="156"/>
                  </a:lnTo>
                  <a:lnTo>
                    <a:pt x="69" y="175"/>
                  </a:lnTo>
                  <a:lnTo>
                    <a:pt x="69" y="204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39" y="244"/>
                  </a:lnTo>
                  <a:lnTo>
                    <a:pt x="20" y="263"/>
                  </a:lnTo>
                  <a:lnTo>
                    <a:pt x="0" y="292"/>
                  </a:lnTo>
                  <a:lnTo>
                    <a:pt x="10" y="292"/>
                  </a:lnTo>
                  <a:lnTo>
                    <a:pt x="10" y="312"/>
                  </a:lnTo>
                  <a:lnTo>
                    <a:pt x="10" y="331"/>
                  </a:lnTo>
                  <a:lnTo>
                    <a:pt x="39" y="341"/>
                  </a:lnTo>
                  <a:lnTo>
                    <a:pt x="78" y="380"/>
                  </a:lnTo>
                  <a:lnTo>
                    <a:pt x="98" y="429"/>
                  </a:lnTo>
                  <a:lnTo>
                    <a:pt x="108" y="458"/>
                  </a:lnTo>
                  <a:lnTo>
                    <a:pt x="108" y="478"/>
                  </a:lnTo>
                  <a:lnTo>
                    <a:pt x="88" y="507"/>
                  </a:lnTo>
                  <a:lnTo>
                    <a:pt x="88" y="517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69" y="624"/>
                  </a:lnTo>
                  <a:lnTo>
                    <a:pt x="59" y="653"/>
                  </a:lnTo>
                  <a:lnTo>
                    <a:pt x="78" y="683"/>
                  </a:lnTo>
                  <a:lnTo>
                    <a:pt x="108" y="702"/>
                  </a:lnTo>
                  <a:lnTo>
                    <a:pt x="108" y="712"/>
                  </a:lnTo>
                  <a:lnTo>
                    <a:pt x="108" y="751"/>
                  </a:lnTo>
                  <a:lnTo>
                    <a:pt x="108" y="790"/>
                  </a:lnTo>
                  <a:lnTo>
                    <a:pt x="147" y="819"/>
                  </a:lnTo>
                  <a:lnTo>
                    <a:pt x="166" y="819"/>
                  </a:lnTo>
                  <a:lnTo>
                    <a:pt x="166" y="800"/>
                  </a:lnTo>
                  <a:lnTo>
                    <a:pt x="186" y="790"/>
                  </a:lnTo>
                  <a:lnTo>
                    <a:pt x="195" y="790"/>
                  </a:lnTo>
                  <a:lnTo>
                    <a:pt x="215" y="800"/>
                  </a:lnTo>
                  <a:lnTo>
                    <a:pt x="235" y="800"/>
                  </a:lnTo>
                  <a:lnTo>
                    <a:pt x="254" y="800"/>
                  </a:lnTo>
                  <a:lnTo>
                    <a:pt x="264" y="809"/>
                  </a:lnTo>
                  <a:lnTo>
                    <a:pt x="293" y="809"/>
                  </a:lnTo>
                  <a:lnTo>
                    <a:pt x="293" y="790"/>
                  </a:lnTo>
                  <a:lnTo>
                    <a:pt x="313" y="790"/>
                  </a:lnTo>
                  <a:lnTo>
                    <a:pt x="342" y="770"/>
                  </a:lnTo>
                  <a:lnTo>
                    <a:pt x="352" y="761"/>
                  </a:lnTo>
                  <a:lnTo>
                    <a:pt x="352" y="751"/>
                  </a:lnTo>
                  <a:lnTo>
                    <a:pt x="361" y="751"/>
                  </a:lnTo>
                  <a:lnTo>
                    <a:pt x="381" y="751"/>
                  </a:lnTo>
                  <a:lnTo>
                    <a:pt x="381" y="770"/>
                  </a:lnTo>
                  <a:lnTo>
                    <a:pt x="400" y="770"/>
                  </a:lnTo>
                  <a:lnTo>
                    <a:pt x="410" y="780"/>
                  </a:lnTo>
                  <a:lnTo>
                    <a:pt x="430" y="790"/>
                  </a:lnTo>
                  <a:lnTo>
                    <a:pt x="449" y="809"/>
                  </a:lnTo>
                  <a:lnTo>
                    <a:pt x="469" y="819"/>
                  </a:lnTo>
                  <a:lnTo>
                    <a:pt x="498" y="868"/>
                  </a:lnTo>
                  <a:lnTo>
                    <a:pt x="498" y="887"/>
                  </a:lnTo>
                  <a:lnTo>
                    <a:pt x="498" y="907"/>
                  </a:lnTo>
                  <a:lnTo>
                    <a:pt x="498" y="926"/>
                  </a:lnTo>
                  <a:lnTo>
                    <a:pt x="517" y="926"/>
                  </a:lnTo>
                  <a:lnTo>
                    <a:pt x="508" y="936"/>
                  </a:lnTo>
                  <a:lnTo>
                    <a:pt x="517" y="956"/>
                  </a:lnTo>
                  <a:lnTo>
                    <a:pt x="537" y="975"/>
                  </a:lnTo>
                  <a:lnTo>
                    <a:pt x="556" y="985"/>
                  </a:lnTo>
                  <a:lnTo>
                    <a:pt x="586" y="1005"/>
                  </a:lnTo>
                  <a:lnTo>
                    <a:pt x="625" y="1024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0" name="Freeform 267"/>
            <p:cNvSpPr>
              <a:spLocks/>
            </p:cNvSpPr>
            <p:nvPr/>
          </p:nvSpPr>
          <p:spPr bwMode="auto">
            <a:xfrm>
              <a:off x="1970" y="1394"/>
              <a:ext cx="656" cy="595"/>
            </a:xfrm>
            <a:custGeom>
              <a:avLst/>
              <a:gdLst>
                <a:gd name="T0" fmla="*/ 400 w 654"/>
                <a:gd name="T1" fmla="*/ 527 h 595"/>
                <a:gd name="T2" fmla="*/ 371 w 654"/>
                <a:gd name="T3" fmla="*/ 469 h 595"/>
                <a:gd name="T4" fmla="*/ 332 w 654"/>
                <a:gd name="T5" fmla="*/ 439 h 595"/>
                <a:gd name="T6" fmla="*/ 312 w 654"/>
                <a:gd name="T7" fmla="*/ 400 h 595"/>
                <a:gd name="T8" fmla="*/ 283 w 654"/>
                <a:gd name="T9" fmla="*/ 420 h 595"/>
                <a:gd name="T10" fmla="*/ 215 w 654"/>
                <a:gd name="T11" fmla="*/ 410 h 595"/>
                <a:gd name="T12" fmla="*/ 186 w 654"/>
                <a:gd name="T13" fmla="*/ 390 h 595"/>
                <a:gd name="T14" fmla="*/ 186 w 654"/>
                <a:gd name="T15" fmla="*/ 332 h 595"/>
                <a:gd name="T16" fmla="*/ 156 w 654"/>
                <a:gd name="T17" fmla="*/ 312 h 595"/>
                <a:gd name="T18" fmla="*/ 117 w 654"/>
                <a:gd name="T19" fmla="*/ 283 h 595"/>
                <a:gd name="T20" fmla="*/ 78 w 654"/>
                <a:gd name="T21" fmla="*/ 273 h 595"/>
                <a:gd name="T22" fmla="*/ 69 w 654"/>
                <a:gd name="T23" fmla="*/ 254 h 595"/>
                <a:gd name="T24" fmla="*/ 59 w 654"/>
                <a:gd name="T25" fmla="*/ 205 h 595"/>
                <a:gd name="T26" fmla="*/ 20 w 654"/>
                <a:gd name="T27" fmla="*/ 205 h 595"/>
                <a:gd name="T28" fmla="*/ 20 w 654"/>
                <a:gd name="T29" fmla="*/ 137 h 595"/>
                <a:gd name="T30" fmla="*/ 10 w 654"/>
                <a:gd name="T31" fmla="*/ 108 h 595"/>
                <a:gd name="T32" fmla="*/ 30 w 654"/>
                <a:gd name="T33" fmla="*/ 88 h 595"/>
                <a:gd name="T34" fmla="*/ 88 w 654"/>
                <a:gd name="T35" fmla="*/ 88 h 595"/>
                <a:gd name="T36" fmla="*/ 127 w 654"/>
                <a:gd name="T37" fmla="*/ 39 h 595"/>
                <a:gd name="T38" fmla="*/ 195 w 654"/>
                <a:gd name="T39" fmla="*/ 0 h 595"/>
                <a:gd name="T40" fmla="*/ 244 w 654"/>
                <a:gd name="T41" fmla="*/ 10 h 595"/>
                <a:gd name="T42" fmla="*/ 312 w 654"/>
                <a:gd name="T43" fmla="*/ 10 h 595"/>
                <a:gd name="T44" fmla="*/ 342 w 654"/>
                <a:gd name="T45" fmla="*/ 29 h 595"/>
                <a:gd name="T46" fmla="*/ 351 w 654"/>
                <a:gd name="T47" fmla="*/ 59 h 595"/>
                <a:gd name="T48" fmla="*/ 342 w 654"/>
                <a:gd name="T49" fmla="*/ 108 h 595"/>
                <a:gd name="T50" fmla="*/ 322 w 654"/>
                <a:gd name="T51" fmla="*/ 166 h 595"/>
                <a:gd name="T52" fmla="*/ 351 w 654"/>
                <a:gd name="T53" fmla="*/ 225 h 595"/>
                <a:gd name="T54" fmla="*/ 391 w 654"/>
                <a:gd name="T55" fmla="*/ 244 h 595"/>
                <a:gd name="T56" fmla="*/ 430 w 654"/>
                <a:gd name="T57" fmla="*/ 273 h 595"/>
                <a:gd name="T58" fmla="*/ 449 w 654"/>
                <a:gd name="T59" fmla="*/ 303 h 595"/>
                <a:gd name="T60" fmla="*/ 478 w 654"/>
                <a:gd name="T61" fmla="*/ 332 h 595"/>
                <a:gd name="T62" fmla="*/ 537 w 654"/>
                <a:gd name="T63" fmla="*/ 361 h 595"/>
                <a:gd name="T64" fmla="*/ 556 w 654"/>
                <a:gd name="T65" fmla="*/ 390 h 595"/>
                <a:gd name="T66" fmla="*/ 595 w 654"/>
                <a:gd name="T67" fmla="*/ 400 h 595"/>
                <a:gd name="T68" fmla="*/ 615 w 654"/>
                <a:gd name="T69" fmla="*/ 430 h 595"/>
                <a:gd name="T70" fmla="*/ 644 w 654"/>
                <a:gd name="T71" fmla="*/ 459 h 595"/>
                <a:gd name="T72" fmla="*/ 644 w 654"/>
                <a:gd name="T73" fmla="*/ 508 h 595"/>
                <a:gd name="T74" fmla="*/ 605 w 654"/>
                <a:gd name="T75" fmla="*/ 517 h 595"/>
                <a:gd name="T76" fmla="*/ 566 w 654"/>
                <a:gd name="T77" fmla="*/ 508 h 595"/>
                <a:gd name="T78" fmla="*/ 566 w 654"/>
                <a:gd name="T79" fmla="*/ 537 h 595"/>
                <a:gd name="T80" fmla="*/ 566 w 654"/>
                <a:gd name="T81" fmla="*/ 576 h 595"/>
                <a:gd name="T82" fmla="*/ 527 w 654"/>
                <a:gd name="T83" fmla="*/ 576 h 595"/>
                <a:gd name="T84" fmla="*/ 488 w 654"/>
                <a:gd name="T85" fmla="*/ 586 h 595"/>
                <a:gd name="T86" fmla="*/ 430 w 654"/>
                <a:gd name="T87" fmla="*/ 576 h 59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54"/>
                <a:gd name="T133" fmla="*/ 0 h 595"/>
                <a:gd name="T134" fmla="*/ 654 w 654"/>
                <a:gd name="T135" fmla="*/ 595 h 59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54" h="595">
                  <a:moveTo>
                    <a:pt x="430" y="556"/>
                  </a:moveTo>
                  <a:lnTo>
                    <a:pt x="410" y="547"/>
                  </a:lnTo>
                  <a:lnTo>
                    <a:pt x="400" y="527"/>
                  </a:lnTo>
                  <a:lnTo>
                    <a:pt x="381" y="498"/>
                  </a:lnTo>
                  <a:lnTo>
                    <a:pt x="371" y="488"/>
                  </a:lnTo>
                  <a:lnTo>
                    <a:pt x="371" y="469"/>
                  </a:lnTo>
                  <a:lnTo>
                    <a:pt x="361" y="449"/>
                  </a:lnTo>
                  <a:lnTo>
                    <a:pt x="351" y="439"/>
                  </a:lnTo>
                  <a:lnTo>
                    <a:pt x="332" y="439"/>
                  </a:lnTo>
                  <a:lnTo>
                    <a:pt x="332" y="420"/>
                  </a:lnTo>
                  <a:lnTo>
                    <a:pt x="322" y="420"/>
                  </a:lnTo>
                  <a:lnTo>
                    <a:pt x="312" y="400"/>
                  </a:lnTo>
                  <a:lnTo>
                    <a:pt x="303" y="390"/>
                  </a:lnTo>
                  <a:lnTo>
                    <a:pt x="303" y="410"/>
                  </a:lnTo>
                  <a:lnTo>
                    <a:pt x="283" y="420"/>
                  </a:lnTo>
                  <a:lnTo>
                    <a:pt x="244" y="390"/>
                  </a:lnTo>
                  <a:lnTo>
                    <a:pt x="225" y="400"/>
                  </a:lnTo>
                  <a:lnTo>
                    <a:pt x="215" y="410"/>
                  </a:lnTo>
                  <a:lnTo>
                    <a:pt x="195" y="410"/>
                  </a:lnTo>
                  <a:lnTo>
                    <a:pt x="195" y="400"/>
                  </a:lnTo>
                  <a:lnTo>
                    <a:pt x="186" y="390"/>
                  </a:lnTo>
                  <a:lnTo>
                    <a:pt x="176" y="381"/>
                  </a:lnTo>
                  <a:lnTo>
                    <a:pt x="186" y="351"/>
                  </a:lnTo>
                  <a:lnTo>
                    <a:pt x="186" y="332"/>
                  </a:lnTo>
                  <a:lnTo>
                    <a:pt x="176" y="312"/>
                  </a:lnTo>
                  <a:lnTo>
                    <a:pt x="166" y="303"/>
                  </a:lnTo>
                  <a:lnTo>
                    <a:pt x="156" y="312"/>
                  </a:lnTo>
                  <a:lnTo>
                    <a:pt x="147" y="303"/>
                  </a:lnTo>
                  <a:lnTo>
                    <a:pt x="137" y="293"/>
                  </a:lnTo>
                  <a:lnTo>
                    <a:pt x="117" y="283"/>
                  </a:lnTo>
                  <a:lnTo>
                    <a:pt x="98" y="273"/>
                  </a:lnTo>
                  <a:lnTo>
                    <a:pt x="88" y="264"/>
                  </a:lnTo>
                  <a:lnTo>
                    <a:pt x="78" y="273"/>
                  </a:lnTo>
                  <a:lnTo>
                    <a:pt x="69" y="273"/>
                  </a:lnTo>
                  <a:lnTo>
                    <a:pt x="59" y="264"/>
                  </a:lnTo>
                  <a:lnTo>
                    <a:pt x="69" y="254"/>
                  </a:lnTo>
                  <a:lnTo>
                    <a:pt x="69" y="244"/>
                  </a:lnTo>
                  <a:lnTo>
                    <a:pt x="78" y="225"/>
                  </a:lnTo>
                  <a:lnTo>
                    <a:pt x="59" y="205"/>
                  </a:lnTo>
                  <a:lnTo>
                    <a:pt x="39" y="205"/>
                  </a:lnTo>
                  <a:lnTo>
                    <a:pt x="30" y="205"/>
                  </a:lnTo>
                  <a:lnTo>
                    <a:pt x="20" y="205"/>
                  </a:lnTo>
                  <a:lnTo>
                    <a:pt x="30" y="176"/>
                  </a:lnTo>
                  <a:lnTo>
                    <a:pt x="30" y="147"/>
                  </a:lnTo>
                  <a:lnTo>
                    <a:pt x="20" y="137"/>
                  </a:lnTo>
                  <a:lnTo>
                    <a:pt x="0" y="12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0" y="98"/>
                  </a:lnTo>
                  <a:lnTo>
                    <a:pt x="20" y="88"/>
                  </a:lnTo>
                  <a:lnTo>
                    <a:pt x="30" y="88"/>
                  </a:lnTo>
                  <a:lnTo>
                    <a:pt x="49" y="88"/>
                  </a:lnTo>
                  <a:lnTo>
                    <a:pt x="69" y="108"/>
                  </a:lnTo>
                  <a:lnTo>
                    <a:pt x="88" y="88"/>
                  </a:lnTo>
                  <a:lnTo>
                    <a:pt x="108" y="69"/>
                  </a:lnTo>
                  <a:lnTo>
                    <a:pt x="127" y="49"/>
                  </a:lnTo>
                  <a:lnTo>
                    <a:pt x="127" y="39"/>
                  </a:lnTo>
                  <a:lnTo>
                    <a:pt x="166" y="29"/>
                  </a:lnTo>
                  <a:lnTo>
                    <a:pt x="186" y="10"/>
                  </a:lnTo>
                  <a:lnTo>
                    <a:pt x="195" y="0"/>
                  </a:lnTo>
                  <a:lnTo>
                    <a:pt x="205" y="0"/>
                  </a:lnTo>
                  <a:lnTo>
                    <a:pt x="225" y="0"/>
                  </a:lnTo>
                  <a:lnTo>
                    <a:pt x="244" y="10"/>
                  </a:lnTo>
                  <a:lnTo>
                    <a:pt x="254" y="10"/>
                  </a:lnTo>
                  <a:lnTo>
                    <a:pt x="254" y="0"/>
                  </a:lnTo>
                  <a:lnTo>
                    <a:pt x="312" y="10"/>
                  </a:lnTo>
                  <a:lnTo>
                    <a:pt x="322" y="10"/>
                  </a:lnTo>
                  <a:lnTo>
                    <a:pt x="322" y="29"/>
                  </a:lnTo>
                  <a:lnTo>
                    <a:pt x="342" y="29"/>
                  </a:lnTo>
                  <a:lnTo>
                    <a:pt x="342" y="39"/>
                  </a:lnTo>
                  <a:lnTo>
                    <a:pt x="342" y="49"/>
                  </a:lnTo>
                  <a:lnTo>
                    <a:pt x="351" y="59"/>
                  </a:lnTo>
                  <a:lnTo>
                    <a:pt x="351" y="69"/>
                  </a:lnTo>
                  <a:lnTo>
                    <a:pt x="342" y="88"/>
                  </a:lnTo>
                  <a:lnTo>
                    <a:pt x="342" y="108"/>
                  </a:lnTo>
                  <a:lnTo>
                    <a:pt x="322" y="117"/>
                  </a:lnTo>
                  <a:lnTo>
                    <a:pt x="322" y="147"/>
                  </a:lnTo>
                  <a:lnTo>
                    <a:pt x="322" y="166"/>
                  </a:lnTo>
                  <a:lnTo>
                    <a:pt x="332" y="186"/>
                  </a:lnTo>
                  <a:lnTo>
                    <a:pt x="342" y="195"/>
                  </a:lnTo>
                  <a:lnTo>
                    <a:pt x="351" y="225"/>
                  </a:lnTo>
                  <a:lnTo>
                    <a:pt x="371" y="225"/>
                  </a:lnTo>
                  <a:lnTo>
                    <a:pt x="381" y="234"/>
                  </a:lnTo>
                  <a:lnTo>
                    <a:pt x="391" y="244"/>
                  </a:lnTo>
                  <a:lnTo>
                    <a:pt x="400" y="273"/>
                  </a:lnTo>
                  <a:lnTo>
                    <a:pt x="410" y="273"/>
                  </a:lnTo>
                  <a:lnTo>
                    <a:pt x="430" y="273"/>
                  </a:lnTo>
                  <a:lnTo>
                    <a:pt x="449" y="283"/>
                  </a:lnTo>
                  <a:lnTo>
                    <a:pt x="459" y="293"/>
                  </a:lnTo>
                  <a:lnTo>
                    <a:pt x="449" y="303"/>
                  </a:lnTo>
                  <a:lnTo>
                    <a:pt x="459" y="312"/>
                  </a:lnTo>
                  <a:lnTo>
                    <a:pt x="469" y="322"/>
                  </a:lnTo>
                  <a:lnTo>
                    <a:pt x="478" y="332"/>
                  </a:lnTo>
                  <a:lnTo>
                    <a:pt x="508" y="361"/>
                  </a:lnTo>
                  <a:lnTo>
                    <a:pt x="527" y="361"/>
                  </a:lnTo>
                  <a:lnTo>
                    <a:pt x="537" y="361"/>
                  </a:lnTo>
                  <a:lnTo>
                    <a:pt x="556" y="371"/>
                  </a:lnTo>
                  <a:lnTo>
                    <a:pt x="547" y="381"/>
                  </a:lnTo>
                  <a:lnTo>
                    <a:pt x="556" y="390"/>
                  </a:lnTo>
                  <a:lnTo>
                    <a:pt x="566" y="410"/>
                  </a:lnTo>
                  <a:lnTo>
                    <a:pt x="576" y="420"/>
                  </a:lnTo>
                  <a:lnTo>
                    <a:pt x="595" y="400"/>
                  </a:lnTo>
                  <a:lnTo>
                    <a:pt x="615" y="400"/>
                  </a:lnTo>
                  <a:lnTo>
                    <a:pt x="625" y="420"/>
                  </a:lnTo>
                  <a:lnTo>
                    <a:pt x="615" y="430"/>
                  </a:lnTo>
                  <a:lnTo>
                    <a:pt x="625" y="449"/>
                  </a:lnTo>
                  <a:lnTo>
                    <a:pt x="634" y="459"/>
                  </a:lnTo>
                  <a:lnTo>
                    <a:pt x="644" y="459"/>
                  </a:lnTo>
                  <a:lnTo>
                    <a:pt x="654" y="469"/>
                  </a:lnTo>
                  <a:lnTo>
                    <a:pt x="654" y="488"/>
                  </a:lnTo>
                  <a:lnTo>
                    <a:pt x="644" y="508"/>
                  </a:lnTo>
                  <a:lnTo>
                    <a:pt x="634" y="517"/>
                  </a:lnTo>
                  <a:lnTo>
                    <a:pt x="625" y="517"/>
                  </a:lnTo>
                  <a:lnTo>
                    <a:pt x="605" y="517"/>
                  </a:lnTo>
                  <a:lnTo>
                    <a:pt x="586" y="527"/>
                  </a:lnTo>
                  <a:lnTo>
                    <a:pt x="576" y="517"/>
                  </a:lnTo>
                  <a:lnTo>
                    <a:pt x="566" y="508"/>
                  </a:lnTo>
                  <a:lnTo>
                    <a:pt x="556" y="517"/>
                  </a:lnTo>
                  <a:lnTo>
                    <a:pt x="547" y="527"/>
                  </a:lnTo>
                  <a:lnTo>
                    <a:pt x="566" y="537"/>
                  </a:lnTo>
                  <a:lnTo>
                    <a:pt x="576" y="547"/>
                  </a:lnTo>
                  <a:lnTo>
                    <a:pt x="566" y="556"/>
                  </a:lnTo>
                  <a:lnTo>
                    <a:pt x="566" y="576"/>
                  </a:lnTo>
                  <a:lnTo>
                    <a:pt x="556" y="586"/>
                  </a:lnTo>
                  <a:lnTo>
                    <a:pt x="547" y="595"/>
                  </a:lnTo>
                  <a:lnTo>
                    <a:pt x="527" y="576"/>
                  </a:lnTo>
                  <a:lnTo>
                    <a:pt x="517" y="566"/>
                  </a:lnTo>
                  <a:lnTo>
                    <a:pt x="508" y="566"/>
                  </a:lnTo>
                  <a:lnTo>
                    <a:pt x="488" y="586"/>
                  </a:lnTo>
                  <a:lnTo>
                    <a:pt x="469" y="576"/>
                  </a:lnTo>
                  <a:lnTo>
                    <a:pt x="449" y="586"/>
                  </a:lnTo>
                  <a:lnTo>
                    <a:pt x="430" y="576"/>
                  </a:lnTo>
                  <a:lnTo>
                    <a:pt x="430" y="556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1" name="Freeform 266"/>
            <p:cNvSpPr>
              <a:spLocks/>
            </p:cNvSpPr>
            <p:nvPr/>
          </p:nvSpPr>
          <p:spPr bwMode="auto">
            <a:xfrm>
              <a:off x="3540" y="1377"/>
              <a:ext cx="1092" cy="1345"/>
            </a:xfrm>
            <a:custGeom>
              <a:avLst/>
              <a:gdLst>
                <a:gd name="T0" fmla="*/ 0 w 1092"/>
                <a:gd name="T1" fmla="*/ 702 h 1346"/>
                <a:gd name="T2" fmla="*/ 156 w 1092"/>
                <a:gd name="T3" fmla="*/ 770 h 1346"/>
                <a:gd name="T4" fmla="*/ 253 w 1092"/>
                <a:gd name="T5" fmla="*/ 858 h 1346"/>
                <a:gd name="T6" fmla="*/ 361 w 1092"/>
                <a:gd name="T7" fmla="*/ 907 h 1346"/>
                <a:gd name="T8" fmla="*/ 351 w 1092"/>
                <a:gd name="T9" fmla="*/ 1034 h 1346"/>
                <a:gd name="T10" fmla="*/ 497 w 1092"/>
                <a:gd name="T11" fmla="*/ 1112 h 1346"/>
                <a:gd name="T12" fmla="*/ 644 w 1092"/>
                <a:gd name="T13" fmla="*/ 1229 h 1346"/>
                <a:gd name="T14" fmla="*/ 800 w 1092"/>
                <a:gd name="T15" fmla="*/ 1219 h 1346"/>
                <a:gd name="T16" fmla="*/ 897 w 1092"/>
                <a:gd name="T17" fmla="*/ 1297 h 1346"/>
                <a:gd name="T18" fmla="*/ 1043 w 1092"/>
                <a:gd name="T19" fmla="*/ 1297 h 1346"/>
                <a:gd name="T20" fmla="*/ 1043 w 1092"/>
                <a:gd name="T21" fmla="*/ 1190 h 1346"/>
                <a:gd name="T22" fmla="*/ 1063 w 1092"/>
                <a:gd name="T23" fmla="*/ 1073 h 1346"/>
                <a:gd name="T24" fmla="*/ 1043 w 1092"/>
                <a:gd name="T25" fmla="*/ 966 h 1346"/>
                <a:gd name="T26" fmla="*/ 1014 w 1092"/>
                <a:gd name="T27" fmla="*/ 888 h 1346"/>
                <a:gd name="T28" fmla="*/ 1004 w 1092"/>
                <a:gd name="T29" fmla="*/ 741 h 1346"/>
                <a:gd name="T30" fmla="*/ 1063 w 1092"/>
                <a:gd name="T31" fmla="*/ 634 h 1346"/>
                <a:gd name="T32" fmla="*/ 1043 w 1092"/>
                <a:gd name="T33" fmla="*/ 546 h 1346"/>
                <a:gd name="T34" fmla="*/ 956 w 1092"/>
                <a:gd name="T35" fmla="*/ 458 h 1346"/>
                <a:gd name="T36" fmla="*/ 1063 w 1092"/>
                <a:gd name="T37" fmla="*/ 351 h 1346"/>
                <a:gd name="T38" fmla="*/ 1073 w 1092"/>
                <a:gd name="T39" fmla="*/ 234 h 1346"/>
                <a:gd name="T40" fmla="*/ 995 w 1092"/>
                <a:gd name="T41" fmla="*/ 205 h 1346"/>
                <a:gd name="T42" fmla="*/ 965 w 1092"/>
                <a:gd name="T43" fmla="*/ 195 h 1346"/>
                <a:gd name="T44" fmla="*/ 975 w 1092"/>
                <a:gd name="T45" fmla="*/ 292 h 1346"/>
                <a:gd name="T46" fmla="*/ 985 w 1092"/>
                <a:gd name="T47" fmla="*/ 341 h 1346"/>
                <a:gd name="T48" fmla="*/ 887 w 1092"/>
                <a:gd name="T49" fmla="*/ 253 h 1346"/>
                <a:gd name="T50" fmla="*/ 936 w 1092"/>
                <a:gd name="T51" fmla="*/ 156 h 1346"/>
                <a:gd name="T52" fmla="*/ 917 w 1092"/>
                <a:gd name="T53" fmla="*/ 127 h 1346"/>
                <a:gd name="T54" fmla="*/ 809 w 1092"/>
                <a:gd name="T55" fmla="*/ 205 h 1346"/>
                <a:gd name="T56" fmla="*/ 780 w 1092"/>
                <a:gd name="T57" fmla="*/ 341 h 1346"/>
                <a:gd name="T58" fmla="*/ 722 w 1092"/>
                <a:gd name="T59" fmla="*/ 468 h 1346"/>
                <a:gd name="T60" fmla="*/ 839 w 1092"/>
                <a:gd name="T61" fmla="*/ 517 h 1346"/>
                <a:gd name="T62" fmla="*/ 848 w 1092"/>
                <a:gd name="T63" fmla="*/ 624 h 1346"/>
                <a:gd name="T64" fmla="*/ 858 w 1092"/>
                <a:gd name="T65" fmla="*/ 692 h 1346"/>
                <a:gd name="T66" fmla="*/ 800 w 1092"/>
                <a:gd name="T67" fmla="*/ 663 h 1346"/>
                <a:gd name="T68" fmla="*/ 829 w 1092"/>
                <a:gd name="T69" fmla="*/ 566 h 1346"/>
                <a:gd name="T70" fmla="*/ 712 w 1092"/>
                <a:gd name="T71" fmla="*/ 546 h 1346"/>
                <a:gd name="T72" fmla="*/ 605 w 1092"/>
                <a:gd name="T73" fmla="*/ 692 h 1346"/>
                <a:gd name="T74" fmla="*/ 478 w 1092"/>
                <a:gd name="T75" fmla="*/ 712 h 1346"/>
                <a:gd name="T76" fmla="*/ 429 w 1092"/>
                <a:gd name="T77" fmla="*/ 644 h 1346"/>
                <a:gd name="T78" fmla="*/ 458 w 1092"/>
                <a:gd name="T79" fmla="*/ 644 h 1346"/>
                <a:gd name="T80" fmla="*/ 517 w 1092"/>
                <a:gd name="T81" fmla="*/ 683 h 1346"/>
                <a:gd name="T82" fmla="*/ 575 w 1092"/>
                <a:gd name="T83" fmla="*/ 634 h 1346"/>
                <a:gd name="T84" fmla="*/ 634 w 1092"/>
                <a:gd name="T85" fmla="*/ 595 h 1346"/>
                <a:gd name="T86" fmla="*/ 683 w 1092"/>
                <a:gd name="T87" fmla="*/ 497 h 1346"/>
                <a:gd name="T88" fmla="*/ 702 w 1092"/>
                <a:gd name="T89" fmla="*/ 390 h 1346"/>
                <a:gd name="T90" fmla="*/ 761 w 1092"/>
                <a:gd name="T91" fmla="*/ 283 h 1346"/>
                <a:gd name="T92" fmla="*/ 800 w 1092"/>
                <a:gd name="T93" fmla="*/ 156 h 1346"/>
                <a:gd name="T94" fmla="*/ 848 w 1092"/>
                <a:gd name="T95" fmla="*/ 58 h 1346"/>
                <a:gd name="T96" fmla="*/ 761 w 1092"/>
                <a:gd name="T97" fmla="*/ 19 h 1346"/>
                <a:gd name="T98" fmla="*/ 683 w 1092"/>
                <a:gd name="T99" fmla="*/ 78 h 1346"/>
                <a:gd name="T100" fmla="*/ 556 w 1092"/>
                <a:gd name="T101" fmla="*/ 156 h 1346"/>
                <a:gd name="T102" fmla="*/ 546 w 1092"/>
                <a:gd name="T103" fmla="*/ 234 h 1346"/>
                <a:gd name="T104" fmla="*/ 487 w 1092"/>
                <a:gd name="T105" fmla="*/ 302 h 1346"/>
                <a:gd name="T106" fmla="*/ 507 w 1092"/>
                <a:gd name="T107" fmla="*/ 341 h 1346"/>
                <a:gd name="T108" fmla="*/ 468 w 1092"/>
                <a:gd name="T109" fmla="*/ 468 h 1346"/>
                <a:gd name="T110" fmla="*/ 429 w 1092"/>
                <a:gd name="T111" fmla="*/ 361 h 1346"/>
                <a:gd name="T112" fmla="*/ 361 w 1092"/>
                <a:gd name="T113" fmla="*/ 302 h 1346"/>
                <a:gd name="T114" fmla="*/ 361 w 1092"/>
                <a:gd name="T115" fmla="*/ 458 h 1346"/>
                <a:gd name="T116" fmla="*/ 234 w 1092"/>
                <a:gd name="T117" fmla="*/ 517 h 13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92"/>
                <a:gd name="T178" fmla="*/ 0 h 1346"/>
                <a:gd name="T179" fmla="*/ 1092 w 1092"/>
                <a:gd name="T180" fmla="*/ 1346 h 13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92" h="1346">
                  <a:moveTo>
                    <a:pt x="68" y="566"/>
                  </a:moveTo>
                  <a:lnTo>
                    <a:pt x="58" y="585"/>
                  </a:lnTo>
                  <a:lnTo>
                    <a:pt x="58" y="595"/>
                  </a:lnTo>
                  <a:lnTo>
                    <a:pt x="49" y="614"/>
                  </a:lnTo>
                  <a:lnTo>
                    <a:pt x="58" y="624"/>
                  </a:lnTo>
                  <a:lnTo>
                    <a:pt x="49" y="634"/>
                  </a:lnTo>
                  <a:lnTo>
                    <a:pt x="39" y="663"/>
                  </a:lnTo>
                  <a:lnTo>
                    <a:pt x="19" y="683"/>
                  </a:lnTo>
                  <a:lnTo>
                    <a:pt x="0" y="692"/>
                  </a:lnTo>
                  <a:lnTo>
                    <a:pt x="0" y="702"/>
                  </a:lnTo>
                  <a:lnTo>
                    <a:pt x="19" y="712"/>
                  </a:lnTo>
                  <a:lnTo>
                    <a:pt x="29" y="712"/>
                  </a:lnTo>
                  <a:lnTo>
                    <a:pt x="39" y="731"/>
                  </a:lnTo>
                  <a:lnTo>
                    <a:pt x="39" y="741"/>
                  </a:lnTo>
                  <a:lnTo>
                    <a:pt x="49" y="751"/>
                  </a:lnTo>
                  <a:lnTo>
                    <a:pt x="58" y="741"/>
                  </a:lnTo>
                  <a:lnTo>
                    <a:pt x="97" y="751"/>
                  </a:lnTo>
                  <a:lnTo>
                    <a:pt x="127" y="761"/>
                  </a:lnTo>
                  <a:lnTo>
                    <a:pt x="136" y="761"/>
                  </a:lnTo>
                  <a:lnTo>
                    <a:pt x="156" y="770"/>
                  </a:lnTo>
                  <a:lnTo>
                    <a:pt x="175" y="780"/>
                  </a:lnTo>
                  <a:lnTo>
                    <a:pt x="195" y="790"/>
                  </a:lnTo>
                  <a:lnTo>
                    <a:pt x="195" y="800"/>
                  </a:lnTo>
                  <a:lnTo>
                    <a:pt x="185" y="810"/>
                  </a:lnTo>
                  <a:lnTo>
                    <a:pt x="175" y="819"/>
                  </a:lnTo>
                  <a:lnTo>
                    <a:pt x="175" y="839"/>
                  </a:lnTo>
                  <a:lnTo>
                    <a:pt x="195" y="858"/>
                  </a:lnTo>
                  <a:lnTo>
                    <a:pt x="214" y="858"/>
                  </a:lnTo>
                  <a:lnTo>
                    <a:pt x="244" y="858"/>
                  </a:lnTo>
                  <a:lnTo>
                    <a:pt x="253" y="858"/>
                  </a:lnTo>
                  <a:lnTo>
                    <a:pt x="263" y="868"/>
                  </a:lnTo>
                  <a:lnTo>
                    <a:pt x="283" y="858"/>
                  </a:lnTo>
                  <a:lnTo>
                    <a:pt x="292" y="858"/>
                  </a:lnTo>
                  <a:lnTo>
                    <a:pt x="302" y="858"/>
                  </a:lnTo>
                  <a:lnTo>
                    <a:pt x="322" y="888"/>
                  </a:lnTo>
                  <a:lnTo>
                    <a:pt x="331" y="888"/>
                  </a:lnTo>
                  <a:lnTo>
                    <a:pt x="341" y="888"/>
                  </a:lnTo>
                  <a:lnTo>
                    <a:pt x="341" y="897"/>
                  </a:lnTo>
                  <a:lnTo>
                    <a:pt x="361" y="907"/>
                  </a:lnTo>
                  <a:lnTo>
                    <a:pt x="361" y="917"/>
                  </a:lnTo>
                  <a:lnTo>
                    <a:pt x="351" y="927"/>
                  </a:lnTo>
                  <a:lnTo>
                    <a:pt x="341" y="936"/>
                  </a:lnTo>
                  <a:lnTo>
                    <a:pt x="341" y="966"/>
                  </a:lnTo>
                  <a:lnTo>
                    <a:pt x="341" y="995"/>
                  </a:lnTo>
                  <a:lnTo>
                    <a:pt x="361" y="1005"/>
                  </a:lnTo>
                  <a:lnTo>
                    <a:pt x="361" y="1014"/>
                  </a:lnTo>
                  <a:lnTo>
                    <a:pt x="351" y="1014"/>
                  </a:lnTo>
                  <a:lnTo>
                    <a:pt x="351" y="1024"/>
                  </a:lnTo>
                  <a:lnTo>
                    <a:pt x="351" y="1034"/>
                  </a:lnTo>
                  <a:lnTo>
                    <a:pt x="370" y="1044"/>
                  </a:lnTo>
                  <a:lnTo>
                    <a:pt x="390" y="1053"/>
                  </a:lnTo>
                  <a:lnTo>
                    <a:pt x="400" y="1053"/>
                  </a:lnTo>
                  <a:lnTo>
                    <a:pt x="419" y="1044"/>
                  </a:lnTo>
                  <a:lnTo>
                    <a:pt x="429" y="1053"/>
                  </a:lnTo>
                  <a:lnTo>
                    <a:pt x="429" y="1073"/>
                  </a:lnTo>
                  <a:lnTo>
                    <a:pt x="439" y="1083"/>
                  </a:lnTo>
                  <a:lnTo>
                    <a:pt x="468" y="1083"/>
                  </a:lnTo>
                  <a:lnTo>
                    <a:pt x="478" y="1092"/>
                  </a:lnTo>
                  <a:lnTo>
                    <a:pt x="497" y="1112"/>
                  </a:lnTo>
                  <a:lnTo>
                    <a:pt x="517" y="1122"/>
                  </a:lnTo>
                  <a:lnTo>
                    <a:pt x="546" y="1122"/>
                  </a:lnTo>
                  <a:lnTo>
                    <a:pt x="556" y="1131"/>
                  </a:lnTo>
                  <a:lnTo>
                    <a:pt x="566" y="1151"/>
                  </a:lnTo>
                  <a:lnTo>
                    <a:pt x="595" y="1151"/>
                  </a:lnTo>
                  <a:lnTo>
                    <a:pt x="595" y="1171"/>
                  </a:lnTo>
                  <a:lnTo>
                    <a:pt x="605" y="1200"/>
                  </a:lnTo>
                  <a:lnTo>
                    <a:pt x="605" y="1210"/>
                  </a:lnTo>
                  <a:lnTo>
                    <a:pt x="624" y="1219"/>
                  </a:lnTo>
                  <a:lnTo>
                    <a:pt x="644" y="1229"/>
                  </a:lnTo>
                  <a:lnTo>
                    <a:pt x="673" y="1229"/>
                  </a:lnTo>
                  <a:lnTo>
                    <a:pt x="692" y="1229"/>
                  </a:lnTo>
                  <a:lnTo>
                    <a:pt x="702" y="1249"/>
                  </a:lnTo>
                  <a:lnTo>
                    <a:pt x="722" y="1258"/>
                  </a:lnTo>
                  <a:lnTo>
                    <a:pt x="731" y="1258"/>
                  </a:lnTo>
                  <a:lnTo>
                    <a:pt x="741" y="1249"/>
                  </a:lnTo>
                  <a:lnTo>
                    <a:pt x="751" y="1239"/>
                  </a:lnTo>
                  <a:lnTo>
                    <a:pt x="761" y="1229"/>
                  </a:lnTo>
                  <a:lnTo>
                    <a:pt x="780" y="1219"/>
                  </a:lnTo>
                  <a:lnTo>
                    <a:pt x="800" y="1219"/>
                  </a:lnTo>
                  <a:lnTo>
                    <a:pt x="809" y="1229"/>
                  </a:lnTo>
                  <a:lnTo>
                    <a:pt x="819" y="1258"/>
                  </a:lnTo>
                  <a:lnTo>
                    <a:pt x="829" y="1268"/>
                  </a:lnTo>
                  <a:lnTo>
                    <a:pt x="839" y="1268"/>
                  </a:lnTo>
                  <a:lnTo>
                    <a:pt x="858" y="1268"/>
                  </a:lnTo>
                  <a:lnTo>
                    <a:pt x="868" y="1278"/>
                  </a:lnTo>
                  <a:lnTo>
                    <a:pt x="878" y="1278"/>
                  </a:lnTo>
                  <a:lnTo>
                    <a:pt x="887" y="1278"/>
                  </a:lnTo>
                  <a:lnTo>
                    <a:pt x="897" y="1297"/>
                  </a:lnTo>
                  <a:lnTo>
                    <a:pt x="917" y="1317"/>
                  </a:lnTo>
                  <a:lnTo>
                    <a:pt x="936" y="1327"/>
                  </a:lnTo>
                  <a:lnTo>
                    <a:pt x="946" y="1317"/>
                  </a:lnTo>
                  <a:lnTo>
                    <a:pt x="956" y="1327"/>
                  </a:lnTo>
                  <a:lnTo>
                    <a:pt x="975" y="1346"/>
                  </a:lnTo>
                  <a:lnTo>
                    <a:pt x="985" y="1346"/>
                  </a:lnTo>
                  <a:lnTo>
                    <a:pt x="1004" y="1327"/>
                  </a:lnTo>
                  <a:lnTo>
                    <a:pt x="1004" y="1317"/>
                  </a:lnTo>
                  <a:lnTo>
                    <a:pt x="1024" y="1297"/>
                  </a:lnTo>
                  <a:lnTo>
                    <a:pt x="1043" y="1297"/>
                  </a:lnTo>
                  <a:lnTo>
                    <a:pt x="1053" y="1288"/>
                  </a:lnTo>
                  <a:lnTo>
                    <a:pt x="1043" y="1278"/>
                  </a:lnTo>
                  <a:lnTo>
                    <a:pt x="1053" y="1268"/>
                  </a:lnTo>
                  <a:lnTo>
                    <a:pt x="1053" y="1258"/>
                  </a:lnTo>
                  <a:lnTo>
                    <a:pt x="1043" y="1249"/>
                  </a:lnTo>
                  <a:lnTo>
                    <a:pt x="1043" y="1239"/>
                  </a:lnTo>
                  <a:lnTo>
                    <a:pt x="1034" y="1219"/>
                  </a:lnTo>
                  <a:lnTo>
                    <a:pt x="1034" y="1210"/>
                  </a:lnTo>
                  <a:lnTo>
                    <a:pt x="1043" y="1190"/>
                  </a:lnTo>
                  <a:lnTo>
                    <a:pt x="1063" y="1180"/>
                  </a:lnTo>
                  <a:lnTo>
                    <a:pt x="1083" y="1171"/>
                  </a:lnTo>
                  <a:lnTo>
                    <a:pt x="1092" y="1161"/>
                  </a:lnTo>
                  <a:lnTo>
                    <a:pt x="1092" y="1131"/>
                  </a:lnTo>
                  <a:lnTo>
                    <a:pt x="1092" y="1102"/>
                  </a:lnTo>
                  <a:lnTo>
                    <a:pt x="1092" y="1083"/>
                  </a:lnTo>
                  <a:lnTo>
                    <a:pt x="1083" y="1083"/>
                  </a:lnTo>
                  <a:lnTo>
                    <a:pt x="1063" y="1083"/>
                  </a:lnTo>
                  <a:lnTo>
                    <a:pt x="1053" y="1083"/>
                  </a:lnTo>
                  <a:lnTo>
                    <a:pt x="1063" y="1073"/>
                  </a:lnTo>
                  <a:lnTo>
                    <a:pt x="1053" y="1063"/>
                  </a:lnTo>
                  <a:lnTo>
                    <a:pt x="1034" y="1053"/>
                  </a:lnTo>
                  <a:lnTo>
                    <a:pt x="1024" y="1044"/>
                  </a:lnTo>
                  <a:lnTo>
                    <a:pt x="1034" y="1034"/>
                  </a:lnTo>
                  <a:lnTo>
                    <a:pt x="1043" y="1024"/>
                  </a:lnTo>
                  <a:lnTo>
                    <a:pt x="1043" y="1005"/>
                  </a:lnTo>
                  <a:lnTo>
                    <a:pt x="1043" y="995"/>
                  </a:lnTo>
                  <a:lnTo>
                    <a:pt x="1053" y="975"/>
                  </a:lnTo>
                  <a:lnTo>
                    <a:pt x="1043" y="966"/>
                  </a:lnTo>
                  <a:lnTo>
                    <a:pt x="1034" y="966"/>
                  </a:lnTo>
                  <a:lnTo>
                    <a:pt x="1024" y="966"/>
                  </a:lnTo>
                  <a:lnTo>
                    <a:pt x="1014" y="956"/>
                  </a:lnTo>
                  <a:lnTo>
                    <a:pt x="1014" y="936"/>
                  </a:lnTo>
                  <a:lnTo>
                    <a:pt x="1004" y="936"/>
                  </a:lnTo>
                  <a:lnTo>
                    <a:pt x="1004" y="917"/>
                  </a:lnTo>
                  <a:lnTo>
                    <a:pt x="1024" y="917"/>
                  </a:lnTo>
                  <a:lnTo>
                    <a:pt x="1024" y="907"/>
                  </a:lnTo>
                  <a:lnTo>
                    <a:pt x="1014" y="888"/>
                  </a:lnTo>
                  <a:lnTo>
                    <a:pt x="1004" y="878"/>
                  </a:lnTo>
                  <a:lnTo>
                    <a:pt x="1014" y="858"/>
                  </a:lnTo>
                  <a:lnTo>
                    <a:pt x="1024" y="849"/>
                  </a:lnTo>
                  <a:lnTo>
                    <a:pt x="1024" y="839"/>
                  </a:lnTo>
                  <a:lnTo>
                    <a:pt x="1004" y="810"/>
                  </a:lnTo>
                  <a:lnTo>
                    <a:pt x="995" y="790"/>
                  </a:lnTo>
                  <a:lnTo>
                    <a:pt x="995" y="780"/>
                  </a:lnTo>
                  <a:lnTo>
                    <a:pt x="1004" y="761"/>
                  </a:lnTo>
                  <a:lnTo>
                    <a:pt x="1004" y="741"/>
                  </a:lnTo>
                  <a:lnTo>
                    <a:pt x="1004" y="722"/>
                  </a:lnTo>
                  <a:lnTo>
                    <a:pt x="1004" y="702"/>
                  </a:lnTo>
                  <a:lnTo>
                    <a:pt x="1024" y="702"/>
                  </a:lnTo>
                  <a:lnTo>
                    <a:pt x="1034" y="702"/>
                  </a:lnTo>
                  <a:lnTo>
                    <a:pt x="1063" y="692"/>
                  </a:lnTo>
                  <a:lnTo>
                    <a:pt x="1053" y="663"/>
                  </a:lnTo>
                  <a:lnTo>
                    <a:pt x="1053" y="644"/>
                  </a:lnTo>
                  <a:lnTo>
                    <a:pt x="1053" y="634"/>
                  </a:lnTo>
                  <a:lnTo>
                    <a:pt x="1063" y="634"/>
                  </a:lnTo>
                  <a:lnTo>
                    <a:pt x="1073" y="634"/>
                  </a:lnTo>
                  <a:lnTo>
                    <a:pt x="1063" y="624"/>
                  </a:lnTo>
                  <a:lnTo>
                    <a:pt x="1053" y="614"/>
                  </a:lnTo>
                  <a:lnTo>
                    <a:pt x="1063" y="605"/>
                  </a:lnTo>
                  <a:lnTo>
                    <a:pt x="1063" y="585"/>
                  </a:lnTo>
                  <a:lnTo>
                    <a:pt x="1063" y="575"/>
                  </a:lnTo>
                  <a:lnTo>
                    <a:pt x="1053" y="566"/>
                  </a:lnTo>
                  <a:lnTo>
                    <a:pt x="1063" y="546"/>
                  </a:lnTo>
                  <a:lnTo>
                    <a:pt x="1053" y="536"/>
                  </a:lnTo>
                  <a:lnTo>
                    <a:pt x="1043" y="546"/>
                  </a:lnTo>
                  <a:lnTo>
                    <a:pt x="1034" y="556"/>
                  </a:lnTo>
                  <a:lnTo>
                    <a:pt x="1024" y="556"/>
                  </a:lnTo>
                  <a:lnTo>
                    <a:pt x="1004" y="546"/>
                  </a:lnTo>
                  <a:lnTo>
                    <a:pt x="985" y="527"/>
                  </a:lnTo>
                  <a:lnTo>
                    <a:pt x="975" y="527"/>
                  </a:lnTo>
                  <a:lnTo>
                    <a:pt x="975" y="517"/>
                  </a:lnTo>
                  <a:lnTo>
                    <a:pt x="975" y="497"/>
                  </a:lnTo>
                  <a:lnTo>
                    <a:pt x="965" y="488"/>
                  </a:lnTo>
                  <a:lnTo>
                    <a:pt x="956" y="478"/>
                  </a:lnTo>
                  <a:lnTo>
                    <a:pt x="956" y="458"/>
                  </a:lnTo>
                  <a:lnTo>
                    <a:pt x="965" y="449"/>
                  </a:lnTo>
                  <a:lnTo>
                    <a:pt x="985" y="439"/>
                  </a:lnTo>
                  <a:lnTo>
                    <a:pt x="995" y="439"/>
                  </a:lnTo>
                  <a:lnTo>
                    <a:pt x="1004" y="429"/>
                  </a:lnTo>
                  <a:lnTo>
                    <a:pt x="1014" y="429"/>
                  </a:lnTo>
                  <a:lnTo>
                    <a:pt x="1043" y="419"/>
                  </a:lnTo>
                  <a:lnTo>
                    <a:pt x="1053" y="409"/>
                  </a:lnTo>
                  <a:lnTo>
                    <a:pt x="1053" y="370"/>
                  </a:lnTo>
                  <a:lnTo>
                    <a:pt x="1063" y="351"/>
                  </a:lnTo>
                  <a:lnTo>
                    <a:pt x="1053" y="341"/>
                  </a:lnTo>
                  <a:lnTo>
                    <a:pt x="1043" y="331"/>
                  </a:lnTo>
                  <a:lnTo>
                    <a:pt x="1024" y="302"/>
                  </a:lnTo>
                  <a:lnTo>
                    <a:pt x="1024" y="283"/>
                  </a:lnTo>
                  <a:lnTo>
                    <a:pt x="1034" y="273"/>
                  </a:lnTo>
                  <a:lnTo>
                    <a:pt x="1043" y="273"/>
                  </a:lnTo>
                  <a:lnTo>
                    <a:pt x="1053" y="273"/>
                  </a:lnTo>
                  <a:lnTo>
                    <a:pt x="1083" y="244"/>
                  </a:lnTo>
                  <a:lnTo>
                    <a:pt x="1073" y="234"/>
                  </a:lnTo>
                  <a:lnTo>
                    <a:pt x="1053" y="224"/>
                  </a:lnTo>
                  <a:lnTo>
                    <a:pt x="1043" y="214"/>
                  </a:lnTo>
                  <a:lnTo>
                    <a:pt x="1034" y="195"/>
                  </a:lnTo>
                  <a:lnTo>
                    <a:pt x="1043" y="195"/>
                  </a:lnTo>
                  <a:lnTo>
                    <a:pt x="1043" y="185"/>
                  </a:lnTo>
                  <a:lnTo>
                    <a:pt x="1014" y="185"/>
                  </a:lnTo>
                  <a:lnTo>
                    <a:pt x="1004" y="195"/>
                  </a:lnTo>
                  <a:lnTo>
                    <a:pt x="995" y="195"/>
                  </a:lnTo>
                  <a:lnTo>
                    <a:pt x="995" y="205"/>
                  </a:lnTo>
                  <a:lnTo>
                    <a:pt x="1004" y="205"/>
                  </a:lnTo>
                  <a:lnTo>
                    <a:pt x="1014" y="214"/>
                  </a:lnTo>
                  <a:lnTo>
                    <a:pt x="1014" y="234"/>
                  </a:lnTo>
                  <a:lnTo>
                    <a:pt x="1004" y="234"/>
                  </a:lnTo>
                  <a:lnTo>
                    <a:pt x="985" y="234"/>
                  </a:lnTo>
                  <a:lnTo>
                    <a:pt x="985" y="214"/>
                  </a:lnTo>
                  <a:lnTo>
                    <a:pt x="975" y="214"/>
                  </a:lnTo>
                  <a:lnTo>
                    <a:pt x="975" y="195"/>
                  </a:lnTo>
                  <a:lnTo>
                    <a:pt x="965" y="195"/>
                  </a:lnTo>
                  <a:lnTo>
                    <a:pt x="956" y="195"/>
                  </a:lnTo>
                  <a:lnTo>
                    <a:pt x="936" y="195"/>
                  </a:lnTo>
                  <a:lnTo>
                    <a:pt x="926" y="205"/>
                  </a:lnTo>
                  <a:lnTo>
                    <a:pt x="926" y="224"/>
                  </a:lnTo>
                  <a:lnTo>
                    <a:pt x="926" y="244"/>
                  </a:lnTo>
                  <a:lnTo>
                    <a:pt x="936" y="263"/>
                  </a:lnTo>
                  <a:lnTo>
                    <a:pt x="946" y="273"/>
                  </a:lnTo>
                  <a:lnTo>
                    <a:pt x="956" y="292"/>
                  </a:lnTo>
                  <a:lnTo>
                    <a:pt x="965" y="292"/>
                  </a:lnTo>
                  <a:lnTo>
                    <a:pt x="975" y="292"/>
                  </a:lnTo>
                  <a:lnTo>
                    <a:pt x="985" y="302"/>
                  </a:lnTo>
                  <a:lnTo>
                    <a:pt x="985" y="312"/>
                  </a:lnTo>
                  <a:lnTo>
                    <a:pt x="975" y="322"/>
                  </a:lnTo>
                  <a:lnTo>
                    <a:pt x="985" y="331"/>
                  </a:lnTo>
                  <a:lnTo>
                    <a:pt x="995" y="331"/>
                  </a:lnTo>
                  <a:lnTo>
                    <a:pt x="1004" y="331"/>
                  </a:lnTo>
                  <a:lnTo>
                    <a:pt x="1004" y="341"/>
                  </a:lnTo>
                  <a:lnTo>
                    <a:pt x="1004" y="351"/>
                  </a:lnTo>
                  <a:lnTo>
                    <a:pt x="985" y="341"/>
                  </a:lnTo>
                  <a:lnTo>
                    <a:pt x="975" y="341"/>
                  </a:lnTo>
                  <a:lnTo>
                    <a:pt x="965" y="331"/>
                  </a:lnTo>
                  <a:lnTo>
                    <a:pt x="965" y="312"/>
                  </a:lnTo>
                  <a:lnTo>
                    <a:pt x="956" y="302"/>
                  </a:lnTo>
                  <a:lnTo>
                    <a:pt x="946" y="292"/>
                  </a:lnTo>
                  <a:lnTo>
                    <a:pt x="936" y="292"/>
                  </a:lnTo>
                  <a:lnTo>
                    <a:pt x="926" y="292"/>
                  </a:lnTo>
                  <a:lnTo>
                    <a:pt x="917" y="283"/>
                  </a:lnTo>
                  <a:lnTo>
                    <a:pt x="897" y="273"/>
                  </a:lnTo>
                  <a:lnTo>
                    <a:pt x="887" y="253"/>
                  </a:lnTo>
                  <a:lnTo>
                    <a:pt x="887" y="244"/>
                  </a:lnTo>
                  <a:lnTo>
                    <a:pt x="897" y="234"/>
                  </a:lnTo>
                  <a:lnTo>
                    <a:pt x="897" y="214"/>
                  </a:lnTo>
                  <a:lnTo>
                    <a:pt x="897" y="195"/>
                  </a:lnTo>
                  <a:lnTo>
                    <a:pt x="907" y="185"/>
                  </a:lnTo>
                  <a:lnTo>
                    <a:pt x="917" y="175"/>
                  </a:lnTo>
                  <a:lnTo>
                    <a:pt x="926" y="166"/>
                  </a:lnTo>
                  <a:lnTo>
                    <a:pt x="936" y="156"/>
                  </a:lnTo>
                  <a:lnTo>
                    <a:pt x="936" y="146"/>
                  </a:lnTo>
                  <a:lnTo>
                    <a:pt x="936" y="136"/>
                  </a:lnTo>
                  <a:lnTo>
                    <a:pt x="946" y="127"/>
                  </a:lnTo>
                  <a:lnTo>
                    <a:pt x="946" y="117"/>
                  </a:lnTo>
                  <a:lnTo>
                    <a:pt x="946" y="97"/>
                  </a:lnTo>
                  <a:lnTo>
                    <a:pt x="936" y="88"/>
                  </a:lnTo>
                  <a:lnTo>
                    <a:pt x="926" y="97"/>
                  </a:lnTo>
                  <a:lnTo>
                    <a:pt x="926" y="107"/>
                  </a:lnTo>
                  <a:lnTo>
                    <a:pt x="917" y="127"/>
                  </a:lnTo>
                  <a:lnTo>
                    <a:pt x="917" y="146"/>
                  </a:lnTo>
                  <a:lnTo>
                    <a:pt x="907" y="156"/>
                  </a:lnTo>
                  <a:lnTo>
                    <a:pt x="897" y="175"/>
                  </a:lnTo>
                  <a:lnTo>
                    <a:pt x="878" y="175"/>
                  </a:lnTo>
                  <a:lnTo>
                    <a:pt x="858" y="175"/>
                  </a:lnTo>
                  <a:lnTo>
                    <a:pt x="848" y="175"/>
                  </a:lnTo>
                  <a:lnTo>
                    <a:pt x="839" y="185"/>
                  </a:lnTo>
                  <a:lnTo>
                    <a:pt x="829" y="195"/>
                  </a:lnTo>
                  <a:lnTo>
                    <a:pt x="809" y="205"/>
                  </a:lnTo>
                  <a:lnTo>
                    <a:pt x="800" y="205"/>
                  </a:lnTo>
                  <a:lnTo>
                    <a:pt x="800" y="214"/>
                  </a:lnTo>
                  <a:lnTo>
                    <a:pt x="800" y="224"/>
                  </a:lnTo>
                  <a:lnTo>
                    <a:pt x="809" y="234"/>
                  </a:lnTo>
                  <a:lnTo>
                    <a:pt x="809" y="263"/>
                  </a:lnTo>
                  <a:lnTo>
                    <a:pt x="800" y="283"/>
                  </a:lnTo>
                  <a:lnTo>
                    <a:pt x="809" y="312"/>
                  </a:lnTo>
                  <a:lnTo>
                    <a:pt x="809" y="331"/>
                  </a:lnTo>
                  <a:lnTo>
                    <a:pt x="800" y="331"/>
                  </a:lnTo>
                  <a:lnTo>
                    <a:pt x="780" y="341"/>
                  </a:lnTo>
                  <a:lnTo>
                    <a:pt x="770" y="351"/>
                  </a:lnTo>
                  <a:lnTo>
                    <a:pt x="761" y="361"/>
                  </a:lnTo>
                  <a:lnTo>
                    <a:pt x="761" y="370"/>
                  </a:lnTo>
                  <a:lnTo>
                    <a:pt x="741" y="390"/>
                  </a:lnTo>
                  <a:lnTo>
                    <a:pt x="741" y="409"/>
                  </a:lnTo>
                  <a:lnTo>
                    <a:pt x="741" y="429"/>
                  </a:lnTo>
                  <a:lnTo>
                    <a:pt x="741" y="439"/>
                  </a:lnTo>
                  <a:lnTo>
                    <a:pt x="731" y="449"/>
                  </a:lnTo>
                  <a:lnTo>
                    <a:pt x="722" y="458"/>
                  </a:lnTo>
                  <a:lnTo>
                    <a:pt x="722" y="468"/>
                  </a:lnTo>
                  <a:lnTo>
                    <a:pt x="731" y="468"/>
                  </a:lnTo>
                  <a:lnTo>
                    <a:pt x="741" y="468"/>
                  </a:lnTo>
                  <a:lnTo>
                    <a:pt x="751" y="478"/>
                  </a:lnTo>
                  <a:lnTo>
                    <a:pt x="751" y="488"/>
                  </a:lnTo>
                  <a:lnTo>
                    <a:pt x="770" y="488"/>
                  </a:lnTo>
                  <a:lnTo>
                    <a:pt x="790" y="488"/>
                  </a:lnTo>
                  <a:lnTo>
                    <a:pt x="800" y="488"/>
                  </a:lnTo>
                  <a:lnTo>
                    <a:pt x="809" y="488"/>
                  </a:lnTo>
                  <a:lnTo>
                    <a:pt x="829" y="497"/>
                  </a:lnTo>
                  <a:lnTo>
                    <a:pt x="839" y="517"/>
                  </a:lnTo>
                  <a:lnTo>
                    <a:pt x="848" y="527"/>
                  </a:lnTo>
                  <a:lnTo>
                    <a:pt x="848" y="536"/>
                  </a:lnTo>
                  <a:lnTo>
                    <a:pt x="858" y="546"/>
                  </a:lnTo>
                  <a:lnTo>
                    <a:pt x="858" y="556"/>
                  </a:lnTo>
                  <a:lnTo>
                    <a:pt x="858" y="575"/>
                  </a:lnTo>
                  <a:lnTo>
                    <a:pt x="858" y="585"/>
                  </a:lnTo>
                  <a:lnTo>
                    <a:pt x="868" y="605"/>
                  </a:lnTo>
                  <a:lnTo>
                    <a:pt x="858" y="614"/>
                  </a:lnTo>
                  <a:lnTo>
                    <a:pt x="858" y="624"/>
                  </a:lnTo>
                  <a:lnTo>
                    <a:pt x="848" y="624"/>
                  </a:lnTo>
                  <a:lnTo>
                    <a:pt x="839" y="624"/>
                  </a:lnTo>
                  <a:lnTo>
                    <a:pt x="829" y="634"/>
                  </a:lnTo>
                  <a:lnTo>
                    <a:pt x="819" y="644"/>
                  </a:lnTo>
                  <a:lnTo>
                    <a:pt x="819" y="663"/>
                  </a:lnTo>
                  <a:lnTo>
                    <a:pt x="819" y="673"/>
                  </a:lnTo>
                  <a:lnTo>
                    <a:pt x="829" y="673"/>
                  </a:lnTo>
                  <a:lnTo>
                    <a:pt x="829" y="683"/>
                  </a:lnTo>
                  <a:lnTo>
                    <a:pt x="848" y="692"/>
                  </a:lnTo>
                  <a:lnTo>
                    <a:pt x="858" y="692"/>
                  </a:lnTo>
                  <a:lnTo>
                    <a:pt x="868" y="702"/>
                  </a:lnTo>
                  <a:lnTo>
                    <a:pt x="868" y="712"/>
                  </a:lnTo>
                  <a:lnTo>
                    <a:pt x="858" y="702"/>
                  </a:lnTo>
                  <a:lnTo>
                    <a:pt x="848" y="702"/>
                  </a:lnTo>
                  <a:lnTo>
                    <a:pt x="829" y="692"/>
                  </a:lnTo>
                  <a:lnTo>
                    <a:pt x="819" y="702"/>
                  </a:lnTo>
                  <a:lnTo>
                    <a:pt x="819" y="692"/>
                  </a:lnTo>
                  <a:lnTo>
                    <a:pt x="809" y="683"/>
                  </a:lnTo>
                  <a:lnTo>
                    <a:pt x="800" y="663"/>
                  </a:lnTo>
                  <a:lnTo>
                    <a:pt x="809" y="653"/>
                  </a:lnTo>
                  <a:lnTo>
                    <a:pt x="809" y="634"/>
                  </a:lnTo>
                  <a:lnTo>
                    <a:pt x="819" y="624"/>
                  </a:lnTo>
                  <a:lnTo>
                    <a:pt x="829" y="614"/>
                  </a:lnTo>
                  <a:lnTo>
                    <a:pt x="819" y="605"/>
                  </a:lnTo>
                  <a:lnTo>
                    <a:pt x="839" y="595"/>
                  </a:lnTo>
                  <a:lnTo>
                    <a:pt x="839" y="585"/>
                  </a:lnTo>
                  <a:lnTo>
                    <a:pt x="839" y="575"/>
                  </a:lnTo>
                  <a:lnTo>
                    <a:pt x="829" y="566"/>
                  </a:lnTo>
                  <a:lnTo>
                    <a:pt x="829" y="546"/>
                  </a:lnTo>
                  <a:lnTo>
                    <a:pt x="829" y="527"/>
                  </a:lnTo>
                  <a:lnTo>
                    <a:pt x="819" y="517"/>
                  </a:lnTo>
                  <a:lnTo>
                    <a:pt x="800" y="517"/>
                  </a:lnTo>
                  <a:lnTo>
                    <a:pt x="761" y="507"/>
                  </a:lnTo>
                  <a:lnTo>
                    <a:pt x="741" y="517"/>
                  </a:lnTo>
                  <a:lnTo>
                    <a:pt x="731" y="527"/>
                  </a:lnTo>
                  <a:lnTo>
                    <a:pt x="731" y="536"/>
                  </a:lnTo>
                  <a:lnTo>
                    <a:pt x="712" y="546"/>
                  </a:lnTo>
                  <a:lnTo>
                    <a:pt x="712" y="566"/>
                  </a:lnTo>
                  <a:lnTo>
                    <a:pt x="712" y="575"/>
                  </a:lnTo>
                  <a:lnTo>
                    <a:pt x="712" y="605"/>
                  </a:lnTo>
                  <a:lnTo>
                    <a:pt x="702" y="614"/>
                  </a:lnTo>
                  <a:lnTo>
                    <a:pt x="692" y="634"/>
                  </a:lnTo>
                  <a:lnTo>
                    <a:pt x="673" y="634"/>
                  </a:lnTo>
                  <a:lnTo>
                    <a:pt x="653" y="644"/>
                  </a:lnTo>
                  <a:lnTo>
                    <a:pt x="644" y="673"/>
                  </a:lnTo>
                  <a:lnTo>
                    <a:pt x="634" y="683"/>
                  </a:lnTo>
                  <a:lnTo>
                    <a:pt x="605" y="692"/>
                  </a:lnTo>
                  <a:lnTo>
                    <a:pt x="595" y="702"/>
                  </a:lnTo>
                  <a:lnTo>
                    <a:pt x="566" y="712"/>
                  </a:lnTo>
                  <a:lnTo>
                    <a:pt x="556" y="712"/>
                  </a:lnTo>
                  <a:lnTo>
                    <a:pt x="546" y="722"/>
                  </a:lnTo>
                  <a:lnTo>
                    <a:pt x="536" y="731"/>
                  </a:lnTo>
                  <a:lnTo>
                    <a:pt x="517" y="741"/>
                  </a:lnTo>
                  <a:lnTo>
                    <a:pt x="507" y="731"/>
                  </a:lnTo>
                  <a:lnTo>
                    <a:pt x="497" y="722"/>
                  </a:lnTo>
                  <a:lnTo>
                    <a:pt x="497" y="712"/>
                  </a:lnTo>
                  <a:lnTo>
                    <a:pt x="478" y="712"/>
                  </a:lnTo>
                  <a:lnTo>
                    <a:pt x="458" y="702"/>
                  </a:lnTo>
                  <a:lnTo>
                    <a:pt x="448" y="692"/>
                  </a:lnTo>
                  <a:lnTo>
                    <a:pt x="439" y="692"/>
                  </a:lnTo>
                  <a:lnTo>
                    <a:pt x="429" y="673"/>
                  </a:lnTo>
                  <a:lnTo>
                    <a:pt x="419" y="663"/>
                  </a:lnTo>
                  <a:lnTo>
                    <a:pt x="409" y="653"/>
                  </a:lnTo>
                  <a:lnTo>
                    <a:pt x="409" y="634"/>
                  </a:lnTo>
                  <a:lnTo>
                    <a:pt x="419" y="634"/>
                  </a:lnTo>
                  <a:lnTo>
                    <a:pt x="429" y="634"/>
                  </a:lnTo>
                  <a:lnTo>
                    <a:pt x="429" y="644"/>
                  </a:lnTo>
                  <a:lnTo>
                    <a:pt x="429" y="653"/>
                  </a:lnTo>
                  <a:lnTo>
                    <a:pt x="429" y="66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48" y="663"/>
                  </a:lnTo>
                  <a:lnTo>
                    <a:pt x="448" y="644"/>
                  </a:lnTo>
                  <a:lnTo>
                    <a:pt x="439" y="634"/>
                  </a:lnTo>
                  <a:lnTo>
                    <a:pt x="448" y="634"/>
                  </a:lnTo>
                  <a:lnTo>
                    <a:pt x="458" y="634"/>
                  </a:lnTo>
                  <a:lnTo>
                    <a:pt x="458" y="644"/>
                  </a:lnTo>
                  <a:lnTo>
                    <a:pt x="458" y="663"/>
                  </a:lnTo>
                  <a:lnTo>
                    <a:pt x="468" y="663"/>
                  </a:lnTo>
                  <a:lnTo>
                    <a:pt x="458" y="673"/>
                  </a:lnTo>
                  <a:lnTo>
                    <a:pt x="458" y="683"/>
                  </a:lnTo>
                  <a:lnTo>
                    <a:pt x="468" y="683"/>
                  </a:lnTo>
                  <a:lnTo>
                    <a:pt x="478" y="683"/>
                  </a:lnTo>
                  <a:lnTo>
                    <a:pt x="487" y="683"/>
                  </a:lnTo>
                  <a:lnTo>
                    <a:pt x="497" y="683"/>
                  </a:lnTo>
                  <a:lnTo>
                    <a:pt x="517" y="683"/>
                  </a:lnTo>
                  <a:lnTo>
                    <a:pt x="517" y="673"/>
                  </a:lnTo>
                  <a:lnTo>
                    <a:pt x="517" y="663"/>
                  </a:lnTo>
                  <a:lnTo>
                    <a:pt x="517" y="653"/>
                  </a:lnTo>
                  <a:lnTo>
                    <a:pt x="527" y="653"/>
                  </a:lnTo>
                  <a:lnTo>
                    <a:pt x="536" y="663"/>
                  </a:lnTo>
                  <a:lnTo>
                    <a:pt x="546" y="663"/>
                  </a:lnTo>
                  <a:lnTo>
                    <a:pt x="556" y="653"/>
                  </a:lnTo>
                  <a:lnTo>
                    <a:pt x="556" y="634"/>
                  </a:lnTo>
                  <a:lnTo>
                    <a:pt x="566" y="634"/>
                  </a:lnTo>
                  <a:lnTo>
                    <a:pt x="575" y="634"/>
                  </a:lnTo>
                  <a:lnTo>
                    <a:pt x="566" y="624"/>
                  </a:lnTo>
                  <a:lnTo>
                    <a:pt x="575" y="624"/>
                  </a:lnTo>
                  <a:lnTo>
                    <a:pt x="585" y="624"/>
                  </a:lnTo>
                  <a:lnTo>
                    <a:pt x="595" y="614"/>
                  </a:lnTo>
                  <a:lnTo>
                    <a:pt x="605" y="605"/>
                  </a:lnTo>
                  <a:lnTo>
                    <a:pt x="614" y="605"/>
                  </a:lnTo>
                  <a:lnTo>
                    <a:pt x="624" y="605"/>
                  </a:lnTo>
                  <a:lnTo>
                    <a:pt x="634" y="595"/>
                  </a:lnTo>
                  <a:lnTo>
                    <a:pt x="644" y="585"/>
                  </a:lnTo>
                  <a:lnTo>
                    <a:pt x="644" y="566"/>
                  </a:lnTo>
                  <a:lnTo>
                    <a:pt x="653" y="556"/>
                  </a:lnTo>
                  <a:lnTo>
                    <a:pt x="653" y="546"/>
                  </a:lnTo>
                  <a:lnTo>
                    <a:pt x="673" y="546"/>
                  </a:lnTo>
                  <a:lnTo>
                    <a:pt x="683" y="536"/>
                  </a:lnTo>
                  <a:lnTo>
                    <a:pt x="683" y="527"/>
                  </a:lnTo>
                  <a:lnTo>
                    <a:pt x="683" y="497"/>
                  </a:lnTo>
                  <a:lnTo>
                    <a:pt x="673" y="488"/>
                  </a:lnTo>
                  <a:lnTo>
                    <a:pt x="663" y="478"/>
                  </a:lnTo>
                  <a:lnTo>
                    <a:pt x="663" y="468"/>
                  </a:lnTo>
                  <a:lnTo>
                    <a:pt x="673" y="449"/>
                  </a:lnTo>
                  <a:lnTo>
                    <a:pt x="673" y="439"/>
                  </a:lnTo>
                  <a:lnTo>
                    <a:pt x="683" y="429"/>
                  </a:lnTo>
                  <a:lnTo>
                    <a:pt x="692" y="419"/>
                  </a:lnTo>
                  <a:lnTo>
                    <a:pt x="692" y="409"/>
                  </a:lnTo>
                  <a:lnTo>
                    <a:pt x="702" y="390"/>
                  </a:lnTo>
                  <a:lnTo>
                    <a:pt x="712" y="380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31" y="341"/>
                  </a:lnTo>
                  <a:lnTo>
                    <a:pt x="731" y="322"/>
                  </a:lnTo>
                  <a:lnTo>
                    <a:pt x="741" y="312"/>
                  </a:lnTo>
                  <a:lnTo>
                    <a:pt x="751" y="302"/>
                  </a:lnTo>
                  <a:lnTo>
                    <a:pt x="761" y="292"/>
                  </a:lnTo>
                  <a:lnTo>
                    <a:pt x="761" y="283"/>
                  </a:lnTo>
                  <a:lnTo>
                    <a:pt x="761" y="263"/>
                  </a:lnTo>
                  <a:lnTo>
                    <a:pt x="770" y="253"/>
                  </a:lnTo>
                  <a:lnTo>
                    <a:pt x="770" y="234"/>
                  </a:lnTo>
                  <a:lnTo>
                    <a:pt x="770" y="224"/>
                  </a:lnTo>
                  <a:lnTo>
                    <a:pt x="761" y="214"/>
                  </a:lnTo>
                  <a:lnTo>
                    <a:pt x="761" y="195"/>
                  </a:lnTo>
                  <a:lnTo>
                    <a:pt x="770" y="185"/>
                  </a:lnTo>
                  <a:lnTo>
                    <a:pt x="780" y="185"/>
                  </a:lnTo>
                  <a:lnTo>
                    <a:pt x="790" y="175"/>
                  </a:lnTo>
                  <a:lnTo>
                    <a:pt x="800" y="156"/>
                  </a:lnTo>
                  <a:lnTo>
                    <a:pt x="809" y="146"/>
                  </a:lnTo>
                  <a:lnTo>
                    <a:pt x="829" y="136"/>
                  </a:lnTo>
                  <a:lnTo>
                    <a:pt x="829" y="127"/>
                  </a:lnTo>
                  <a:lnTo>
                    <a:pt x="839" y="127"/>
                  </a:lnTo>
                  <a:lnTo>
                    <a:pt x="839" y="117"/>
                  </a:lnTo>
                  <a:lnTo>
                    <a:pt x="848" y="97"/>
                  </a:lnTo>
                  <a:lnTo>
                    <a:pt x="848" y="88"/>
                  </a:lnTo>
                  <a:lnTo>
                    <a:pt x="848" y="68"/>
                  </a:lnTo>
                  <a:lnTo>
                    <a:pt x="848" y="58"/>
                  </a:lnTo>
                  <a:lnTo>
                    <a:pt x="839" y="58"/>
                  </a:lnTo>
                  <a:lnTo>
                    <a:pt x="829" y="58"/>
                  </a:lnTo>
                  <a:lnTo>
                    <a:pt x="829" y="48"/>
                  </a:lnTo>
                  <a:lnTo>
                    <a:pt x="819" y="39"/>
                  </a:lnTo>
                  <a:lnTo>
                    <a:pt x="800" y="29"/>
                  </a:lnTo>
                  <a:lnTo>
                    <a:pt x="800" y="39"/>
                  </a:lnTo>
                  <a:lnTo>
                    <a:pt x="800" y="29"/>
                  </a:lnTo>
                  <a:lnTo>
                    <a:pt x="780" y="19"/>
                  </a:lnTo>
                  <a:lnTo>
                    <a:pt x="761" y="19"/>
                  </a:lnTo>
                  <a:lnTo>
                    <a:pt x="761" y="9"/>
                  </a:lnTo>
                  <a:lnTo>
                    <a:pt x="761" y="0"/>
                  </a:lnTo>
                  <a:lnTo>
                    <a:pt x="751" y="9"/>
                  </a:lnTo>
                  <a:lnTo>
                    <a:pt x="741" y="19"/>
                  </a:lnTo>
                  <a:lnTo>
                    <a:pt x="722" y="29"/>
                  </a:lnTo>
                  <a:lnTo>
                    <a:pt x="712" y="39"/>
                  </a:lnTo>
                  <a:lnTo>
                    <a:pt x="712" y="48"/>
                  </a:lnTo>
                  <a:lnTo>
                    <a:pt x="702" y="58"/>
                  </a:lnTo>
                  <a:lnTo>
                    <a:pt x="692" y="78"/>
                  </a:lnTo>
                  <a:lnTo>
                    <a:pt x="683" y="78"/>
                  </a:lnTo>
                  <a:lnTo>
                    <a:pt x="673" y="97"/>
                  </a:lnTo>
                  <a:lnTo>
                    <a:pt x="663" y="107"/>
                  </a:lnTo>
                  <a:lnTo>
                    <a:pt x="644" y="117"/>
                  </a:lnTo>
                  <a:lnTo>
                    <a:pt x="624" y="117"/>
                  </a:lnTo>
                  <a:lnTo>
                    <a:pt x="605" y="127"/>
                  </a:lnTo>
                  <a:lnTo>
                    <a:pt x="575" y="136"/>
                  </a:lnTo>
                  <a:lnTo>
                    <a:pt x="566" y="146"/>
                  </a:lnTo>
                  <a:lnTo>
                    <a:pt x="566" y="156"/>
                  </a:lnTo>
                  <a:lnTo>
                    <a:pt x="556" y="156"/>
                  </a:lnTo>
                  <a:lnTo>
                    <a:pt x="556" y="166"/>
                  </a:lnTo>
                  <a:lnTo>
                    <a:pt x="546" y="175"/>
                  </a:lnTo>
                  <a:lnTo>
                    <a:pt x="536" y="175"/>
                  </a:lnTo>
                  <a:lnTo>
                    <a:pt x="556" y="175"/>
                  </a:lnTo>
                  <a:lnTo>
                    <a:pt x="566" y="185"/>
                  </a:lnTo>
                  <a:lnTo>
                    <a:pt x="566" y="195"/>
                  </a:lnTo>
                  <a:lnTo>
                    <a:pt x="556" y="195"/>
                  </a:lnTo>
                  <a:lnTo>
                    <a:pt x="546" y="214"/>
                  </a:lnTo>
                  <a:lnTo>
                    <a:pt x="546" y="224"/>
                  </a:lnTo>
                  <a:lnTo>
                    <a:pt x="546" y="234"/>
                  </a:lnTo>
                  <a:lnTo>
                    <a:pt x="536" y="234"/>
                  </a:lnTo>
                  <a:lnTo>
                    <a:pt x="527" y="244"/>
                  </a:lnTo>
                  <a:lnTo>
                    <a:pt x="527" y="263"/>
                  </a:lnTo>
                  <a:lnTo>
                    <a:pt x="517" y="263"/>
                  </a:lnTo>
                  <a:lnTo>
                    <a:pt x="507" y="263"/>
                  </a:lnTo>
                  <a:lnTo>
                    <a:pt x="497" y="253"/>
                  </a:lnTo>
                  <a:lnTo>
                    <a:pt x="497" y="273"/>
                  </a:lnTo>
                  <a:lnTo>
                    <a:pt x="487" y="283"/>
                  </a:lnTo>
                  <a:lnTo>
                    <a:pt x="478" y="292"/>
                  </a:lnTo>
                  <a:lnTo>
                    <a:pt x="487" y="302"/>
                  </a:lnTo>
                  <a:lnTo>
                    <a:pt x="497" y="292"/>
                  </a:lnTo>
                  <a:lnTo>
                    <a:pt x="497" y="302"/>
                  </a:lnTo>
                  <a:lnTo>
                    <a:pt x="507" y="312"/>
                  </a:lnTo>
                  <a:lnTo>
                    <a:pt x="507" y="322"/>
                  </a:lnTo>
                  <a:lnTo>
                    <a:pt x="517" y="331"/>
                  </a:lnTo>
                  <a:lnTo>
                    <a:pt x="527" y="331"/>
                  </a:lnTo>
                  <a:lnTo>
                    <a:pt x="517" y="341"/>
                  </a:lnTo>
                  <a:lnTo>
                    <a:pt x="507" y="341"/>
                  </a:lnTo>
                  <a:lnTo>
                    <a:pt x="507" y="351"/>
                  </a:lnTo>
                  <a:lnTo>
                    <a:pt x="507" y="370"/>
                  </a:lnTo>
                  <a:lnTo>
                    <a:pt x="507" y="400"/>
                  </a:lnTo>
                  <a:lnTo>
                    <a:pt x="527" y="409"/>
                  </a:lnTo>
                  <a:lnTo>
                    <a:pt x="527" y="419"/>
                  </a:lnTo>
                  <a:lnTo>
                    <a:pt x="507" y="429"/>
                  </a:lnTo>
                  <a:lnTo>
                    <a:pt x="497" y="439"/>
                  </a:lnTo>
                  <a:lnTo>
                    <a:pt x="478" y="449"/>
                  </a:lnTo>
                  <a:lnTo>
                    <a:pt x="478" y="458"/>
                  </a:lnTo>
                  <a:lnTo>
                    <a:pt x="468" y="468"/>
                  </a:lnTo>
                  <a:lnTo>
                    <a:pt x="458" y="468"/>
                  </a:lnTo>
                  <a:lnTo>
                    <a:pt x="468" y="458"/>
                  </a:lnTo>
                  <a:lnTo>
                    <a:pt x="468" y="449"/>
                  </a:lnTo>
                  <a:lnTo>
                    <a:pt x="458" y="439"/>
                  </a:lnTo>
                  <a:lnTo>
                    <a:pt x="448" y="429"/>
                  </a:lnTo>
                  <a:lnTo>
                    <a:pt x="448" y="400"/>
                  </a:lnTo>
                  <a:lnTo>
                    <a:pt x="439" y="390"/>
                  </a:lnTo>
                  <a:lnTo>
                    <a:pt x="439" y="370"/>
                  </a:lnTo>
                  <a:lnTo>
                    <a:pt x="429" y="361"/>
                  </a:lnTo>
                  <a:lnTo>
                    <a:pt x="429" y="351"/>
                  </a:lnTo>
                  <a:lnTo>
                    <a:pt x="419" y="341"/>
                  </a:lnTo>
                  <a:lnTo>
                    <a:pt x="409" y="331"/>
                  </a:lnTo>
                  <a:lnTo>
                    <a:pt x="419" y="32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12"/>
                  </a:lnTo>
                  <a:lnTo>
                    <a:pt x="370" y="302"/>
                  </a:lnTo>
                  <a:lnTo>
                    <a:pt x="361" y="302"/>
                  </a:lnTo>
                  <a:lnTo>
                    <a:pt x="361" y="312"/>
                  </a:lnTo>
                  <a:lnTo>
                    <a:pt x="370" y="331"/>
                  </a:lnTo>
                  <a:lnTo>
                    <a:pt x="370" y="351"/>
                  </a:lnTo>
                  <a:lnTo>
                    <a:pt x="361" y="370"/>
                  </a:lnTo>
                  <a:lnTo>
                    <a:pt x="351" y="380"/>
                  </a:lnTo>
                  <a:lnTo>
                    <a:pt x="341" y="400"/>
                  </a:lnTo>
                  <a:lnTo>
                    <a:pt x="341" y="409"/>
                  </a:lnTo>
                  <a:lnTo>
                    <a:pt x="351" y="429"/>
                  </a:lnTo>
                  <a:lnTo>
                    <a:pt x="361" y="449"/>
                  </a:lnTo>
                  <a:lnTo>
                    <a:pt x="361" y="458"/>
                  </a:lnTo>
                  <a:lnTo>
                    <a:pt x="341" y="468"/>
                  </a:lnTo>
                  <a:lnTo>
                    <a:pt x="331" y="468"/>
                  </a:lnTo>
                  <a:lnTo>
                    <a:pt x="341" y="478"/>
                  </a:lnTo>
                  <a:lnTo>
                    <a:pt x="331" y="488"/>
                  </a:lnTo>
                  <a:lnTo>
                    <a:pt x="302" y="488"/>
                  </a:lnTo>
                  <a:lnTo>
                    <a:pt x="283" y="488"/>
                  </a:lnTo>
                  <a:lnTo>
                    <a:pt x="273" y="497"/>
                  </a:lnTo>
                  <a:lnTo>
                    <a:pt x="253" y="507"/>
                  </a:lnTo>
                  <a:lnTo>
                    <a:pt x="234" y="517"/>
                  </a:lnTo>
                  <a:lnTo>
                    <a:pt x="205" y="517"/>
                  </a:lnTo>
                  <a:lnTo>
                    <a:pt x="185" y="517"/>
                  </a:lnTo>
                  <a:lnTo>
                    <a:pt x="166" y="507"/>
                  </a:lnTo>
                  <a:lnTo>
                    <a:pt x="166" y="527"/>
                  </a:lnTo>
                  <a:lnTo>
                    <a:pt x="146" y="536"/>
                  </a:lnTo>
                  <a:lnTo>
                    <a:pt x="136" y="536"/>
                  </a:lnTo>
                  <a:lnTo>
                    <a:pt x="117" y="546"/>
                  </a:lnTo>
                  <a:lnTo>
                    <a:pt x="107" y="556"/>
                  </a:lnTo>
                  <a:lnTo>
                    <a:pt x="68" y="566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2" name="Freeform 265"/>
            <p:cNvSpPr>
              <a:spLocks/>
            </p:cNvSpPr>
            <p:nvPr/>
          </p:nvSpPr>
          <p:spPr bwMode="auto">
            <a:xfrm>
              <a:off x="6340" y="3854"/>
              <a:ext cx="253" cy="177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1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1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69 w 254"/>
                <a:gd name="T101" fmla="*/ 166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176"/>
                <a:gd name="T155" fmla="*/ 254 w 254"/>
                <a:gd name="T156" fmla="*/ 176 h 1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1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1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  <a:lnTo>
                    <a:pt x="69" y="16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80" name="Group 262"/>
            <p:cNvGrpSpPr>
              <a:grpSpLocks/>
            </p:cNvGrpSpPr>
            <p:nvPr/>
          </p:nvGrpSpPr>
          <p:grpSpPr bwMode="auto">
            <a:xfrm>
              <a:off x="6339" y="3854"/>
              <a:ext cx="254" cy="176"/>
              <a:chOff x="6340" y="3854"/>
              <a:chExt cx="254" cy="176"/>
            </a:xfrm>
          </p:grpSpPr>
          <p:sp>
            <p:nvSpPr>
              <p:cNvPr id="363" name="Freeform 264"/>
              <p:cNvSpPr>
                <a:spLocks/>
              </p:cNvSpPr>
              <p:nvPr/>
            </p:nvSpPr>
            <p:spPr bwMode="auto">
              <a:xfrm>
                <a:off x="6341" y="3854"/>
                <a:ext cx="253" cy="177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69 w 254"/>
                  <a:gd name="T101" fmla="*/ 166 h 1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54"/>
                  <a:gd name="T154" fmla="*/ 0 h 176"/>
                  <a:gd name="T155" fmla="*/ 254 w 254"/>
                  <a:gd name="T156" fmla="*/ 176 h 1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  <a:lnTo>
                      <a:pt x="69" y="166"/>
                    </a:lnTo>
                    <a:close/>
                  </a:path>
                </a:pathLst>
              </a:custGeom>
              <a:solidFill>
                <a:srgbClr val="CC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4" name="Freeform 263"/>
              <p:cNvSpPr>
                <a:spLocks/>
              </p:cNvSpPr>
              <p:nvPr/>
            </p:nvSpPr>
            <p:spPr bwMode="auto">
              <a:xfrm>
                <a:off x="6341" y="3854"/>
                <a:ext cx="253" cy="177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4"/>
                  <a:gd name="T151" fmla="*/ 0 h 176"/>
                  <a:gd name="T152" fmla="*/ 254 w 254"/>
                  <a:gd name="T153" fmla="*/ 176 h 17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4" name="Freeform 261"/>
            <p:cNvSpPr>
              <a:spLocks/>
            </p:cNvSpPr>
            <p:nvPr/>
          </p:nvSpPr>
          <p:spPr bwMode="auto">
            <a:xfrm>
              <a:off x="5521" y="3767"/>
              <a:ext cx="273" cy="154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0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0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88 w 273"/>
                <a:gd name="T63" fmla="*/ 107 h 1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3"/>
                <a:gd name="T97" fmla="*/ 0 h 156"/>
                <a:gd name="T98" fmla="*/ 273 w 273"/>
                <a:gd name="T99" fmla="*/ 156 h 1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0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  <a:lnTo>
                    <a:pt x="88" y="107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82" name="Group 258"/>
            <p:cNvGrpSpPr>
              <a:grpSpLocks/>
            </p:cNvGrpSpPr>
            <p:nvPr/>
          </p:nvGrpSpPr>
          <p:grpSpPr bwMode="auto">
            <a:xfrm>
              <a:off x="5520" y="3766"/>
              <a:ext cx="273" cy="156"/>
              <a:chOff x="5521" y="3766"/>
              <a:chExt cx="273" cy="156"/>
            </a:xfrm>
          </p:grpSpPr>
          <p:sp>
            <p:nvSpPr>
              <p:cNvPr id="361" name="Freeform 260"/>
              <p:cNvSpPr>
                <a:spLocks/>
              </p:cNvSpPr>
              <p:nvPr/>
            </p:nvSpPr>
            <p:spPr bwMode="auto">
              <a:xfrm>
                <a:off x="5522" y="3767"/>
                <a:ext cx="273" cy="154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88 w 273"/>
                  <a:gd name="T63" fmla="*/ 107 h 15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3"/>
                  <a:gd name="T97" fmla="*/ 0 h 156"/>
                  <a:gd name="T98" fmla="*/ 273 w 273"/>
                  <a:gd name="T99" fmla="*/ 156 h 15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  <a:lnTo>
                      <a:pt x="88" y="107"/>
                    </a:lnTo>
                    <a:close/>
                  </a:path>
                </a:pathLst>
              </a:custGeom>
              <a:solidFill>
                <a:srgbClr val="CC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2" name="Freeform 259"/>
              <p:cNvSpPr>
                <a:spLocks/>
              </p:cNvSpPr>
              <p:nvPr/>
            </p:nvSpPr>
            <p:spPr bwMode="auto">
              <a:xfrm>
                <a:off x="5522" y="3767"/>
                <a:ext cx="273" cy="154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3"/>
                  <a:gd name="T94" fmla="*/ 0 h 156"/>
                  <a:gd name="T95" fmla="*/ 273 w 273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Freeform 257"/>
            <p:cNvSpPr>
              <a:spLocks/>
            </p:cNvSpPr>
            <p:nvPr/>
          </p:nvSpPr>
          <p:spPr bwMode="auto">
            <a:xfrm>
              <a:off x="4497" y="1072"/>
              <a:ext cx="1345" cy="1153"/>
            </a:xfrm>
            <a:custGeom>
              <a:avLst/>
              <a:gdLst>
                <a:gd name="T0" fmla="*/ 1229 w 1346"/>
                <a:gd name="T1" fmla="*/ 537 h 1152"/>
                <a:gd name="T2" fmla="*/ 1346 w 1346"/>
                <a:gd name="T3" fmla="*/ 703 h 1152"/>
                <a:gd name="T4" fmla="*/ 1258 w 1346"/>
                <a:gd name="T5" fmla="*/ 830 h 1152"/>
                <a:gd name="T6" fmla="*/ 1151 w 1346"/>
                <a:gd name="T7" fmla="*/ 917 h 1152"/>
                <a:gd name="T8" fmla="*/ 975 w 1346"/>
                <a:gd name="T9" fmla="*/ 947 h 1152"/>
                <a:gd name="T10" fmla="*/ 868 w 1346"/>
                <a:gd name="T11" fmla="*/ 888 h 1152"/>
                <a:gd name="T12" fmla="*/ 663 w 1346"/>
                <a:gd name="T13" fmla="*/ 947 h 1152"/>
                <a:gd name="T14" fmla="*/ 546 w 1346"/>
                <a:gd name="T15" fmla="*/ 1054 h 1152"/>
                <a:gd name="T16" fmla="*/ 370 w 1346"/>
                <a:gd name="T17" fmla="*/ 1142 h 1152"/>
                <a:gd name="T18" fmla="*/ 205 w 1346"/>
                <a:gd name="T19" fmla="*/ 1064 h 1152"/>
                <a:gd name="T20" fmla="*/ 127 w 1346"/>
                <a:gd name="T21" fmla="*/ 1005 h 1152"/>
                <a:gd name="T22" fmla="*/ 107 w 1346"/>
                <a:gd name="T23" fmla="*/ 908 h 1152"/>
                <a:gd name="T24" fmla="*/ 48 w 1346"/>
                <a:gd name="T25" fmla="*/ 849 h 1152"/>
                <a:gd name="T26" fmla="*/ 29 w 1346"/>
                <a:gd name="T27" fmla="*/ 742 h 1152"/>
                <a:gd name="T28" fmla="*/ 97 w 1346"/>
                <a:gd name="T29" fmla="*/ 644 h 1152"/>
                <a:gd name="T30" fmla="*/ 117 w 1346"/>
                <a:gd name="T31" fmla="*/ 547 h 1152"/>
                <a:gd name="T32" fmla="*/ 136 w 1346"/>
                <a:gd name="T33" fmla="*/ 527 h 1152"/>
                <a:gd name="T34" fmla="*/ 224 w 1346"/>
                <a:gd name="T35" fmla="*/ 595 h 1152"/>
                <a:gd name="T36" fmla="*/ 185 w 1346"/>
                <a:gd name="T37" fmla="*/ 664 h 1152"/>
                <a:gd name="T38" fmla="*/ 205 w 1346"/>
                <a:gd name="T39" fmla="*/ 683 h 1152"/>
                <a:gd name="T40" fmla="*/ 166 w 1346"/>
                <a:gd name="T41" fmla="*/ 781 h 1152"/>
                <a:gd name="T42" fmla="*/ 205 w 1346"/>
                <a:gd name="T43" fmla="*/ 849 h 1152"/>
                <a:gd name="T44" fmla="*/ 205 w 1346"/>
                <a:gd name="T45" fmla="*/ 761 h 1152"/>
                <a:gd name="T46" fmla="*/ 244 w 1346"/>
                <a:gd name="T47" fmla="*/ 634 h 1152"/>
                <a:gd name="T48" fmla="*/ 175 w 1346"/>
                <a:gd name="T49" fmla="*/ 508 h 1152"/>
                <a:gd name="T50" fmla="*/ 195 w 1346"/>
                <a:gd name="T51" fmla="*/ 400 h 1152"/>
                <a:gd name="T52" fmla="*/ 370 w 1346"/>
                <a:gd name="T53" fmla="*/ 400 h 1152"/>
                <a:gd name="T54" fmla="*/ 419 w 1346"/>
                <a:gd name="T55" fmla="*/ 410 h 1152"/>
                <a:gd name="T56" fmla="*/ 419 w 1346"/>
                <a:gd name="T57" fmla="*/ 332 h 1152"/>
                <a:gd name="T58" fmla="*/ 409 w 1346"/>
                <a:gd name="T59" fmla="*/ 303 h 1152"/>
                <a:gd name="T60" fmla="*/ 448 w 1346"/>
                <a:gd name="T61" fmla="*/ 293 h 1152"/>
                <a:gd name="T62" fmla="*/ 478 w 1346"/>
                <a:gd name="T63" fmla="*/ 273 h 1152"/>
                <a:gd name="T64" fmla="*/ 575 w 1346"/>
                <a:gd name="T65" fmla="*/ 225 h 1152"/>
                <a:gd name="T66" fmla="*/ 673 w 1346"/>
                <a:gd name="T67" fmla="*/ 215 h 1152"/>
                <a:gd name="T68" fmla="*/ 663 w 1346"/>
                <a:gd name="T69" fmla="*/ 186 h 1152"/>
                <a:gd name="T70" fmla="*/ 722 w 1346"/>
                <a:gd name="T71" fmla="*/ 186 h 1152"/>
                <a:gd name="T72" fmla="*/ 761 w 1346"/>
                <a:gd name="T73" fmla="*/ 205 h 1152"/>
                <a:gd name="T74" fmla="*/ 839 w 1346"/>
                <a:gd name="T75" fmla="*/ 176 h 1152"/>
                <a:gd name="T76" fmla="*/ 848 w 1346"/>
                <a:gd name="T77" fmla="*/ 147 h 1152"/>
                <a:gd name="T78" fmla="*/ 907 w 1346"/>
                <a:gd name="T79" fmla="*/ 137 h 1152"/>
                <a:gd name="T80" fmla="*/ 897 w 1346"/>
                <a:gd name="T81" fmla="*/ 69 h 1152"/>
                <a:gd name="T82" fmla="*/ 965 w 1346"/>
                <a:gd name="T83" fmla="*/ 0 h 1152"/>
                <a:gd name="T84" fmla="*/ 1024 w 1346"/>
                <a:gd name="T85" fmla="*/ 39 h 1152"/>
                <a:gd name="T86" fmla="*/ 1024 w 1346"/>
                <a:gd name="T87" fmla="*/ 78 h 1152"/>
                <a:gd name="T88" fmla="*/ 1053 w 1346"/>
                <a:gd name="T89" fmla="*/ 137 h 1152"/>
                <a:gd name="T90" fmla="*/ 1131 w 1346"/>
                <a:gd name="T91" fmla="*/ 98 h 1152"/>
                <a:gd name="T92" fmla="*/ 1209 w 1346"/>
                <a:gd name="T93" fmla="*/ 108 h 1152"/>
                <a:gd name="T94" fmla="*/ 1258 w 1346"/>
                <a:gd name="T95" fmla="*/ 156 h 1152"/>
                <a:gd name="T96" fmla="*/ 1287 w 1346"/>
                <a:gd name="T97" fmla="*/ 166 h 1152"/>
                <a:gd name="T98" fmla="*/ 1258 w 1346"/>
                <a:gd name="T99" fmla="*/ 205 h 1152"/>
                <a:gd name="T100" fmla="*/ 1287 w 1346"/>
                <a:gd name="T101" fmla="*/ 273 h 1152"/>
                <a:gd name="T102" fmla="*/ 1199 w 1346"/>
                <a:gd name="T103" fmla="*/ 361 h 1152"/>
                <a:gd name="T104" fmla="*/ 1151 w 1346"/>
                <a:gd name="T105" fmla="*/ 449 h 1152"/>
                <a:gd name="T106" fmla="*/ 1073 w 1346"/>
                <a:gd name="T107" fmla="*/ 527 h 1152"/>
                <a:gd name="T108" fmla="*/ 1121 w 1346"/>
                <a:gd name="T109" fmla="*/ 508 h 1152"/>
                <a:gd name="T110" fmla="*/ 1199 w 1346"/>
                <a:gd name="T111" fmla="*/ 469 h 1152"/>
                <a:gd name="T112" fmla="*/ 1190 w 1346"/>
                <a:gd name="T113" fmla="*/ 430 h 115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46"/>
                <a:gd name="T172" fmla="*/ 0 h 1152"/>
                <a:gd name="T173" fmla="*/ 1346 w 1346"/>
                <a:gd name="T174" fmla="*/ 1152 h 115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46" h="1152">
                  <a:moveTo>
                    <a:pt x="1248" y="410"/>
                  </a:moveTo>
                  <a:lnTo>
                    <a:pt x="1238" y="420"/>
                  </a:lnTo>
                  <a:lnTo>
                    <a:pt x="1238" y="430"/>
                  </a:lnTo>
                  <a:lnTo>
                    <a:pt x="1238" y="439"/>
                  </a:lnTo>
                  <a:lnTo>
                    <a:pt x="1219" y="459"/>
                  </a:lnTo>
                  <a:lnTo>
                    <a:pt x="1209" y="469"/>
                  </a:lnTo>
                  <a:lnTo>
                    <a:pt x="1229" y="488"/>
                  </a:lnTo>
                  <a:lnTo>
                    <a:pt x="1238" y="508"/>
                  </a:lnTo>
                  <a:lnTo>
                    <a:pt x="1229" y="537"/>
                  </a:lnTo>
                  <a:lnTo>
                    <a:pt x="1258" y="556"/>
                  </a:lnTo>
                  <a:lnTo>
                    <a:pt x="1258" y="576"/>
                  </a:lnTo>
                  <a:lnTo>
                    <a:pt x="1268" y="576"/>
                  </a:lnTo>
                  <a:lnTo>
                    <a:pt x="1287" y="595"/>
                  </a:lnTo>
                  <a:lnTo>
                    <a:pt x="1317" y="625"/>
                  </a:lnTo>
                  <a:lnTo>
                    <a:pt x="1317" y="654"/>
                  </a:lnTo>
                  <a:lnTo>
                    <a:pt x="1317" y="673"/>
                  </a:lnTo>
                  <a:lnTo>
                    <a:pt x="1346" y="683"/>
                  </a:lnTo>
                  <a:lnTo>
                    <a:pt x="1346" y="703"/>
                  </a:lnTo>
                  <a:lnTo>
                    <a:pt x="1346" y="712"/>
                  </a:lnTo>
                  <a:lnTo>
                    <a:pt x="1326" y="712"/>
                  </a:lnTo>
                  <a:lnTo>
                    <a:pt x="1307" y="742"/>
                  </a:lnTo>
                  <a:lnTo>
                    <a:pt x="1278" y="771"/>
                  </a:lnTo>
                  <a:lnTo>
                    <a:pt x="1278" y="800"/>
                  </a:lnTo>
                  <a:lnTo>
                    <a:pt x="1258" y="800"/>
                  </a:lnTo>
                  <a:lnTo>
                    <a:pt x="1258" y="820"/>
                  </a:lnTo>
                  <a:lnTo>
                    <a:pt x="1248" y="830"/>
                  </a:lnTo>
                  <a:lnTo>
                    <a:pt x="1258" y="830"/>
                  </a:lnTo>
                  <a:lnTo>
                    <a:pt x="1258" y="849"/>
                  </a:lnTo>
                  <a:lnTo>
                    <a:pt x="1248" y="859"/>
                  </a:lnTo>
                  <a:lnTo>
                    <a:pt x="1238" y="878"/>
                  </a:lnTo>
                  <a:lnTo>
                    <a:pt x="1219" y="878"/>
                  </a:lnTo>
                  <a:lnTo>
                    <a:pt x="1209" y="878"/>
                  </a:lnTo>
                  <a:lnTo>
                    <a:pt x="1199" y="878"/>
                  </a:lnTo>
                  <a:lnTo>
                    <a:pt x="1190" y="888"/>
                  </a:lnTo>
                  <a:lnTo>
                    <a:pt x="1170" y="908"/>
                  </a:lnTo>
                  <a:lnTo>
                    <a:pt x="1151" y="917"/>
                  </a:lnTo>
                  <a:lnTo>
                    <a:pt x="1112" y="917"/>
                  </a:lnTo>
                  <a:lnTo>
                    <a:pt x="1102" y="947"/>
                  </a:lnTo>
                  <a:lnTo>
                    <a:pt x="1082" y="937"/>
                  </a:lnTo>
                  <a:lnTo>
                    <a:pt x="1082" y="927"/>
                  </a:lnTo>
                  <a:lnTo>
                    <a:pt x="1053" y="927"/>
                  </a:lnTo>
                  <a:lnTo>
                    <a:pt x="1053" y="937"/>
                  </a:lnTo>
                  <a:lnTo>
                    <a:pt x="1024" y="956"/>
                  </a:lnTo>
                  <a:lnTo>
                    <a:pt x="1004" y="947"/>
                  </a:lnTo>
                  <a:lnTo>
                    <a:pt x="975" y="947"/>
                  </a:lnTo>
                  <a:lnTo>
                    <a:pt x="956" y="937"/>
                  </a:lnTo>
                  <a:lnTo>
                    <a:pt x="956" y="927"/>
                  </a:lnTo>
                  <a:lnTo>
                    <a:pt x="946" y="917"/>
                  </a:lnTo>
                  <a:lnTo>
                    <a:pt x="926" y="927"/>
                  </a:lnTo>
                  <a:lnTo>
                    <a:pt x="897" y="917"/>
                  </a:lnTo>
                  <a:lnTo>
                    <a:pt x="878" y="927"/>
                  </a:lnTo>
                  <a:lnTo>
                    <a:pt x="868" y="927"/>
                  </a:lnTo>
                  <a:lnTo>
                    <a:pt x="878" y="908"/>
                  </a:lnTo>
                  <a:lnTo>
                    <a:pt x="868" y="888"/>
                  </a:lnTo>
                  <a:lnTo>
                    <a:pt x="848" y="878"/>
                  </a:lnTo>
                  <a:lnTo>
                    <a:pt x="819" y="898"/>
                  </a:lnTo>
                  <a:lnTo>
                    <a:pt x="780" y="888"/>
                  </a:lnTo>
                  <a:lnTo>
                    <a:pt x="770" y="898"/>
                  </a:lnTo>
                  <a:lnTo>
                    <a:pt x="751" y="898"/>
                  </a:lnTo>
                  <a:lnTo>
                    <a:pt x="741" y="908"/>
                  </a:lnTo>
                  <a:lnTo>
                    <a:pt x="722" y="908"/>
                  </a:lnTo>
                  <a:lnTo>
                    <a:pt x="692" y="937"/>
                  </a:lnTo>
                  <a:lnTo>
                    <a:pt x="663" y="947"/>
                  </a:lnTo>
                  <a:lnTo>
                    <a:pt x="653" y="956"/>
                  </a:lnTo>
                  <a:lnTo>
                    <a:pt x="643" y="966"/>
                  </a:lnTo>
                  <a:lnTo>
                    <a:pt x="643" y="995"/>
                  </a:lnTo>
                  <a:lnTo>
                    <a:pt x="624" y="1005"/>
                  </a:lnTo>
                  <a:lnTo>
                    <a:pt x="614" y="1025"/>
                  </a:lnTo>
                  <a:lnTo>
                    <a:pt x="604" y="1044"/>
                  </a:lnTo>
                  <a:lnTo>
                    <a:pt x="565" y="1044"/>
                  </a:lnTo>
                  <a:lnTo>
                    <a:pt x="556" y="1044"/>
                  </a:lnTo>
                  <a:lnTo>
                    <a:pt x="546" y="1054"/>
                  </a:lnTo>
                  <a:lnTo>
                    <a:pt x="546" y="1064"/>
                  </a:lnTo>
                  <a:lnTo>
                    <a:pt x="526" y="1083"/>
                  </a:lnTo>
                  <a:lnTo>
                    <a:pt x="517" y="1093"/>
                  </a:lnTo>
                  <a:lnTo>
                    <a:pt x="507" y="1103"/>
                  </a:lnTo>
                  <a:lnTo>
                    <a:pt x="497" y="1122"/>
                  </a:lnTo>
                  <a:lnTo>
                    <a:pt x="468" y="1142"/>
                  </a:lnTo>
                  <a:lnTo>
                    <a:pt x="419" y="1152"/>
                  </a:lnTo>
                  <a:lnTo>
                    <a:pt x="390" y="1142"/>
                  </a:lnTo>
                  <a:lnTo>
                    <a:pt x="370" y="1142"/>
                  </a:lnTo>
                  <a:lnTo>
                    <a:pt x="361" y="1142"/>
                  </a:lnTo>
                  <a:lnTo>
                    <a:pt x="322" y="1132"/>
                  </a:lnTo>
                  <a:lnTo>
                    <a:pt x="292" y="1122"/>
                  </a:lnTo>
                  <a:lnTo>
                    <a:pt x="263" y="1073"/>
                  </a:lnTo>
                  <a:lnTo>
                    <a:pt x="263" y="1044"/>
                  </a:lnTo>
                  <a:lnTo>
                    <a:pt x="234" y="1044"/>
                  </a:lnTo>
                  <a:lnTo>
                    <a:pt x="214" y="1044"/>
                  </a:lnTo>
                  <a:lnTo>
                    <a:pt x="214" y="1064"/>
                  </a:lnTo>
                  <a:lnTo>
                    <a:pt x="205" y="1064"/>
                  </a:lnTo>
                  <a:lnTo>
                    <a:pt x="205" y="1083"/>
                  </a:lnTo>
                  <a:lnTo>
                    <a:pt x="195" y="1083"/>
                  </a:lnTo>
                  <a:lnTo>
                    <a:pt x="166" y="1083"/>
                  </a:lnTo>
                  <a:lnTo>
                    <a:pt x="166" y="1113"/>
                  </a:lnTo>
                  <a:lnTo>
                    <a:pt x="156" y="1103"/>
                  </a:lnTo>
                  <a:lnTo>
                    <a:pt x="127" y="1044"/>
                  </a:lnTo>
                  <a:lnTo>
                    <a:pt x="127" y="1025"/>
                  </a:lnTo>
                  <a:lnTo>
                    <a:pt x="117" y="1015"/>
                  </a:lnTo>
                  <a:lnTo>
                    <a:pt x="127" y="1005"/>
                  </a:lnTo>
                  <a:lnTo>
                    <a:pt x="117" y="986"/>
                  </a:lnTo>
                  <a:lnTo>
                    <a:pt x="107" y="995"/>
                  </a:lnTo>
                  <a:lnTo>
                    <a:pt x="97" y="956"/>
                  </a:lnTo>
                  <a:lnTo>
                    <a:pt x="97" y="947"/>
                  </a:lnTo>
                  <a:lnTo>
                    <a:pt x="117" y="947"/>
                  </a:lnTo>
                  <a:lnTo>
                    <a:pt x="117" y="937"/>
                  </a:lnTo>
                  <a:lnTo>
                    <a:pt x="117" y="927"/>
                  </a:lnTo>
                  <a:lnTo>
                    <a:pt x="97" y="917"/>
                  </a:lnTo>
                  <a:lnTo>
                    <a:pt x="107" y="908"/>
                  </a:lnTo>
                  <a:lnTo>
                    <a:pt x="117" y="898"/>
                  </a:lnTo>
                  <a:lnTo>
                    <a:pt x="107" y="878"/>
                  </a:lnTo>
                  <a:lnTo>
                    <a:pt x="97" y="878"/>
                  </a:lnTo>
                  <a:lnTo>
                    <a:pt x="117" y="849"/>
                  </a:lnTo>
                  <a:lnTo>
                    <a:pt x="97" y="839"/>
                  </a:lnTo>
                  <a:lnTo>
                    <a:pt x="87" y="849"/>
                  </a:lnTo>
                  <a:lnTo>
                    <a:pt x="78" y="859"/>
                  </a:lnTo>
                  <a:lnTo>
                    <a:pt x="68" y="859"/>
                  </a:lnTo>
                  <a:lnTo>
                    <a:pt x="48" y="849"/>
                  </a:lnTo>
                  <a:lnTo>
                    <a:pt x="29" y="830"/>
                  </a:lnTo>
                  <a:lnTo>
                    <a:pt x="19" y="830"/>
                  </a:lnTo>
                  <a:lnTo>
                    <a:pt x="19" y="820"/>
                  </a:lnTo>
                  <a:lnTo>
                    <a:pt x="19" y="800"/>
                  </a:lnTo>
                  <a:lnTo>
                    <a:pt x="9" y="791"/>
                  </a:lnTo>
                  <a:lnTo>
                    <a:pt x="0" y="781"/>
                  </a:lnTo>
                  <a:lnTo>
                    <a:pt x="0" y="761"/>
                  </a:lnTo>
                  <a:lnTo>
                    <a:pt x="9" y="761"/>
                  </a:lnTo>
                  <a:lnTo>
                    <a:pt x="29" y="742"/>
                  </a:lnTo>
                  <a:lnTo>
                    <a:pt x="39" y="742"/>
                  </a:lnTo>
                  <a:lnTo>
                    <a:pt x="48" y="742"/>
                  </a:lnTo>
                  <a:lnTo>
                    <a:pt x="58" y="732"/>
                  </a:lnTo>
                  <a:lnTo>
                    <a:pt x="87" y="722"/>
                  </a:lnTo>
                  <a:lnTo>
                    <a:pt x="97" y="712"/>
                  </a:lnTo>
                  <a:lnTo>
                    <a:pt x="97" y="673"/>
                  </a:lnTo>
                  <a:lnTo>
                    <a:pt x="107" y="654"/>
                  </a:lnTo>
                  <a:lnTo>
                    <a:pt x="97" y="644"/>
                  </a:lnTo>
                  <a:lnTo>
                    <a:pt x="87" y="634"/>
                  </a:lnTo>
                  <a:lnTo>
                    <a:pt x="68" y="605"/>
                  </a:lnTo>
                  <a:lnTo>
                    <a:pt x="68" y="586"/>
                  </a:lnTo>
                  <a:lnTo>
                    <a:pt x="78" y="576"/>
                  </a:lnTo>
                  <a:lnTo>
                    <a:pt x="87" y="576"/>
                  </a:lnTo>
                  <a:lnTo>
                    <a:pt x="97" y="576"/>
                  </a:lnTo>
                  <a:lnTo>
                    <a:pt x="127" y="547"/>
                  </a:lnTo>
                  <a:lnTo>
                    <a:pt x="117" y="547"/>
                  </a:lnTo>
                  <a:lnTo>
                    <a:pt x="97" y="527"/>
                  </a:lnTo>
                  <a:lnTo>
                    <a:pt x="87" y="517"/>
                  </a:lnTo>
                  <a:lnTo>
                    <a:pt x="78" y="508"/>
                  </a:lnTo>
                  <a:lnTo>
                    <a:pt x="87" y="498"/>
                  </a:lnTo>
                  <a:lnTo>
                    <a:pt x="87" y="488"/>
                  </a:lnTo>
                  <a:lnTo>
                    <a:pt x="107" y="488"/>
                  </a:lnTo>
                  <a:lnTo>
                    <a:pt x="117" y="498"/>
                  </a:lnTo>
                  <a:lnTo>
                    <a:pt x="136" y="517"/>
                  </a:lnTo>
                  <a:lnTo>
                    <a:pt x="136" y="527"/>
                  </a:lnTo>
                  <a:lnTo>
                    <a:pt x="156" y="537"/>
                  </a:lnTo>
                  <a:lnTo>
                    <a:pt x="156" y="547"/>
                  </a:lnTo>
                  <a:lnTo>
                    <a:pt x="156" y="556"/>
                  </a:lnTo>
                  <a:lnTo>
                    <a:pt x="166" y="566"/>
                  </a:lnTo>
                  <a:lnTo>
                    <a:pt x="166" y="586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24" y="595"/>
                  </a:lnTo>
                  <a:lnTo>
                    <a:pt x="234" y="605"/>
                  </a:lnTo>
                  <a:lnTo>
                    <a:pt x="234" y="615"/>
                  </a:lnTo>
                  <a:lnTo>
                    <a:pt x="224" y="625"/>
                  </a:lnTo>
                  <a:lnTo>
                    <a:pt x="214" y="63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85" y="644"/>
                  </a:lnTo>
                  <a:lnTo>
                    <a:pt x="185" y="664"/>
                  </a:lnTo>
                  <a:lnTo>
                    <a:pt x="175" y="673"/>
                  </a:lnTo>
                  <a:lnTo>
                    <a:pt x="166" y="683"/>
                  </a:lnTo>
                  <a:lnTo>
                    <a:pt x="175" y="683"/>
                  </a:lnTo>
                  <a:lnTo>
                    <a:pt x="175" y="703"/>
                  </a:lnTo>
                  <a:lnTo>
                    <a:pt x="166" y="703"/>
                  </a:lnTo>
                  <a:lnTo>
                    <a:pt x="166" y="712"/>
                  </a:lnTo>
                  <a:lnTo>
                    <a:pt x="185" y="703"/>
                  </a:lnTo>
                  <a:lnTo>
                    <a:pt x="185" y="693"/>
                  </a:lnTo>
                  <a:lnTo>
                    <a:pt x="205" y="683"/>
                  </a:lnTo>
                  <a:lnTo>
                    <a:pt x="214" y="693"/>
                  </a:lnTo>
                  <a:lnTo>
                    <a:pt x="214" y="703"/>
                  </a:lnTo>
                  <a:lnTo>
                    <a:pt x="205" y="703"/>
                  </a:lnTo>
                  <a:lnTo>
                    <a:pt x="195" y="712"/>
                  </a:lnTo>
                  <a:lnTo>
                    <a:pt x="185" y="732"/>
                  </a:lnTo>
                  <a:lnTo>
                    <a:pt x="185" y="742"/>
                  </a:lnTo>
                  <a:lnTo>
                    <a:pt x="166" y="761"/>
                  </a:lnTo>
                  <a:lnTo>
                    <a:pt x="166" y="771"/>
                  </a:lnTo>
                  <a:lnTo>
                    <a:pt x="166" y="781"/>
                  </a:lnTo>
                  <a:lnTo>
                    <a:pt x="175" y="771"/>
                  </a:lnTo>
                  <a:lnTo>
                    <a:pt x="175" y="781"/>
                  </a:lnTo>
                  <a:lnTo>
                    <a:pt x="185" y="791"/>
                  </a:lnTo>
                  <a:lnTo>
                    <a:pt x="185" y="820"/>
                  </a:lnTo>
                  <a:lnTo>
                    <a:pt x="205" y="830"/>
                  </a:lnTo>
                  <a:lnTo>
                    <a:pt x="205" y="849"/>
                  </a:lnTo>
                  <a:lnTo>
                    <a:pt x="224" y="849"/>
                  </a:lnTo>
                  <a:lnTo>
                    <a:pt x="214" y="839"/>
                  </a:lnTo>
                  <a:lnTo>
                    <a:pt x="214" y="830"/>
                  </a:lnTo>
                  <a:lnTo>
                    <a:pt x="205" y="810"/>
                  </a:lnTo>
                  <a:lnTo>
                    <a:pt x="195" y="791"/>
                  </a:lnTo>
                  <a:lnTo>
                    <a:pt x="185" y="791"/>
                  </a:lnTo>
                  <a:lnTo>
                    <a:pt x="185" y="771"/>
                  </a:lnTo>
                  <a:lnTo>
                    <a:pt x="185" y="761"/>
                  </a:lnTo>
                  <a:lnTo>
                    <a:pt x="205" y="761"/>
                  </a:lnTo>
                  <a:lnTo>
                    <a:pt x="214" y="752"/>
                  </a:lnTo>
                  <a:lnTo>
                    <a:pt x="214" y="712"/>
                  </a:lnTo>
                  <a:lnTo>
                    <a:pt x="214" y="693"/>
                  </a:lnTo>
                  <a:lnTo>
                    <a:pt x="214" y="683"/>
                  </a:lnTo>
                  <a:lnTo>
                    <a:pt x="214" y="673"/>
                  </a:lnTo>
                  <a:lnTo>
                    <a:pt x="214" y="664"/>
                  </a:lnTo>
                  <a:lnTo>
                    <a:pt x="234" y="644"/>
                  </a:lnTo>
                  <a:lnTo>
                    <a:pt x="234" y="634"/>
                  </a:lnTo>
                  <a:lnTo>
                    <a:pt x="244" y="634"/>
                  </a:lnTo>
                  <a:lnTo>
                    <a:pt x="244" y="625"/>
                  </a:lnTo>
                  <a:lnTo>
                    <a:pt x="244" y="605"/>
                  </a:lnTo>
                  <a:lnTo>
                    <a:pt x="234" y="586"/>
                  </a:lnTo>
                  <a:lnTo>
                    <a:pt x="214" y="576"/>
                  </a:lnTo>
                  <a:lnTo>
                    <a:pt x="214" y="566"/>
                  </a:lnTo>
                  <a:lnTo>
                    <a:pt x="214" y="556"/>
                  </a:lnTo>
                  <a:lnTo>
                    <a:pt x="214" y="547"/>
                  </a:lnTo>
                  <a:lnTo>
                    <a:pt x="195" y="527"/>
                  </a:lnTo>
                  <a:lnTo>
                    <a:pt x="175" y="508"/>
                  </a:lnTo>
                  <a:lnTo>
                    <a:pt x="175" y="488"/>
                  </a:lnTo>
                  <a:lnTo>
                    <a:pt x="175" y="469"/>
                  </a:lnTo>
                  <a:lnTo>
                    <a:pt x="185" y="449"/>
                  </a:lnTo>
                  <a:lnTo>
                    <a:pt x="185" y="439"/>
                  </a:lnTo>
                  <a:lnTo>
                    <a:pt x="185" y="430"/>
                  </a:lnTo>
                  <a:lnTo>
                    <a:pt x="185" y="420"/>
                  </a:lnTo>
                  <a:lnTo>
                    <a:pt x="195" y="420"/>
                  </a:lnTo>
                  <a:lnTo>
                    <a:pt x="185" y="410"/>
                  </a:lnTo>
                  <a:lnTo>
                    <a:pt x="195" y="400"/>
                  </a:lnTo>
                  <a:lnTo>
                    <a:pt x="205" y="391"/>
                  </a:lnTo>
                  <a:lnTo>
                    <a:pt x="214" y="391"/>
                  </a:lnTo>
                  <a:lnTo>
                    <a:pt x="253" y="391"/>
                  </a:lnTo>
                  <a:lnTo>
                    <a:pt x="302" y="391"/>
                  </a:lnTo>
                  <a:lnTo>
                    <a:pt x="341" y="391"/>
                  </a:lnTo>
                  <a:lnTo>
                    <a:pt x="361" y="391"/>
                  </a:lnTo>
                  <a:lnTo>
                    <a:pt x="351" y="410"/>
                  </a:lnTo>
                  <a:lnTo>
                    <a:pt x="361" y="410"/>
                  </a:lnTo>
                  <a:lnTo>
                    <a:pt x="370" y="400"/>
                  </a:lnTo>
                  <a:lnTo>
                    <a:pt x="380" y="391"/>
                  </a:lnTo>
                  <a:lnTo>
                    <a:pt x="390" y="391"/>
                  </a:lnTo>
                  <a:lnTo>
                    <a:pt x="400" y="391"/>
                  </a:lnTo>
                  <a:lnTo>
                    <a:pt x="400" y="400"/>
                  </a:lnTo>
                  <a:lnTo>
                    <a:pt x="409" y="391"/>
                  </a:lnTo>
                  <a:lnTo>
                    <a:pt x="419" y="400"/>
                  </a:lnTo>
                  <a:lnTo>
                    <a:pt x="419" y="410"/>
                  </a:lnTo>
                  <a:lnTo>
                    <a:pt x="419" y="391"/>
                  </a:lnTo>
                  <a:lnTo>
                    <a:pt x="429" y="381"/>
                  </a:lnTo>
                  <a:lnTo>
                    <a:pt x="419" y="371"/>
                  </a:lnTo>
                  <a:lnTo>
                    <a:pt x="419" y="351"/>
                  </a:lnTo>
                  <a:lnTo>
                    <a:pt x="400" y="351"/>
                  </a:lnTo>
                  <a:lnTo>
                    <a:pt x="390" y="351"/>
                  </a:lnTo>
                  <a:lnTo>
                    <a:pt x="400" y="342"/>
                  </a:lnTo>
                  <a:lnTo>
                    <a:pt x="419" y="332"/>
                  </a:lnTo>
                  <a:lnTo>
                    <a:pt x="419" y="342"/>
                  </a:lnTo>
                  <a:lnTo>
                    <a:pt x="429" y="351"/>
                  </a:lnTo>
                  <a:lnTo>
                    <a:pt x="429" y="342"/>
                  </a:lnTo>
                  <a:lnTo>
                    <a:pt x="419" y="33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03"/>
                  </a:lnTo>
                  <a:lnTo>
                    <a:pt x="409" y="303"/>
                  </a:lnTo>
                  <a:lnTo>
                    <a:pt x="409" y="283"/>
                  </a:lnTo>
                  <a:lnTo>
                    <a:pt x="419" y="293"/>
                  </a:lnTo>
                  <a:lnTo>
                    <a:pt x="419" y="303"/>
                  </a:lnTo>
                  <a:lnTo>
                    <a:pt x="419" y="312"/>
                  </a:lnTo>
                  <a:lnTo>
                    <a:pt x="429" y="322"/>
                  </a:lnTo>
                  <a:lnTo>
                    <a:pt x="429" y="303"/>
                  </a:lnTo>
                  <a:lnTo>
                    <a:pt x="439" y="303"/>
                  </a:lnTo>
                  <a:lnTo>
                    <a:pt x="448" y="293"/>
                  </a:lnTo>
                  <a:lnTo>
                    <a:pt x="448" y="283"/>
                  </a:lnTo>
                  <a:lnTo>
                    <a:pt x="458" y="283"/>
                  </a:lnTo>
                  <a:lnTo>
                    <a:pt x="458" y="273"/>
                  </a:lnTo>
                  <a:lnTo>
                    <a:pt x="448" y="273"/>
                  </a:lnTo>
                  <a:lnTo>
                    <a:pt x="448" y="264"/>
                  </a:lnTo>
                  <a:lnTo>
                    <a:pt x="458" y="264"/>
                  </a:lnTo>
                  <a:lnTo>
                    <a:pt x="468" y="264"/>
                  </a:lnTo>
                  <a:lnTo>
                    <a:pt x="478" y="273"/>
                  </a:lnTo>
                  <a:lnTo>
                    <a:pt x="487" y="264"/>
                  </a:lnTo>
                  <a:lnTo>
                    <a:pt x="507" y="244"/>
                  </a:lnTo>
                  <a:lnTo>
                    <a:pt x="507" y="234"/>
                  </a:lnTo>
                  <a:lnTo>
                    <a:pt x="526" y="234"/>
                  </a:lnTo>
                  <a:lnTo>
                    <a:pt x="526" y="244"/>
                  </a:lnTo>
                  <a:lnTo>
                    <a:pt x="546" y="234"/>
                  </a:lnTo>
                  <a:lnTo>
                    <a:pt x="556" y="225"/>
                  </a:lnTo>
                  <a:lnTo>
                    <a:pt x="575" y="215"/>
                  </a:lnTo>
                  <a:lnTo>
                    <a:pt x="575" y="225"/>
                  </a:lnTo>
                  <a:lnTo>
                    <a:pt x="595" y="225"/>
                  </a:lnTo>
                  <a:lnTo>
                    <a:pt x="604" y="215"/>
                  </a:lnTo>
                  <a:lnTo>
                    <a:pt x="624" y="215"/>
                  </a:lnTo>
                  <a:lnTo>
                    <a:pt x="634" y="215"/>
                  </a:lnTo>
                  <a:lnTo>
                    <a:pt x="643" y="215"/>
                  </a:lnTo>
                  <a:lnTo>
                    <a:pt x="653" y="215"/>
                  </a:lnTo>
                  <a:lnTo>
                    <a:pt x="663" y="215"/>
                  </a:lnTo>
                  <a:lnTo>
                    <a:pt x="673" y="215"/>
                  </a:lnTo>
                  <a:lnTo>
                    <a:pt x="673" y="205"/>
                  </a:lnTo>
                  <a:lnTo>
                    <a:pt x="653" y="205"/>
                  </a:lnTo>
                  <a:lnTo>
                    <a:pt x="643" y="205"/>
                  </a:lnTo>
                  <a:lnTo>
                    <a:pt x="643" y="195"/>
                  </a:lnTo>
                  <a:lnTo>
                    <a:pt x="643" y="186"/>
                  </a:lnTo>
                  <a:lnTo>
                    <a:pt x="653" y="176"/>
                  </a:lnTo>
                  <a:lnTo>
                    <a:pt x="663" y="186"/>
                  </a:lnTo>
                  <a:lnTo>
                    <a:pt x="673" y="186"/>
                  </a:lnTo>
                  <a:lnTo>
                    <a:pt x="673" y="176"/>
                  </a:lnTo>
                  <a:lnTo>
                    <a:pt x="683" y="176"/>
                  </a:lnTo>
                  <a:lnTo>
                    <a:pt x="683" y="186"/>
                  </a:lnTo>
                  <a:lnTo>
                    <a:pt x="692" y="186"/>
                  </a:lnTo>
                  <a:lnTo>
                    <a:pt x="702" y="186"/>
                  </a:lnTo>
                  <a:lnTo>
                    <a:pt x="712" y="186"/>
                  </a:lnTo>
                  <a:lnTo>
                    <a:pt x="722" y="186"/>
                  </a:lnTo>
                  <a:lnTo>
                    <a:pt x="731" y="186"/>
                  </a:lnTo>
                  <a:lnTo>
                    <a:pt x="741" y="186"/>
                  </a:lnTo>
                  <a:lnTo>
                    <a:pt x="741" y="195"/>
                  </a:lnTo>
                  <a:lnTo>
                    <a:pt x="731" y="205"/>
                  </a:lnTo>
                  <a:lnTo>
                    <a:pt x="731" y="215"/>
                  </a:lnTo>
                  <a:lnTo>
                    <a:pt x="741" y="205"/>
                  </a:lnTo>
                  <a:lnTo>
                    <a:pt x="751" y="205"/>
                  </a:lnTo>
                  <a:lnTo>
                    <a:pt x="751" y="215"/>
                  </a:lnTo>
                  <a:lnTo>
                    <a:pt x="761" y="205"/>
                  </a:lnTo>
                  <a:lnTo>
                    <a:pt x="770" y="205"/>
                  </a:lnTo>
                  <a:lnTo>
                    <a:pt x="780" y="205"/>
                  </a:lnTo>
                  <a:lnTo>
                    <a:pt x="790" y="205"/>
                  </a:lnTo>
                  <a:lnTo>
                    <a:pt x="790" y="195"/>
                  </a:lnTo>
                  <a:lnTo>
                    <a:pt x="800" y="186"/>
                  </a:lnTo>
                  <a:lnTo>
                    <a:pt x="800" y="176"/>
                  </a:lnTo>
                  <a:lnTo>
                    <a:pt x="809" y="176"/>
                  </a:lnTo>
                  <a:lnTo>
                    <a:pt x="819" y="166"/>
                  </a:lnTo>
                  <a:lnTo>
                    <a:pt x="839" y="176"/>
                  </a:lnTo>
                  <a:lnTo>
                    <a:pt x="848" y="186"/>
                  </a:lnTo>
                  <a:lnTo>
                    <a:pt x="858" y="195"/>
                  </a:lnTo>
                  <a:lnTo>
                    <a:pt x="858" y="176"/>
                  </a:lnTo>
                  <a:lnTo>
                    <a:pt x="839" y="176"/>
                  </a:lnTo>
                  <a:lnTo>
                    <a:pt x="839" y="156"/>
                  </a:lnTo>
                  <a:lnTo>
                    <a:pt x="829" y="156"/>
                  </a:lnTo>
                  <a:lnTo>
                    <a:pt x="829" y="137"/>
                  </a:lnTo>
                  <a:lnTo>
                    <a:pt x="839" y="137"/>
                  </a:lnTo>
                  <a:lnTo>
                    <a:pt x="848" y="147"/>
                  </a:lnTo>
                  <a:lnTo>
                    <a:pt x="868" y="147"/>
                  </a:lnTo>
                  <a:lnTo>
                    <a:pt x="878" y="147"/>
                  </a:lnTo>
                  <a:lnTo>
                    <a:pt x="887" y="137"/>
                  </a:lnTo>
                  <a:lnTo>
                    <a:pt x="897" y="147"/>
                  </a:lnTo>
                  <a:lnTo>
                    <a:pt x="907" y="156"/>
                  </a:lnTo>
                  <a:lnTo>
                    <a:pt x="926" y="156"/>
                  </a:lnTo>
                  <a:lnTo>
                    <a:pt x="917" y="147"/>
                  </a:lnTo>
                  <a:lnTo>
                    <a:pt x="907" y="137"/>
                  </a:lnTo>
                  <a:lnTo>
                    <a:pt x="897" y="137"/>
                  </a:lnTo>
                  <a:lnTo>
                    <a:pt x="897" y="108"/>
                  </a:lnTo>
                  <a:lnTo>
                    <a:pt x="887" y="108"/>
                  </a:lnTo>
                  <a:lnTo>
                    <a:pt x="887" y="98"/>
                  </a:lnTo>
                  <a:lnTo>
                    <a:pt x="887" y="88"/>
                  </a:lnTo>
                  <a:lnTo>
                    <a:pt x="897" y="88"/>
                  </a:lnTo>
                  <a:lnTo>
                    <a:pt x="897" y="78"/>
                  </a:lnTo>
                  <a:lnTo>
                    <a:pt x="897" y="69"/>
                  </a:lnTo>
                  <a:lnTo>
                    <a:pt x="907" y="59"/>
                  </a:lnTo>
                  <a:lnTo>
                    <a:pt x="917" y="39"/>
                  </a:lnTo>
                  <a:lnTo>
                    <a:pt x="926" y="49"/>
                  </a:lnTo>
                  <a:lnTo>
                    <a:pt x="926" y="30"/>
                  </a:lnTo>
                  <a:lnTo>
                    <a:pt x="936" y="20"/>
                  </a:lnTo>
                  <a:lnTo>
                    <a:pt x="946" y="10"/>
                  </a:lnTo>
                  <a:lnTo>
                    <a:pt x="956" y="10"/>
                  </a:lnTo>
                  <a:lnTo>
                    <a:pt x="965" y="10"/>
                  </a:lnTo>
                  <a:lnTo>
                    <a:pt x="965" y="0"/>
                  </a:lnTo>
                  <a:lnTo>
                    <a:pt x="975" y="0"/>
                  </a:lnTo>
                  <a:lnTo>
                    <a:pt x="975" y="10"/>
                  </a:lnTo>
                  <a:lnTo>
                    <a:pt x="995" y="10"/>
                  </a:lnTo>
                  <a:lnTo>
                    <a:pt x="1004" y="20"/>
                  </a:lnTo>
                  <a:lnTo>
                    <a:pt x="1014" y="20"/>
                  </a:lnTo>
                  <a:lnTo>
                    <a:pt x="1024" y="10"/>
                  </a:lnTo>
                  <a:lnTo>
                    <a:pt x="1024" y="30"/>
                  </a:lnTo>
                  <a:lnTo>
                    <a:pt x="1034" y="39"/>
                  </a:lnTo>
                  <a:lnTo>
                    <a:pt x="1024" y="39"/>
                  </a:lnTo>
                  <a:lnTo>
                    <a:pt x="1014" y="49"/>
                  </a:lnTo>
                  <a:lnTo>
                    <a:pt x="1004" y="59"/>
                  </a:lnTo>
                  <a:lnTo>
                    <a:pt x="995" y="59"/>
                  </a:lnTo>
                  <a:lnTo>
                    <a:pt x="985" y="69"/>
                  </a:lnTo>
                  <a:lnTo>
                    <a:pt x="1014" y="69"/>
                  </a:lnTo>
                  <a:lnTo>
                    <a:pt x="1024" y="69"/>
                  </a:lnTo>
                  <a:lnTo>
                    <a:pt x="1014" y="78"/>
                  </a:lnTo>
                  <a:lnTo>
                    <a:pt x="1024" y="78"/>
                  </a:lnTo>
                  <a:lnTo>
                    <a:pt x="1043" y="69"/>
                  </a:lnTo>
                  <a:lnTo>
                    <a:pt x="1053" y="78"/>
                  </a:lnTo>
                  <a:lnTo>
                    <a:pt x="1073" y="78"/>
                  </a:lnTo>
                  <a:lnTo>
                    <a:pt x="1073" y="88"/>
                  </a:lnTo>
                  <a:lnTo>
                    <a:pt x="1063" y="98"/>
                  </a:lnTo>
                  <a:lnTo>
                    <a:pt x="1053" y="108"/>
                  </a:lnTo>
                  <a:lnTo>
                    <a:pt x="1053" y="127"/>
                  </a:lnTo>
                  <a:lnTo>
                    <a:pt x="1053" y="137"/>
                  </a:lnTo>
                  <a:lnTo>
                    <a:pt x="1063" y="127"/>
                  </a:lnTo>
                  <a:lnTo>
                    <a:pt x="1073" y="127"/>
                  </a:lnTo>
                  <a:lnTo>
                    <a:pt x="1092" y="127"/>
                  </a:lnTo>
                  <a:lnTo>
                    <a:pt x="1092" y="117"/>
                  </a:lnTo>
                  <a:lnTo>
                    <a:pt x="1092" y="108"/>
                  </a:lnTo>
                  <a:lnTo>
                    <a:pt x="1102" y="98"/>
                  </a:lnTo>
                  <a:lnTo>
                    <a:pt x="1112" y="98"/>
                  </a:lnTo>
                  <a:lnTo>
                    <a:pt x="1121" y="98"/>
                  </a:lnTo>
                  <a:lnTo>
                    <a:pt x="1131" y="98"/>
                  </a:lnTo>
                  <a:lnTo>
                    <a:pt x="1141" y="98"/>
                  </a:lnTo>
                  <a:lnTo>
                    <a:pt x="1151" y="98"/>
                  </a:lnTo>
                  <a:lnTo>
                    <a:pt x="1160" y="88"/>
                  </a:lnTo>
                  <a:lnTo>
                    <a:pt x="1170" y="88"/>
                  </a:lnTo>
                  <a:lnTo>
                    <a:pt x="1180" y="88"/>
                  </a:lnTo>
                  <a:lnTo>
                    <a:pt x="1190" y="98"/>
                  </a:lnTo>
                  <a:lnTo>
                    <a:pt x="1199" y="98"/>
                  </a:lnTo>
                  <a:lnTo>
                    <a:pt x="1199" y="108"/>
                  </a:lnTo>
                  <a:lnTo>
                    <a:pt x="1209" y="108"/>
                  </a:lnTo>
                  <a:lnTo>
                    <a:pt x="1219" y="117"/>
                  </a:lnTo>
                  <a:lnTo>
                    <a:pt x="1219" y="127"/>
                  </a:lnTo>
                  <a:lnTo>
                    <a:pt x="1238" y="127"/>
                  </a:lnTo>
                  <a:lnTo>
                    <a:pt x="1238" y="137"/>
                  </a:lnTo>
                  <a:lnTo>
                    <a:pt x="1238" y="147"/>
                  </a:lnTo>
                  <a:lnTo>
                    <a:pt x="1248" y="147"/>
                  </a:lnTo>
                  <a:lnTo>
                    <a:pt x="1248" y="156"/>
                  </a:lnTo>
                  <a:lnTo>
                    <a:pt x="1258" y="156"/>
                  </a:lnTo>
                  <a:lnTo>
                    <a:pt x="1258" y="147"/>
                  </a:lnTo>
                  <a:lnTo>
                    <a:pt x="1248" y="137"/>
                  </a:lnTo>
                  <a:lnTo>
                    <a:pt x="1258" y="127"/>
                  </a:lnTo>
                  <a:lnTo>
                    <a:pt x="1258" y="137"/>
                  </a:lnTo>
                  <a:lnTo>
                    <a:pt x="1268" y="147"/>
                  </a:lnTo>
                  <a:lnTo>
                    <a:pt x="1268" y="156"/>
                  </a:lnTo>
                  <a:lnTo>
                    <a:pt x="1278" y="176"/>
                  </a:lnTo>
                  <a:lnTo>
                    <a:pt x="1287" y="166"/>
                  </a:lnTo>
                  <a:lnTo>
                    <a:pt x="1287" y="186"/>
                  </a:lnTo>
                  <a:lnTo>
                    <a:pt x="1287" y="205"/>
                  </a:lnTo>
                  <a:lnTo>
                    <a:pt x="1278" y="205"/>
                  </a:lnTo>
                  <a:lnTo>
                    <a:pt x="1278" y="195"/>
                  </a:lnTo>
                  <a:lnTo>
                    <a:pt x="1258" y="195"/>
                  </a:lnTo>
                  <a:lnTo>
                    <a:pt x="1258" y="186"/>
                  </a:lnTo>
                  <a:lnTo>
                    <a:pt x="1248" y="186"/>
                  </a:lnTo>
                  <a:lnTo>
                    <a:pt x="1248" y="195"/>
                  </a:lnTo>
                  <a:lnTo>
                    <a:pt x="1258" y="205"/>
                  </a:lnTo>
                  <a:lnTo>
                    <a:pt x="1258" y="215"/>
                  </a:lnTo>
                  <a:lnTo>
                    <a:pt x="1268" y="205"/>
                  </a:lnTo>
                  <a:lnTo>
                    <a:pt x="1278" y="215"/>
                  </a:lnTo>
                  <a:lnTo>
                    <a:pt x="1287" y="215"/>
                  </a:lnTo>
                  <a:lnTo>
                    <a:pt x="1297" y="234"/>
                  </a:lnTo>
                  <a:lnTo>
                    <a:pt x="1297" y="244"/>
                  </a:lnTo>
                  <a:lnTo>
                    <a:pt x="1287" y="264"/>
                  </a:lnTo>
                  <a:lnTo>
                    <a:pt x="1287" y="273"/>
                  </a:lnTo>
                  <a:lnTo>
                    <a:pt x="1278" y="283"/>
                  </a:lnTo>
                  <a:lnTo>
                    <a:pt x="1258" y="293"/>
                  </a:lnTo>
                  <a:lnTo>
                    <a:pt x="1258" y="303"/>
                  </a:lnTo>
                  <a:lnTo>
                    <a:pt x="1258" y="322"/>
                  </a:lnTo>
                  <a:lnTo>
                    <a:pt x="1229" y="322"/>
                  </a:lnTo>
                  <a:lnTo>
                    <a:pt x="1229" y="332"/>
                  </a:lnTo>
                  <a:lnTo>
                    <a:pt x="1209" y="342"/>
                  </a:lnTo>
                  <a:lnTo>
                    <a:pt x="1209" y="351"/>
                  </a:lnTo>
                  <a:lnTo>
                    <a:pt x="1199" y="361"/>
                  </a:lnTo>
                  <a:lnTo>
                    <a:pt x="1190" y="361"/>
                  </a:lnTo>
                  <a:lnTo>
                    <a:pt x="1180" y="371"/>
                  </a:lnTo>
                  <a:lnTo>
                    <a:pt x="1199" y="371"/>
                  </a:lnTo>
                  <a:lnTo>
                    <a:pt x="1199" y="381"/>
                  </a:lnTo>
                  <a:lnTo>
                    <a:pt x="1190" y="391"/>
                  </a:lnTo>
                  <a:lnTo>
                    <a:pt x="1170" y="410"/>
                  </a:lnTo>
                  <a:lnTo>
                    <a:pt x="1160" y="420"/>
                  </a:lnTo>
                  <a:lnTo>
                    <a:pt x="1151" y="430"/>
                  </a:lnTo>
                  <a:lnTo>
                    <a:pt x="1151" y="449"/>
                  </a:lnTo>
                  <a:lnTo>
                    <a:pt x="1131" y="449"/>
                  </a:lnTo>
                  <a:lnTo>
                    <a:pt x="1121" y="449"/>
                  </a:lnTo>
                  <a:lnTo>
                    <a:pt x="1112" y="459"/>
                  </a:lnTo>
                  <a:lnTo>
                    <a:pt x="1112" y="469"/>
                  </a:lnTo>
                  <a:lnTo>
                    <a:pt x="1112" y="478"/>
                  </a:lnTo>
                  <a:lnTo>
                    <a:pt x="1102" y="488"/>
                  </a:lnTo>
                  <a:lnTo>
                    <a:pt x="1082" y="488"/>
                  </a:lnTo>
                  <a:lnTo>
                    <a:pt x="1073" y="498"/>
                  </a:lnTo>
                  <a:lnTo>
                    <a:pt x="1073" y="527"/>
                  </a:lnTo>
                  <a:lnTo>
                    <a:pt x="1063" y="537"/>
                  </a:lnTo>
                  <a:lnTo>
                    <a:pt x="1043" y="556"/>
                  </a:lnTo>
                  <a:lnTo>
                    <a:pt x="1063" y="556"/>
                  </a:lnTo>
                  <a:lnTo>
                    <a:pt x="1073" y="556"/>
                  </a:lnTo>
                  <a:lnTo>
                    <a:pt x="1073" y="547"/>
                  </a:lnTo>
                  <a:lnTo>
                    <a:pt x="1082" y="537"/>
                  </a:lnTo>
                  <a:lnTo>
                    <a:pt x="1082" y="517"/>
                  </a:lnTo>
                  <a:lnTo>
                    <a:pt x="1082" y="508"/>
                  </a:lnTo>
                  <a:lnTo>
                    <a:pt x="1121" y="508"/>
                  </a:lnTo>
                  <a:lnTo>
                    <a:pt x="1141" y="508"/>
                  </a:lnTo>
                  <a:lnTo>
                    <a:pt x="1141" y="498"/>
                  </a:lnTo>
                  <a:lnTo>
                    <a:pt x="1151" y="498"/>
                  </a:lnTo>
                  <a:lnTo>
                    <a:pt x="1160" y="488"/>
                  </a:lnTo>
                  <a:lnTo>
                    <a:pt x="1170" y="478"/>
                  </a:lnTo>
                  <a:lnTo>
                    <a:pt x="1180" y="478"/>
                  </a:lnTo>
                  <a:lnTo>
                    <a:pt x="1180" y="459"/>
                  </a:lnTo>
                  <a:lnTo>
                    <a:pt x="1199" y="469"/>
                  </a:lnTo>
                  <a:lnTo>
                    <a:pt x="1209" y="459"/>
                  </a:lnTo>
                  <a:lnTo>
                    <a:pt x="1219" y="449"/>
                  </a:lnTo>
                  <a:lnTo>
                    <a:pt x="1219" y="439"/>
                  </a:lnTo>
                  <a:lnTo>
                    <a:pt x="1229" y="439"/>
                  </a:lnTo>
                  <a:lnTo>
                    <a:pt x="1229" y="420"/>
                  </a:lnTo>
                  <a:lnTo>
                    <a:pt x="1219" y="430"/>
                  </a:lnTo>
                  <a:lnTo>
                    <a:pt x="1209" y="430"/>
                  </a:lnTo>
                  <a:lnTo>
                    <a:pt x="1199" y="439"/>
                  </a:lnTo>
                  <a:lnTo>
                    <a:pt x="1190" y="430"/>
                  </a:lnTo>
                  <a:lnTo>
                    <a:pt x="1190" y="420"/>
                  </a:lnTo>
                  <a:lnTo>
                    <a:pt x="1199" y="410"/>
                  </a:lnTo>
                  <a:lnTo>
                    <a:pt x="1199" y="400"/>
                  </a:lnTo>
                  <a:lnTo>
                    <a:pt x="1209" y="391"/>
                  </a:lnTo>
                  <a:lnTo>
                    <a:pt x="1219" y="400"/>
                  </a:lnTo>
                  <a:lnTo>
                    <a:pt x="1229" y="410"/>
                  </a:lnTo>
                  <a:lnTo>
                    <a:pt x="1238" y="410"/>
                  </a:lnTo>
                  <a:lnTo>
                    <a:pt x="1248" y="41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7" name="Freeform 256"/>
            <p:cNvSpPr>
              <a:spLocks/>
            </p:cNvSpPr>
            <p:nvPr/>
          </p:nvSpPr>
          <p:spPr bwMode="auto">
            <a:xfrm>
              <a:off x="4778" y="1952"/>
              <a:ext cx="1036" cy="1298"/>
            </a:xfrm>
            <a:custGeom>
              <a:avLst/>
              <a:gdLst>
                <a:gd name="T0" fmla="*/ 877 w 1034"/>
                <a:gd name="T1" fmla="*/ 166 h 1298"/>
                <a:gd name="T2" fmla="*/ 868 w 1034"/>
                <a:gd name="T3" fmla="*/ 303 h 1298"/>
                <a:gd name="T4" fmla="*/ 858 w 1034"/>
                <a:gd name="T5" fmla="*/ 342 h 1298"/>
                <a:gd name="T6" fmla="*/ 868 w 1034"/>
                <a:gd name="T7" fmla="*/ 391 h 1298"/>
                <a:gd name="T8" fmla="*/ 897 w 1034"/>
                <a:gd name="T9" fmla="*/ 469 h 1298"/>
                <a:gd name="T10" fmla="*/ 897 w 1034"/>
                <a:gd name="T11" fmla="*/ 527 h 1298"/>
                <a:gd name="T12" fmla="*/ 868 w 1034"/>
                <a:gd name="T13" fmla="*/ 615 h 1298"/>
                <a:gd name="T14" fmla="*/ 916 w 1034"/>
                <a:gd name="T15" fmla="*/ 615 h 1298"/>
                <a:gd name="T16" fmla="*/ 1004 w 1034"/>
                <a:gd name="T17" fmla="*/ 635 h 1298"/>
                <a:gd name="T18" fmla="*/ 1034 w 1034"/>
                <a:gd name="T19" fmla="*/ 664 h 1298"/>
                <a:gd name="T20" fmla="*/ 936 w 1034"/>
                <a:gd name="T21" fmla="*/ 674 h 1298"/>
                <a:gd name="T22" fmla="*/ 926 w 1034"/>
                <a:gd name="T23" fmla="*/ 683 h 1298"/>
                <a:gd name="T24" fmla="*/ 926 w 1034"/>
                <a:gd name="T25" fmla="*/ 732 h 1298"/>
                <a:gd name="T26" fmla="*/ 916 w 1034"/>
                <a:gd name="T27" fmla="*/ 791 h 1298"/>
                <a:gd name="T28" fmla="*/ 936 w 1034"/>
                <a:gd name="T29" fmla="*/ 888 h 1298"/>
                <a:gd name="T30" fmla="*/ 887 w 1034"/>
                <a:gd name="T31" fmla="*/ 966 h 1298"/>
                <a:gd name="T32" fmla="*/ 858 w 1034"/>
                <a:gd name="T33" fmla="*/ 1005 h 1298"/>
                <a:gd name="T34" fmla="*/ 848 w 1034"/>
                <a:gd name="T35" fmla="*/ 1044 h 1298"/>
                <a:gd name="T36" fmla="*/ 887 w 1034"/>
                <a:gd name="T37" fmla="*/ 1093 h 1298"/>
                <a:gd name="T38" fmla="*/ 887 w 1034"/>
                <a:gd name="T39" fmla="*/ 1152 h 1298"/>
                <a:gd name="T40" fmla="*/ 897 w 1034"/>
                <a:gd name="T41" fmla="*/ 1200 h 1298"/>
                <a:gd name="T42" fmla="*/ 877 w 1034"/>
                <a:gd name="T43" fmla="*/ 1259 h 1298"/>
                <a:gd name="T44" fmla="*/ 848 w 1034"/>
                <a:gd name="T45" fmla="*/ 1278 h 1298"/>
                <a:gd name="T46" fmla="*/ 770 w 1034"/>
                <a:gd name="T47" fmla="*/ 1239 h 1298"/>
                <a:gd name="T48" fmla="*/ 721 w 1034"/>
                <a:gd name="T49" fmla="*/ 1220 h 1298"/>
                <a:gd name="T50" fmla="*/ 702 w 1034"/>
                <a:gd name="T51" fmla="*/ 1181 h 1298"/>
                <a:gd name="T52" fmla="*/ 604 w 1034"/>
                <a:gd name="T53" fmla="*/ 1161 h 1298"/>
                <a:gd name="T54" fmla="*/ 526 w 1034"/>
                <a:gd name="T55" fmla="*/ 1161 h 1298"/>
                <a:gd name="T56" fmla="*/ 429 w 1034"/>
                <a:gd name="T57" fmla="*/ 1161 h 1298"/>
                <a:gd name="T58" fmla="*/ 351 w 1034"/>
                <a:gd name="T59" fmla="*/ 1171 h 1298"/>
                <a:gd name="T60" fmla="*/ 292 w 1034"/>
                <a:gd name="T61" fmla="*/ 1171 h 1298"/>
                <a:gd name="T62" fmla="*/ 312 w 1034"/>
                <a:gd name="T63" fmla="*/ 1064 h 1298"/>
                <a:gd name="T64" fmla="*/ 273 w 1034"/>
                <a:gd name="T65" fmla="*/ 1005 h 1298"/>
                <a:gd name="T66" fmla="*/ 195 w 1034"/>
                <a:gd name="T67" fmla="*/ 986 h 1298"/>
                <a:gd name="T68" fmla="*/ 175 w 1034"/>
                <a:gd name="T69" fmla="*/ 986 h 1298"/>
                <a:gd name="T70" fmla="*/ 146 w 1034"/>
                <a:gd name="T71" fmla="*/ 1015 h 1298"/>
                <a:gd name="T72" fmla="*/ 107 w 1034"/>
                <a:gd name="T73" fmla="*/ 1035 h 1298"/>
                <a:gd name="T74" fmla="*/ 58 w 1034"/>
                <a:gd name="T75" fmla="*/ 986 h 1298"/>
                <a:gd name="T76" fmla="*/ 19 w 1034"/>
                <a:gd name="T77" fmla="*/ 849 h 1298"/>
                <a:gd name="T78" fmla="*/ 136 w 1034"/>
                <a:gd name="T79" fmla="*/ 781 h 1298"/>
                <a:gd name="T80" fmla="*/ 136 w 1034"/>
                <a:gd name="T81" fmla="*/ 703 h 1298"/>
                <a:gd name="T82" fmla="*/ 156 w 1034"/>
                <a:gd name="T83" fmla="*/ 635 h 1298"/>
                <a:gd name="T84" fmla="*/ 107 w 1034"/>
                <a:gd name="T85" fmla="*/ 605 h 1298"/>
                <a:gd name="T86" fmla="*/ 78 w 1034"/>
                <a:gd name="T87" fmla="*/ 596 h 1298"/>
                <a:gd name="T88" fmla="*/ 39 w 1034"/>
                <a:gd name="T89" fmla="*/ 566 h 1298"/>
                <a:gd name="T90" fmla="*/ 19 w 1034"/>
                <a:gd name="T91" fmla="*/ 430 h 1298"/>
                <a:gd name="T92" fmla="*/ 97 w 1034"/>
                <a:gd name="T93" fmla="*/ 361 h 1298"/>
                <a:gd name="T94" fmla="*/ 156 w 1034"/>
                <a:gd name="T95" fmla="*/ 303 h 1298"/>
                <a:gd name="T96" fmla="*/ 214 w 1034"/>
                <a:gd name="T97" fmla="*/ 244 h 1298"/>
                <a:gd name="T98" fmla="*/ 253 w 1034"/>
                <a:gd name="T99" fmla="*/ 186 h 1298"/>
                <a:gd name="T100" fmla="*/ 312 w 1034"/>
                <a:gd name="T101" fmla="*/ 166 h 1298"/>
                <a:gd name="T102" fmla="*/ 360 w 1034"/>
                <a:gd name="T103" fmla="*/ 88 h 1298"/>
                <a:gd name="T104" fmla="*/ 439 w 1034"/>
                <a:gd name="T105" fmla="*/ 30 h 1298"/>
                <a:gd name="T106" fmla="*/ 497 w 1034"/>
                <a:gd name="T107" fmla="*/ 10 h 1298"/>
                <a:gd name="T108" fmla="*/ 595 w 1034"/>
                <a:gd name="T109" fmla="*/ 30 h 1298"/>
                <a:gd name="T110" fmla="*/ 643 w 1034"/>
                <a:gd name="T111" fmla="*/ 49 h 1298"/>
                <a:gd name="T112" fmla="*/ 692 w 1034"/>
                <a:gd name="T113" fmla="*/ 69 h 1298"/>
                <a:gd name="T114" fmla="*/ 760 w 1034"/>
                <a:gd name="T115" fmla="*/ 49 h 1298"/>
                <a:gd name="T116" fmla="*/ 829 w 1034"/>
                <a:gd name="T117" fmla="*/ 39 h 129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34"/>
                <a:gd name="T178" fmla="*/ 0 h 1298"/>
                <a:gd name="T179" fmla="*/ 1034 w 1034"/>
                <a:gd name="T180" fmla="*/ 1298 h 129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34" h="1298">
                  <a:moveTo>
                    <a:pt x="838" y="59"/>
                  </a:moveTo>
                  <a:lnTo>
                    <a:pt x="858" y="69"/>
                  </a:lnTo>
                  <a:lnTo>
                    <a:pt x="868" y="108"/>
                  </a:lnTo>
                  <a:lnTo>
                    <a:pt x="877" y="166"/>
                  </a:lnTo>
                  <a:lnTo>
                    <a:pt x="877" y="225"/>
                  </a:lnTo>
                  <a:lnTo>
                    <a:pt x="887" y="283"/>
                  </a:lnTo>
                  <a:lnTo>
                    <a:pt x="877" y="303"/>
                  </a:lnTo>
                  <a:lnTo>
                    <a:pt x="868" y="303"/>
                  </a:lnTo>
                  <a:lnTo>
                    <a:pt x="858" y="313"/>
                  </a:lnTo>
                  <a:lnTo>
                    <a:pt x="848" y="322"/>
                  </a:lnTo>
                  <a:lnTo>
                    <a:pt x="838" y="342"/>
                  </a:lnTo>
                  <a:lnTo>
                    <a:pt x="858" y="342"/>
                  </a:lnTo>
                  <a:lnTo>
                    <a:pt x="868" y="352"/>
                  </a:lnTo>
                  <a:lnTo>
                    <a:pt x="877" y="371"/>
                  </a:lnTo>
                  <a:lnTo>
                    <a:pt x="868" y="391"/>
                  </a:lnTo>
                  <a:lnTo>
                    <a:pt x="868" y="410"/>
                  </a:lnTo>
                  <a:lnTo>
                    <a:pt x="887" y="420"/>
                  </a:lnTo>
                  <a:lnTo>
                    <a:pt x="897" y="439"/>
                  </a:lnTo>
                  <a:lnTo>
                    <a:pt x="897" y="469"/>
                  </a:lnTo>
                  <a:lnTo>
                    <a:pt x="907" y="488"/>
                  </a:lnTo>
                  <a:lnTo>
                    <a:pt x="916" y="498"/>
                  </a:lnTo>
                  <a:lnTo>
                    <a:pt x="916" y="508"/>
                  </a:lnTo>
                  <a:lnTo>
                    <a:pt x="897" y="527"/>
                  </a:lnTo>
                  <a:lnTo>
                    <a:pt x="877" y="547"/>
                  </a:lnTo>
                  <a:lnTo>
                    <a:pt x="877" y="576"/>
                  </a:lnTo>
                  <a:lnTo>
                    <a:pt x="868" y="596"/>
                  </a:lnTo>
                  <a:lnTo>
                    <a:pt x="868" y="615"/>
                  </a:lnTo>
                  <a:lnTo>
                    <a:pt x="887" y="615"/>
                  </a:lnTo>
                  <a:lnTo>
                    <a:pt x="907" y="625"/>
                  </a:lnTo>
                  <a:lnTo>
                    <a:pt x="907" y="615"/>
                  </a:lnTo>
                  <a:lnTo>
                    <a:pt x="916" y="615"/>
                  </a:lnTo>
                  <a:lnTo>
                    <a:pt x="926" y="625"/>
                  </a:lnTo>
                  <a:lnTo>
                    <a:pt x="955" y="635"/>
                  </a:lnTo>
                  <a:lnTo>
                    <a:pt x="965" y="625"/>
                  </a:lnTo>
                  <a:lnTo>
                    <a:pt x="1004" y="635"/>
                  </a:lnTo>
                  <a:lnTo>
                    <a:pt x="1004" y="625"/>
                  </a:lnTo>
                  <a:lnTo>
                    <a:pt x="1014" y="625"/>
                  </a:lnTo>
                  <a:lnTo>
                    <a:pt x="1024" y="635"/>
                  </a:lnTo>
                  <a:lnTo>
                    <a:pt x="1034" y="664"/>
                  </a:lnTo>
                  <a:lnTo>
                    <a:pt x="985" y="654"/>
                  </a:lnTo>
                  <a:lnTo>
                    <a:pt x="965" y="674"/>
                  </a:lnTo>
                  <a:lnTo>
                    <a:pt x="955" y="674"/>
                  </a:lnTo>
                  <a:lnTo>
                    <a:pt x="936" y="674"/>
                  </a:lnTo>
                  <a:lnTo>
                    <a:pt x="926" y="664"/>
                  </a:lnTo>
                  <a:lnTo>
                    <a:pt x="916" y="664"/>
                  </a:lnTo>
                  <a:lnTo>
                    <a:pt x="916" y="674"/>
                  </a:lnTo>
                  <a:lnTo>
                    <a:pt x="926" y="683"/>
                  </a:lnTo>
                  <a:lnTo>
                    <a:pt x="926" y="713"/>
                  </a:lnTo>
                  <a:lnTo>
                    <a:pt x="946" y="732"/>
                  </a:lnTo>
                  <a:lnTo>
                    <a:pt x="936" y="742"/>
                  </a:lnTo>
                  <a:lnTo>
                    <a:pt x="926" y="732"/>
                  </a:lnTo>
                  <a:lnTo>
                    <a:pt x="926" y="752"/>
                  </a:lnTo>
                  <a:lnTo>
                    <a:pt x="926" y="771"/>
                  </a:lnTo>
                  <a:lnTo>
                    <a:pt x="916" y="781"/>
                  </a:lnTo>
                  <a:lnTo>
                    <a:pt x="916" y="791"/>
                  </a:lnTo>
                  <a:lnTo>
                    <a:pt x="936" y="800"/>
                  </a:lnTo>
                  <a:lnTo>
                    <a:pt x="946" y="830"/>
                  </a:lnTo>
                  <a:lnTo>
                    <a:pt x="936" y="849"/>
                  </a:lnTo>
                  <a:lnTo>
                    <a:pt x="936" y="888"/>
                  </a:lnTo>
                  <a:lnTo>
                    <a:pt x="907" y="908"/>
                  </a:lnTo>
                  <a:lnTo>
                    <a:pt x="907" y="917"/>
                  </a:lnTo>
                  <a:lnTo>
                    <a:pt x="916" y="947"/>
                  </a:lnTo>
                  <a:lnTo>
                    <a:pt x="887" y="966"/>
                  </a:lnTo>
                  <a:lnTo>
                    <a:pt x="868" y="976"/>
                  </a:lnTo>
                  <a:lnTo>
                    <a:pt x="858" y="976"/>
                  </a:lnTo>
                  <a:lnTo>
                    <a:pt x="848" y="986"/>
                  </a:lnTo>
                  <a:lnTo>
                    <a:pt x="858" y="1005"/>
                  </a:lnTo>
                  <a:lnTo>
                    <a:pt x="848" y="1015"/>
                  </a:lnTo>
                  <a:lnTo>
                    <a:pt x="848" y="1035"/>
                  </a:lnTo>
                  <a:lnTo>
                    <a:pt x="848" y="1044"/>
                  </a:lnTo>
                  <a:lnTo>
                    <a:pt x="848" y="1054"/>
                  </a:lnTo>
                  <a:lnTo>
                    <a:pt x="848" y="1074"/>
                  </a:lnTo>
                  <a:lnTo>
                    <a:pt x="868" y="1093"/>
                  </a:lnTo>
                  <a:lnTo>
                    <a:pt x="887" y="1093"/>
                  </a:lnTo>
                  <a:lnTo>
                    <a:pt x="897" y="1103"/>
                  </a:lnTo>
                  <a:lnTo>
                    <a:pt x="907" y="1122"/>
                  </a:lnTo>
                  <a:lnTo>
                    <a:pt x="907" y="1142"/>
                  </a:lnTo>
                  <a:lnTo>
                    <a:pt x="887" y="1152"/>
                  </a:lnTo>
                  <a:lnTo>
                    <a:pt x="868" y="1161"/>
                  </a:lnTo>
                  <a:lnTo>
                    <a:pt x="868" y="1181"/>
                  </a:lnTo>
                  <a:lnTo>
                    <a:pt x="877" y="1181"/>
                  </a:lnTo>
                  <a:lnTo>
                    <a:pt x="897" y="1200"/>
                  </a:lnTo>
                  <a:lnTo>
                    <a:pt x="897" y="1210"/>
                  </a:lnTo>
                  <a:lnTo>
                    <a:pt x="907" y="1220"/>
                  </a:lnTo>
                  <a:lnTo>
                    <a:pt x="907" y="1230"/>
                  </a:lnTo>
                  <a:lnTo>
                    <a:pt x="877" y="1259"/>
                  </a:lnTo>
                  <a:lnTo>
                    <a:pt x="868" y="1269"/>
                  </a:lnTo>
                  <a:lnTo>
                    <a:pt x="877" y="1288"/>
                  </a:lnTo>
                  <a:lnTo>
                    <a:pt x="868" y="1298"/>
                  </a:lnTo>
                  <a:lnTo>
                    <a:pt x="848" y="1278"/>
                  </a:lnTo>
                  <a:lnTo>
                    <a:pt x="819" y="1278"/>
                  </a:lnTo>
                  <a:lnTo>
                    <a:pt x="819" y="1259"/>
                  </a:lnTo>
                  <a:lnTo>
                    <a:pt x="790" y="1259"/>
                  </a:lnTo>
                  <a:lnTo>
                    <a:pt x="770" y="1239"/>
                  </a:lnTo>
                  <a:lnTo>
                    <a:pt x="760" y="1259"/>
                  </a:lnTo>
                  <a:lnTo>
                    <a:pt x="741" y="1269"/>
                  </a:lnTo>
                  <a:lnTo>
                    <a:pt x="721" y="1220"/>
                  </a:lnTo>
                  <a:lnTo>
                    <a:pt x="731" y="1200"/>
                  </a:lnTo>
                  <a:lnTo>
                    <a:pt x="731" y="1181"/>
                  </a:lnTo>
                  <a:lnTo>
                    <a:pt x="721" y="1171"/>
                  </a:lnTo>
                  <a:lnTo>
                    <a:pt x="702" y="1181"/>
                  </a:lnTo>
                  <a:lnTo>
                    <a:pt x="692" y="1171"/>
                  </a:lnTo>
                  <a:lnTo>
                    <a:pt x="663" y="1161"/>
                  </a:lnTo>
                  <a:lnTo>
                    <a:pt x="634" y="1161"/>
                  </a:lnTo>
                  <a:lnTo>
                    <a:pt x="604" y="1161"/>
                  </a:lnTo>
                  <a:lnTo>
                    <a:pt x="565" y="1132"/>
                  </a:lnTo>
                  <a:lnTo>
                    <a:pt x="556" y="1132"/>
                  </a:lnTo>
                  <a:lnTo>
                    <a:pt x="546" y="1152"/>
                  </a:lnTo>
                  <a:lnTo>
                    <a:pt x="526" y="1161"/>
                  </a:lnTo>
                  <a:lnTo>
                    <a:pt x="497" y="1161"/>
                  </a:lnTo>
                  <a:lnTo>
                    <a:pt x="468" y="1161"/>
                  </a:lnTo>
                  <a:lnTo>
                    <a:pt x="448" y="1161"/>
                  </a:lnTo>
                  <a:lnTo>
                    <a:pt x="429" y="1161"/>
                  </a:lnTo>
                  <a:lnTo>
                    <a:pt x="419" y="1171"/>
                  </a:lnTo>
                  <a:lnTo>
                    <a:pt x="400" y="1181"/>
                  </a:lnTo>
                  <a:lnTo>
                    <a:pt x="351" y="1181"/>
                  </a:lnTo>
                  <a:lnTo>
                    <a:pt x="351" y="1171"/>
                  </a:lnTo>
                  <a:lnTo>
                    <a:pt x="331" y="1171"/>
                  </a:lnTo>
                  <a:lnTo>
                    <a:pt x="321" y="1181"/>
                  </a:lnTo>
                  <a:lnTo>
                    <a:pt x="312" y="1161"/>
                  </a:lnTo>
                  <a:lnTo>
                    <a:pt x="292" y="1171"/>
                  </a:lnTo>
                  <a:lnTo>
                    <a:pt x="292" y="1161"/>
                  </a:lnTo>
                  <a:lnTo>
                    <a:pt x="292" y="1103"/>
                  </a:lnTo>
                  <a:lnTo>
                    <a:pt x="302" y="1093"/>
                  </a:lnTo>
                  <a:lnTo>
                    <a:pt x="312" y="1064"/>
                  </a:lnTo>
                  <a:lnTo>
                    <a:pt x="312" y="1044"/>
                  </a:lnTo>
                  <a:lnTo>
                    <a:pt x="302" y="1025"/>
                  </a:lnTo>
                  <a:lnTo>
                    <a:pt x="282" y="1015"/>
                  </a:lnTo>
                  <a:lnTo>
                    <a:pt x="273" y="1005"/>
                  </a:lnTo>
                  <a:lnTo>
                    <a:pt x="243" y="1005"/>
                  </a:lnTo>
                  <a:lnTo>
                    <a:pt x="214" y="996"/>
                  </a:lnTo>
                  <a:lnTo>
                    <a:pt x="195" y="996"/>
                  </a:lnTo>
                  <a:lnTo>
                    <a:pt x="195" y="986"/>
                  </a:lnTo>
                  <a:lnTo>
                    <a:pt x="204" y="966"/>
                  </a:lnTo>
                  <a:lnTo>
                    <a:pt x="185" y="966"/>
                  </a:lnTo>
                  <a:lnTo>
                    <a:pt x="175" y="976"/>
                  </a:lnTo>
                  <a:lnTo>
                    <a:pt x="175" y="986"/>
                  </a:lnTo>
                  <a:lnTo>
                    <a:pt x="165" y="996"/>
                  </a:lnTo>
                  <a:lnTo>
                    <a:pt x="156" y="996"/>
                  </a:lnTo>
                  <a:lnTo>
                    <a:pt x="156" y="1005"/>
                  </a:lnTo>
                  <a:lnTo>
                    <a:pt x="146" y="1015"/>
                  </a:lnTo>
                  <a:lnTo>
                    <a:pt x="146" y="1005"/>
                  </a:lnTo>
                  <a:lnTo>
                    <a:pt x="126" y="1015"/>
                  </a:lnTo>
                  <a:lnTo>
                    <a:pt x="117" y="1025"/>
                  </a:lnTo>
                  <a:lnTo>
                    <a:pt x="107" y="1035"/>
                  </a:lnTo>
                  <a:lnTo>
                    <a:pt x="87" y="1035"/>
                  </a:lnTo>
                  <a:lnTo>
                    <a:pt x="87" y="1025"/>
                  </a:lnTo>
                  <a:lnTo>
                    <a:pt x="78" y="1005"/>
                  </a:lnTo>
                  <a:lnTo>
                    <a:pt x="58" y="986"/>
                  </a:lnTo>
                  <a:lnTo>
                    <a:pt x="39" y="947"/>
                  </a:lnTo>
                  <a:lnTo>
                    <a:pt x="58" y="917"/>
                  </a:lnTo>
                  <a:lnTo>
                    <a:pt x="58" y="888"/>
                  </a:lnTo>
                  <a:lnTo>
                    <a:pt x="19" y="849"/>
                  </a:lnTo>
                  <a:lnTo>
                    <a:pt x="78" y="830"/>
                  </a:lnTo>
                  <a:lnTo>
                    <a:pt x="87" y="810"/>
                  </a:lnTo>
                  <a:lnTo>
                    <a:pt x="107" y="791"/>
                  </a:lnTo>
                  <a:lnTo>
                    <a:pt x="136" y="781"/>
                  </a:lnTo>
                  <a:lnTo>
                    <a:pt x="146" y="742"/>
                  </a:lnTo>
                  <a:lnTo>
                    <a:pt x="146" y="722"/>
                  </a:lnTo>
                  <a:lnTo>
                    <a:pt x="136" y="722"/>
                  </a:lnTo>
                  <a:lnTo>
                    <a:pt x="136" y="703"/>
                  </a:lnTo>
                  <a:lnTo>
                    <a:pt x="156" y="693"/>
                  </a:lnTo>
                  <a:lnTo>
                    <a:pt x="165" y="674"/>
                  </a:lnTo>
                  <a:lnTo>
                    <a:pt x="165" y="654"/>
                  </a:lnTo>
                  <a:lnTo>
                    <a:pt x="156" y="635"/>
                  </a:lnTo>
                  <a:lnTo>
                    <a:pt x="146" y="615"/>
                  </a:lnTo>
                  <a:lnTo>
                    <a:pt x="126" y="615"/>
                  </a:lnTo>
                  <a:lnTo>
                    <a:pt x="117" y="615"/>
                  </a:lnTo>
                  <a:lnTo>
                    <a:pt x="107" y="605"/>
                  </a:lnTo>
                  <a:lnTo>
                    <a:pt x="107" y="586"/>
                  </a:lnTo>
                  <a:lnTo>
                    <a:pt x="97" y="576"/>
                  </a:lnTo>
                  <a:lnTo>
                    <a:pt x="87" y="596"/>
                  </a:lnTo>
                  <a:lnTo>
                    <a:pt x="78" y="596"/>
                  </a:lnTo>
                  <a:lnTo>
                    <a:pt x="78" y="586"/>
                  </a:lnTo>
                  <a:lnTo>
                    <a:pt x="78" y="576"/>
                  </a:lnTo>
                  <a:lnTo>
                    <a:pt x="68" y="576"/>
                  </a:lnTo>
                  <a:lnTo>
                    <a:pt x="39" y="566"/>
                  </a:lnTo>
                  <a:lnTo>
                    <a:pt x="19" y="556"/>
                  </a:lnTo>
                  <a:lnTo>
                    <a:pt x="39" y="478"/>
                  </a:lnTo>
                  <a:lnTo>
                    <a:pt x="0" y="469"/>
                  </a:lnTo>
                  <a:lnTo>
                    <a:pt x="19" y="430"/>
                  </a:lnTo>
                  <a:lnTo>
                    <a:pt x="48" y="420"/>
                  </a:lnTo>
                  <a:lnTo>
                    <a:pt x="58" y="381"/>
                  </a:lnTo>
                  <a:lnTo>
                    <a:pt x="68" y="371"/>
                  </a:lnTo>
                  <a:lnTo>
                    <a:pt x="97" y="361"/>
                  </a:lnTo>
                  <a:lnTo>
                    <a:pt x="107" y="352"/>
                  </a:lnTo>
                  <a:lnTo>
                    <a:pt x="126" y="332"/>
                  </a:lnTo>
                  <a:lnTo>
                    <a:pt x="146" y="313"/>
                  </a:lnTo>
                  <a:lnTo>
                    <a:pt x="156" y="303"/>
                  </a:lnTo>
                  <a:lnTo>
                    <a:pt x="165" y="283"/>
                  </a:lnTo>
                  <a:lnTo>
                    <a:pt x="175" y="264"/>
                  </a:lnTo>
                  <a:lnTo>
                    <a:pt x="185" y="264"/>
                  </a:lnTo>
                  <a:lnTo>
                    <a:pt x="214" y="244"/>
                  </a:lnTo>
                  <a:lnTo>
                    <a:pt x="224" y="225"/>
                  </a:lnTo>
                  <a:lnTo>
                    <a:pt x="234" y="215"/>
                  </a:lnTo>
                  <a:lnTo>
                    <a:pt x="243" y="205"/>
                  </a:lnTo>
                  <a:lnTo>
                    <a:pt x="253" y="186"/>
                  </a:lnTo>
                  <a:lnTo>
                    <a:pt x="263" y="176"/>
                  </a:lnTo>
                  <a:lnTo>
                    <a:pt x="273" y="166"/>
                  </a:lnTo>
                  <a:lnTo>
                    <a:pt x="282" y="166"/>
                  </a:lnTo>
                  <a:lnTo>
                    <a:pt x="312" y="166"/>
                  </a:lnTo>
                  <a:lnTo>
                    <a:pt x="331" y="147"/>
                  </a:lnTo>
                  <a:lnTo>
                    <a:pt x="341" y="127"/>
                  </a:lnTo>
                  <a:lnTo>
                    <a:pt x="360" y="117"/>
                  </a:lnTo>
                  <a:lnTo>
                    <a:pt x="360" y="88"/>
                  </a:lnTo>
                  <a:lnTo>
                    <a:pt x="370" y="69"/>
                  </a:lnTo>
                  <a:lnTo>
                    <a:pt x="380" y="69"/>
                  </a:lnTo>
                  <a:lnTo>
                    <a:pt x="409" y="59"/>
                  </a:lnTo>
                  <a:lnTo>
                    <a:pt x="439" y="30"/>
                  </a:lnTo>
                  <a:lnTo>
                    <a:pt x="458" y="30"/>
                  </a:lnTo>
                  <a:lnTo>
                    <a:pt x="468" y="20"/>
                  </a:lnTo>
                  <a:lnTo>
                    <a:pt x="487" y="20"/>
                  </a:lnTo>
                  <a:lnTo>
                    <a:pt x="497" y="10"/>
                  </a:lnTo>
                  <a:lnTo>
                    <a:pt x="536" y="20"/>
                  </a:lnTo>
                  <a:lnTo>
                    <a:pt x="565" y="0"/>
                  </a:lnTo>
                  <a:lnTo>
                    <a:pt x="575" y="10"/>
                  </a:lnTo>
                  <a:lnTo>
                    <a:pt x="595" y="30"/>
                  </a:lnTo>
                  <a:lnTo>
                    <a:pt x="585" y="49"/>
                  </a:lnTo>
                  <a:lnTo>
                    <a:pt x="595" y="49"/>
                  </a:lnTo>
                  <a:lnTo>
                    <a:pt x="604" y="39"/>
                  </a:lnTo>
                  <a:lnTo>
                    <a:pt x="643" y="49"/>
                  </a:lnTo>
                  <a:lnTo>
                    <a:pt x="663" y="39"/>
                  </a:lnTo>
                  <a:lnTo>
                    <a:pt x="673" y="49"/>
                  </a:lnTo>
                  <a:lnTo>
                    <a:pt x="673" y="59"/>
                  </a:lnTo>
                  <a:lnTo>
                    <a:pt x="692" y="69"/>
                  </a:lnTo>
                  <a:lnTo>
                    <a:pt x="721" y="69"/>
                  </a:lnTo>
                  <a:lnTo>
                    <a:pt x="741" y="78"/>
                  </a:lnTo>
                  <a:lnTo>
                    <a:pt x="760" y="59"/>
                  </a:lnTo>
                  <a:lnTo>
                    <a:pt x="760" y="49"/>
                  </a:lnTo>
                  <a:lnTo>
                    <a:pt x="799" y="49"/>
                  </a:lnTo>
                  <a:lnTo>
                    <a:pt x="799" y="59"/>
                  </a:lnTo>
                  <a:lnTo>
                    <a:pt x="809" y="69"/>
                  </a:lnTo>
                  <a:lnTo>
                    <a:pt x="829" y="39"/>
                  </a:lnTo>
                  <a:lnTo>
                    <a:pt x="848" y="39"/>
                  </a:lnTo>
                  <a:lnTo>
                    <a:pt x="838" y="59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8" name="Freeform 255"/>
            <p:cNvSpPr>
              <a:spLocks/>
            </p:cNvSpPr>
            <p:nvPr/>
          </p:nvSpPr>
          <p:spPr bwMode="auto">
            <a:xfrm>
              <a:off x="7676" y="3717"/>
              <a:ext cx="321" cy="224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87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2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9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2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2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9 h 225"/>
                <a:gd name="T66" fmla="*/ 292 w 321"/>
                <a:gd name="T67" fmla="*/ 39 h 225"/>
                <a:gd name="T68" fmla="*/ 273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86 h 225"/>
                <a:gd name="T84" fmla="*/ 146 w 321"/>
                <a:gd name="T85" fmla="*/ 205 h 225"/>
                <a:gd name="T86" fmla="*/ 12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05 h 225"/>
                <a:gd name="T96" fmla="*/ 58 w 321"/>
                <a:gd name="T97" fmla="*/ 20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87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2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9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2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2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9"/>
                  </a:lnTo>
                  <a:lnTo>
                    <a:pt x="273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86"/>
                  </a:lnTo>
                  <a:lnTo>
                    <a:pt x="146" y="205"/>
                  </a:lnTo>
                  <a:lnTo>
                    <a:pt x="12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86" name="Group 252"/>
            <p:cNvGrpSpPr>
              <a:grpSpLocks/>
            </p:cNvGrpSpPr>
            <p:nvPr/>
          </p:nvGrpSpPr>
          <p:grpSpPr bwMode="auto">
            <a:xfrm>
              <a:off x="7676" y="3717"/>
              <a:ext cx="321" cy="225"/>
              <a:chOff x="7677" y="3717"/>
              <a:chExt cx="321" cy="225"/>
            </a:xfrm>
          </p:grpSpPr>
          <p:sp>
            <p:nvSpPr>
              <p:cNvPr id="359" name="Freeform 254"/>
              <p:cNvSpPr>
                <a:spLocks/>
              </p:cNvSpPr>
              <p:nvPr/>
            </p:nvSpPr>
            <p:spPr bwMode="auto">
              <a:xfrm>
                <a:off x="7677" y="3717"/>
                <a:ext cx="321" cy="224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0" name="Freeform 253"/>
              <p:cNvSpPr>
                <a:spLocks/>
              </p:cNvSpPr>
              <p:nvPr/>
            </p:nvSpPr>
            <p:spPr bwMode="auto">
              <a:xfrm>
                <a:off x="7677" y="3717"/>
                <a:ext cx="321" cy="224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30" name="Freeform 251"/>
            <p:cNvSpPr>
              <a:spLocks/>
            </p:cNvSpPr>
            <p:nvPr/>
          </p:nvSpPr>
          <p:spPr bwMode="auto">
            <a:xfrm>
              <a:off x="8084" y="889"/>
              <a:ext cx="703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56 h 1307"/>
                <a:gd name="T4" fmla="*/ 273 w 703"/>
                <a:gd name="T5" fmla="*/ 127 h 1307"/>
                <a:gd name="T6" fmla="*/ 342 w 703"/>
                <a:gd name="T7" fmla="*/ 224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24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2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15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7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24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5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24"/>
                  </a:lnTo>
                  <a:lnTo>
                    <a:pt x="342" y="224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2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3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1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22"/>
                  </a:lnTo>
                  <a:lnTo>
                    <a:pt x="654" y="322"/>
                  </a:lnTo>
                  <a:lnTo>
                    <a:pt x="644" y="322"/>
                  </a:lnTo>
                  <a:lnTo>
                    <a:pt x="625" y="322"/>
                  </a:lnTo>
                  <a:lnTo>
                    <a:pt x="615" y="332"/>
                  </a:lnTo>
                  <a:lnTo>
                    <a:pt x="605" y="32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66" y="45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1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66" y="751"/>
                  </a:lnTo>
                  <a:lnTo>
                    <a:pt x="56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15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093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0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71"/>
                  </a:lnTo>
                  <a:lnTo>
                    <a:pt x="46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093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49" y="1024"/>
                  </a:lnTo>
                  <a:lnTo>
                    <a:pt x="459" y="1015"/>
                  </a:lnTo>
                  <a:lnTo>
                    <a:pt x="449" y="995"/>
                  </a:lnTo>
                  <a:lnTo>
                    <a:pt x="449" y="985"/>
                  </a:lnTo>
                  <a:lnTo>
                    <a:pt x="449" y="946"/>
                  </a:lnTo>
                  <a:lnTo>
                    <a:pt x="459" y="937"/>
                  </a:lnTo>
                  <a:lnTo>
                    <a:pt x="449" y="927"/>
                  </a:lnTo>
                  <a:lnTo>
                    <a:pt x="44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20" y="810"/>
                  </a:lnTo>
                  <a:lnTo>
                    <a:pt x="42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73"/>
                  </a:lnTo>
                  <a:lnTo>
                    <a:pt x="371" y="654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5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5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36"/>
                  </a:lnTo>
                  <a:lnTo>
                    <a:pt x="254" y="53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5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  <a:lnTo>
                    <a:pt x="49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88" name="Group 248"/>
            <p:cNvGrpSpPr>
              <a:grpSpLocks/>
            </p:cNvGrpSpPr>
            <p:nvPr/>
          </p:nvGrpSpPr>
          <p:grpSpPr bwMode="auto">
            <a:xfrm>
              <a:off x="8085" y="888"/>
              <a:ext cx="703" cy="1307"/>
              <a:chOff x="8086" y="888"/>
              <a:chExt cx="703" cy="1307"/>
            </a:xfrm>
          </p:grpSpPr>
          <p:sp>
            <p:nvSpPr>
              <p:cNvPr id="357" name="Freeform 250"/>
              <p:cNvSpPr>
                <a:spLocks/>
              </p:cNvSpPr>
              <p:nvPr/>
            </p:nvSpPr>
            <p:spPr bwMode="auto">
              <a:xfrm>
                <a:off x="8085" y="889"/>
                <a:ext cx="703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  <a:lnTo>
                      <a:pt x="49" y="244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8" name="Freeform 249"/>
              <p:cNvSpPr>
                <a:spLocks/>
              </p:cNvSpPr>
              <p:nvPr/>
            </p:nvSpPr>
            <p:spPr bwMode="auto">
              <a:xfrm>
                <a:off x="8085" y="889"/>
                <a:ext cx="703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32" name="Freeform 247"/>
            <p:cNvSpPr>
              <a:spLocks/>
            </p:cNvSpPr>
            <p:nvPr/>
          </p:nvSpPr>
          <p:spPr bwMode="auto">
            <a:xfrm>
              <a:off x="7606" y="0"/>
              <a:ext cx="1151" cy="1298"/>
            </a:xfrm>
            <a:custGeom>
              <a:avLst/>
              <a:gdLst>
                <a:gd name="T0" fmla="*/ 59 w 1151"/>
                <a:gd name="T1" fmla="*/ 849 h 1298"/>
                <a:gd name="T2" fmla="*/ 117 w 1151"/>
                <a:gd name="T3" fmla="*/ 732 h 1298"/>
                <a:gd name="T4" fmla="*/ 215 w 1151"/>
                <a:gd name="T5" fmla="*/ 722 h 1298"/>
                <a:gd name="T6" fmla="*/ 264 w 1151"/>
                <a:gd name="T7" fmla="*/ 683 h 1298"/>
                <a:gd name="T8" fmla="*/ 195 w 1151"/>
                <a:gd name="T9" fmla="*/ 644 h 1298"/>
                <a:gd name="T10" fmla="*/ 137 w 1151"/>
                <a:gd name="T11" fmla="*/ 624 h 1298"/>
                <a:gd name="T12" fmla="*/ 186 w 1151"/>
                <a:gd name="T13" fmla="*/ 566 h 1298"/>
                <a:gd name="T14" fmla="*/ 234 w 1151"/>
                <a:gd name="T15" fmla="*/ 527 h 1298"/>
                <a:gd name="T16" fmla="*/ 273 w 1151"/>
                <a:gd name="T17" fmla="*/ 439 h 1298"/>
                <a:gd name="T18" fmla="*/ 351 w 1151"/>
                <a:gd name="T19" fmla="*/ 390 h 1298"/>
                <a:gd name="T20" fmla="*/ 400 w 1151"/>
                <a:gd name="T21" fmla="*/ 351 h 1298"/>
                <a:gd name="T22" fmla="*/ 508 w 1151"/>
                <a:gd name="T23" fmla="*/ 293 h 1298"/>
                <a:gd name="T24" fmla="*/ 576 w 1151"/>
                <a:gd name="T25" fmla="*/ 244 h 1298"/>
                <a:gd name="T26" fmla="*/ 644 w 1151"/>
                <a:gd name="T27" fmla="*/ 224 h 1298"/>
                <a:gd name="T28" fmla="*/ 683 w 1151"/>
                <a:gd name="T29" fmla="*/ 205 h 1298"/>
                <a:gd name="T30" fmla="*/ 761 w 1151"/>
                <a:gd name="T31" fmla="*/ 205 h 1298"/>
                <a:gd name="T32" fmla="*/ 810 w 1151"/>
                <a:gd name="T33" fmla="*/ 185 h 1298"/>
                <a:gd name="T34" fmla="*/ 751 w 1151"/>
                <a:gd name="T35" fmla="*/ 176 h 1298"/>
                <a:gd name="T36" fmla="*/ 761 w 1151"/>
                <a:gd name="T37" fmla="*/ 137 h 1298"/>
                <a:gd name="T38" fmla="*/ 771 w 1151"/>
                <a:gd name="T39" fmla="*/ 68 h 1298"/>
                <a:gd name="T40" fmla="*/ 868 w 1151"/>
                <a:gd name="T41" fmla="*/ 29 h 1298"/>
                <a:gd name="T42" fmla="*/ 917 w 1151"/>
                <a:gd name="T43" fmla="*/ 49 h 1298"/>
                <a:gd name="T44" fmla="*/ 927 w 1151"/>
                <a:gd name="T45" fmla="*/ 88 h 1298"/>
                <a:gd name="T46" fmla="*/ 917 w 1151"/>
                <a:gd name="T47" fmla="*/ 146 h 1298"/>
                <a:gd name="T48" fmla="*/ 966 w 1151"/>
                <a:gd name="T49" fmla="*/ 146 h 1298"/>
                <a:gd name="T50" fmla="*/ 1005 w 1151"/>
                <a:gd name="T51" fmla="*/ 185 h 1298"/>
                <a:gd name="T52" fmla="*/ 1064 w 1151"/>
                <a:gd name="T53" fmla="*/ 195 h 1298"/>
                <a:gd name="T54" fmla="*/ 1054 w 1151"/>
                <a:gd name="T55" fmla="*/ 244 h 1298"/>
                <a:gd name="T56" fmla="*/ 976 w 1151"/>
                <a:gd name="T57" fmla="*/ 293 h 1298"/>
                <a:gd name="T58" fmla="*/ 907 w 1151"/>
                <a:gd name="T59" fmla="*/ 312 h 1298"/>
                <a:gd name="T60" fmla="*/ 859 w 1151"/>
                <a:gd name="T61" fmla="*/ 381 h 1298"/>
                <a:gd name="T62" fmla="*/ 781 w 1151"/>
                <a:gd name="T63" fmla="*/ 400 h 1298"/>
                <a:gd name="T64" fmla="*/ 742 w 1151"/>
                <a:gd name="T65" fmla="*/ 420 h 1298"/>
                <a:gd name="T66" fmla="*/ 771 w 1151"/>
                <a:gd name="T67" fmla="*/ 449 h 1298"/>
                <a:gd name="T68" fmla="*/ 820 w 1151"/>
                <a:gd name="T69" fmla="*/ 488 h 1298"/>
                <a:gd name="T70" fmla="*/ 868 w 1151"/>
                <a:gd name="T71" fmla="*/ 517 h 1298"/>
                <a:gd name="T72" fmla="*/ 859 w 1151"/>
                <a:gd name="T73" fmla="*/ 615 h 1298"/>
                <a:gd name="T74" fmla="*/ 800 w 1151"/>
                <a:gd name="T75" fmla="*/ 654 h 1298"/>
                <a:gd name="T76" fmla="*/ 829 w 1151"/>
                <a:gd name="T77" fmla="*/ 644 h 1298"/>
                <a:gd name="T78" fmla="*/ 820 w 1151"/>
                <a:gd name="T79" fmla="*/ 673 h 1298"/>
                <a:gd name="T80" fmla="*/ 849 w 1151"/>
                <a:gd name="T81" fmla="*/ 644 h 1298"/>
                <a:gd name="T82" fmla="*/ 917 w 1151"/>
                <a:gd name="T83" fmla="*/ 605 h 1298"/>
                <a:gd name="T84" fmla="*/ 995 w 1151"/>
                <a:gd name="T85" fmla="*/ 644 h 1298"/>
                <a:gd name="T86" fmla="*/ 1044 w 1151"/>
                <a:gd name="T87" fmla="*/ 615 h 1298"/>
                <a:gd name="T88" fmla="*/ 1112 w 1151"/>
                <a:gd name="T89" fmla="*/ 624 h 1298"/>
                <a:gd name="T90" fmla="*/ 1151 w 1151"/>
                <a:gd name="T91" fmla="*/ 654 h 1298"/>
                <a:gd name="T92" fmla="*/ 1083 w 1151"/>
                <a:gd name="T93" fmla="*/ 722 h 1298"/>
                <a:gd name="T94" fmla="*/ 1064 w 1151"/>
                <a:gd name="T95" fmla="*/ 732 h 1298"/>
                <a:gd name="T96" fmla="*/ 1083 w 1151"/>
                <a:gd name="T97" fmla="*/ 771 h 1298"/>
                <a:gd name="T98" fmla="*/ 1093 w 1151"/>
                <a:gd name="T99" fmla="*/ 868 h 1298"/>
                <a:gd name="T100" fmla="*/ 1025 w 1151"/>
                <a:gd name="T101" fmla="*/ 907 h 1298"/>
                <a:gd name="T102" fmla="*/ 966 w 1151"/>
                <a:gd name="T103" fmla="*/ 976 h 1298"/>
                <a:gd name="T104" fmla="*/ 898 w 1151"/>
                <a:gd name="T105" fmla="*/ 1054 h 1298"/>
                <a:gd name="T106" fmla="*/ 790 w 1151"/>
                <a:gd name="T107" fmla="*/ 1024 h 1298"/>
                <a:gd name="T108" fmla="*/ 654 w 1151"/>
                <a:gd name="T109" fmla="*/ 1044 h 1298"/>
                <a:gd name="T110" fmla="*/ 556 w 1151"/>
                <a:gd name="T111" fmla="*/ 1112 h 1298"/>
                <a:gd name="T112" fmla="*/ 478 w 1151"/>
                <a:gd name="T113" fmla="*/ 1200 h 1298"/>
                <a:gd name="T114" fmla="*/ 381 w 1151"/>
                <a:gd name="T115" fmla="*/ 1268 h 1298"/>
                <a:gd name="T116" fmla="*/ 264 w 1151"/>
                <a:gd name="T117" fmla="*/ 1298 h 1298"/>
                <a:gd name="T118" fmla="*/ 127 w 1151"/>
                <a:gd name="T119" fmla="*/ 1220 h 1298"/>
                <a:gd name="T120" fmla="*/ 49 w 1151"/>
                <a:gd name="T121" fmla="*/ 1112 h 1298"/>
                <a:gd name="T122" fmla="*/ 108 w 1151"/>
                <a:gd name="T123" fmla="*/ 976 h 12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1"/>
                <a:gd name="T187" fmla="*/ 0 h 1298"/>
                <a:gd name="T188" fmla="*/ 1151 w 1151"/>
                <a:gd name="T189" fmla="*/ 1298 h 12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1" h="1298">
                  <a:moveTo>
                    <a:pt x="10" y="937"/>
                  </a:moveTo>
                  <a:lnTo>
                    <a:pt x="10" y="917"/>
                  </a:lnTo>
                  <a:lnTo>
                    <a:pt x="0" y="907"/>
                  </a:lnTo>
                  <a:lnTo>
                    <a:pt x="20" y="878"/>
                  </a:lnTo>
                  <a:lnTo>
                    <a:pt x="30" y="868"/>
                  </a:lnTo>
                  <a:lnTo>
                    <a:pt x="30" y="849"/>
                  </a:lnTo>
                  <a:lnTo>
                    <a:pt x="39" y="849"/>
                  </a:lnTo>
                  <a:lnTo>
                    <a:pt x="59" y="849"/>
                  </a:lnTo>
                  <a:lnTo>
                    <a:pt x="69" y="839"/>
                  </a:lnTo>
                  <a:lnTo>
                    <a:pt x="78" y="820"/>
                  </a:lnTo>
                  <a:lnTo>
                    <a:pt x="88" y="810"/>
                  </a:lnTo>
                  <a:lnTo>
                    <a:pt x="108" y="800"/>
                  </a:lnTo>
                  <a:lnTo>
                    <a:pt x="108" y="790"/>
                  </a:lnTo>
                  <a:lnTo>
                    <a:pt x="117" y="781"/>
                  </a:lnTo>
                  <a:lnTo>
                    <a:pt x="117" y="761"/>
                  </a:lnTo>
                  <a:lnTo>
                    <a:pt x="117" y="732"/>
                  </a:lnTo>
                  <a:lnTo>
                    <a:pt x="117" y="722"/>
                  </a:lnTo>
                  <a:lnTo>
                    <a:pt x="127" y="732"/>
                  </a:lnTo>
                  <a:lnTo>
                    <a:pt x="156" y="732"/>
                  </a:lnTo>
                  <a:lnTo>
                    <a:pt x="166" y="742"/>
                  </a:lnTo>
                  <a:lnTo>
                    <a:pt x="186" y="742"/>
                  </a:lnTo>
                  <a:lnTo>
                    <a:pt x="186" y="732"/>
                  </a:lnTo>
                  <a:lnTo>
                    <a:pt x="195" y="722"/>
                  </a:lnTo>
                  <a:lnTo>
                    <a:pt x="215" y="722"/>
                  </a:lnTo>
                  <a:lnTo>
                    <a:pt x="234" y="722"/>
                  </a:lnTo>
                  <a:lnTo>
                    <a:pt x="244" y="732"/>
                  </a:lnTo>
                  <a:lnTo>
                    <a:pt x="254" y="722"/>
                  </a:lnTo>
                  <a:lnTo>
                    <a:pt x="264" y="722"/>
                  </a:lnTo>
                  <a:lnTo>
                    <a:pt x="264" y="702"/>
                  </a:lnTo>
                  <a:lnTo>
                    <a:pt x="273" y="693"/>
                  </a:lnTo>
                  <a:lnTo>
                    <a:pt x="264" y="683"/>
                  </a:lnTo>
                  <a:lnTo>
                    <a:pt x="254" y="673"/>
                  </a:lnTo>
                  <a:lnTo>
                    <a:pt x="254" y="663"/>
                  </a:lnTo>
                  <a:lnTo>
                    <a:pt x="244" y="663"/>
                  </a:lnTo>
                  <a:lnTo>
                    <a:pt x="244" y="654"/>
                  </a:lnTo>
                  <a:lnTo>
                    <a:pt x="225" y="65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95" y="654"/>
                  </a:lnTo>
                  <a:lnTo>
                    <a:pt x="176" y="654"/>
                  </a:lnTo>
                  <a:lnTo>
                    <a:pt x="176" y="644"/>
                  </a:lnTo>
                  <a:lnTo>
                    <a:pt x="176" y="634"/>
                  </a:lnTo>
                  <a:lnTo>
                    <a:pt x="156" y="624"/>
                  </a:lnTo>
                  <a:lnTo>
                    <a:pt x="137" y="624"/>
                  </a:lnTo>
                  <a:lnTo>
                    <a:pt x="137" y="615"/>
                  </a:lnTo>
                  <a:lnTo>
                    <a:pt x="147" y="605"/>
                  </a:lnTo>
                  <a:lnTo>
                    <a:pt x="156" y="595"/>
                  </a:lnTo>
                  <a:lnTo>
                    <a:pt x="166" y="585"/>
                  </a:lnTo>
                  <a:lnTo>
                    <a:pt x="176" y="585"/>
                  </a:lnTo>
                  <a:lnTo>
                    <a:pt x="176" y="576"/>
                  </a:lnTo>
                  <a:lnTo>
                    <a:pt x="186" y="566"/>
                  </a:lnTo>
                  <a:lnTo>
                    <a:pt x="195" y="546"/>
                  </a:lnTo>
                  <a:lnTo>
                    <a:pt x="205" y="546"/>
                  </a:lnTo>
                  <a:lnTo>
                    <a:pt x="215" y="546"/>
                  </a:lnTo>
                  <a:lnTo>
                    <a:pt x="234" y="546"/>
                  </a:lnTo>
                  <a:lnTo>
                    <a:pt x="234" y="527"/>
                  </a:lnTo>
                  <a:lnTo>
                    <a:pt x="215" y="527"/>
                  </a:lnTo>
                  <a:lnTo>
                    <a:pt x="234" y="527"/>
                  </a:lnTo>
                  <a:lnTo>
                    <a:pt x="234" y="507"/>
                  </a:lnTo>
                  <a:lnTo>
                    <a:pt x="234" y="498"/>
                  </a:lnTo>
                  <a:lnTo>
                    <a:pt x="244" y="478"/>
                  </a:lnTo>
                  <a:lnTo>
                    <a:pt x="254" y="468"/>
                  </a:lnTo>
                  <a:lnTo>
                    <a:pt x="264" y="459"/>
                  </a:lnTo>
                  <a:lnTo>
                    <a:pt x="273" y="449"/>
                  </a:lnTo>
                  <a:lnTo>
                    <a:pt x="273" y="439"/>
                  </a:lnTo>
                  <a:lnTo>
                    <a:pt x="254" y="449"/>
                  </a:lnTo>
                  <a:lnTo>
                    <a:pt x="254" y="439"/>
                  </a:lnTo>
                  <a:lnTo>
                    <a:pt x="264" y="439"/>
                  </a:lnTo>
                  <a:lnTo>
                    <a:pt x="283" y="429"/>
                  </a:lnTo>
                  <a:lnTo>
                    <a:pt x="303" y="420"/>
                  </a:lnTo>
                  <a:lnTo>
                    <a:pt x="312" y="410"/>
                  </a:lnTo>
                  <a:lnTo>
                    <a:pt x="332" y="390"/>
                  </a:lnTo>
                  <a:lnTo>
                    <a:pt x="351" y="390"/>
                  </a:lnTo>
                  <a:lnTo>
                    <a:pt x="351" y="371"/>
                  </a:lnTo>
                  <a:lnTo>
                    <a:pt x="351" y="361"/>
                  </a:lnTo>
                  <a:lnTo>
                    <a:pt x="361" y="361"/>
                  </a:lnTo>
                  <a:lnTo>
                    <a:pt x="381" y="351"/>
                  </a:lnTo>
                  <a:lnTo>
                    <a:pt x="371" y="361"/>
                  </a:lnTo>
                  <a:lnTo>
                    <a:pt x="371" y="371"/>
                  </a:lnTo>
                  <a:lnTo>
                    <a:pt x="381" y="371"/>
                  </a:lnTo>
                  <a:lnTo>
                    <a:pt x="400" y="351"/>
                  </a:lnTo>
                  <a:lnTo>
                    <a:pt x="410" y="341"/>
                  </a:lnTo>
                  <a:lnTo>
                    <a:pt x="430" y="341"/>
                  </a:lnTo>
                  <a:lnTo>
                    <a:pt x="449" y="322"/>
                  </a:lnTo>
                  <a:lnTo>
                    <a:pt x="459" y="312"/>
                  </a:lnTo>
                  <a:lnTo>
                    <a:pt x="469" y="312"/>
                  </a:lnTo>
                  <a:lnTo>
                    <a:pt x="478" y="302"/>
                  </a:lnTo>
                  <a:lnTo>
                    <a:pt x="498" y="302"/>
                  </a:lnTo>
                  <a:lnTo>
                    <a:pt x="508" y="293"/>
                  </a:lnTo>
                  <a:lnTo>
                    <a:pt x="517" y="293"/>
                  </a:lnTo>
                  <a:lnTo>
                    <a:pt x="527" y="283"/>
                  </a:lnTo>
                  <a:lnTo>
                    <a:pt x="537" y="283"/>
                  </a:lnTo>
                  <a:lnTo>
                    <a:pt x="547" y="273"/>
                  </a:lnTo>
                  <a:lnTo>
                    <a:pt x="556" y="273"/>
                  </a:lnTo>
                  <a:lnTo>
                    <a:pt x="556" y="254"/>
                  </a:lnTo>
                  <a:lnTo>
                    <a:pt x="566" y="254"/>
                  </a:lnTo>
                  <a:lnTo>
                    <a:pt x="576" y="244"/>
                  </a:lnTo>
                  <a:lnTo>
                    <a:pt x="586" y="244"/>
                  </a:lnTo>
                  <a:lnTo>
                    <a:pt x="595" y="254"/>
                  </a:lnTo>
                  <a:lnTo>
                    <a:pt x="605" y="244"/>
                  </a:lnTo>
                  <a:lnTo>
                    <a:pt x="615" y="234"/>
                  </a:lnTo>
                  <a:lnTo>
                    <a:pt x="615" y="224"/>
                  </a:lnTo>
                  <a:lnTo>
                    <a:pt x="625" y="224"/>
                  </a:lnTo>
                  <a:lnTo>
                    <a:pt x="634" y="234"/>
                  </a:lnTo>
                  <a:lnTo>
                    <a:pt x="644" y="224"/>
                  </a:lnTo>
                  <a:lnTo>
                    <a:pt x="654" y="224"/>
                  </a:lnTo>
                  <a:lnTo>
                    <a:pt x="644" y="224"/>
                  </a:lnTo>
                  <a:lnTo>
                    <a:pt x="634" y="224"/>
                  </a:lnTo>
                  <a:lnTo>
                    <a:pt x="625" y="215"/>
                  </a:lnTo>
                  <a:lnTo>
                    <a:pt x="634" y="215"/>
                  </a:lnTo>
                  <a:lnTo>
                    <a:pt x="644" y="195"/>
                  </a:lnTo>
                  <a:lnTo>
                    <a:pt x="664" y="195"/>
                  </a:lnTo>
                  <a:lnTo>
                    <a:pt x="683" y="205"/>
                  </a:lnTo>
                  <a:lnTo>
                    <a:pt x="673" y="195"/>
                  </a:lnTo>
                  <a:lnTo>
                    <a:pt x="683" y="185"/>
                  </a:lnTo>
                  <a:lnTo>
                    <a:pt x="703" y="185"/>
                  </a:lnTo>
                  <a:lnTo>
                    <a:pt x="703" y="195"/>
                  </a:lnTo>
                  <a:lnTo>
                    <a:pt x="712" y="205"/>
                  </a:lnTo>
                  <a:lnTo>
                    <a:pt x="732" y="205"/>
                  </a:lnTo>
                  <a:lnTo>
                    <a:pt x="751" y="195"/>
                  </a:lnTo>
                  <a:lnTo>
                    <a:pt x="761" y="205"/>
                  </a:lnTo>
                  <a:lnTo>
                    <a:pt x="761" y="215"/>
                  </a:lnTo>
                  <a:lnTo>
                    <a:pt x="781" y="215"/>
                  </a:lnTo>
                  <a:lnTo>
                    <a:pt x="781" y="205"/>
                  </a:lnTo>
                  <a:lnTo>
                    <a:pt x="800" y="205"/>
                  </a:lnTo>
                  <a:lnTo>
                    <a:pt x="810" y="205"/>
                  </a:lnTo>
                  <a:lnTo>
                    <a:pt x="800" y="205"/>
                  </a:lnTo>
                  <a:lnTo>
                    <a:pt x="800" y="195"/>
                  </a:lnTo>
                  <a:lnTo>
                    <a:pt x="810" y="185"/>
                  </a:lnTo>
                  <a:lnTo>
                    <a:pt x="820" y="195"/>
                  </a:lnTo>
                  <a:lnTo>
                    <a:pt x="820" y="176"/>
                  </a:lnTo>
                  <a:lnTo>
                    <a:pt x="810" y="176"/>
                  </a:lnTo>
                  <a:lnTo>
                    <a:pt x="800" y="185"/>
                  </a:lnTo>
                  <a:lnTo>
                    <a:pt x="790" y="185"/>
                  </a:lnTo>
                  <a:lnTo>
                    <a:pt x="781" y="176"/>
                  </a:lnTo>
                  <a:lnTo>
                    <a:pt x="761" y="176"/>
                  </a:lnTo>
                  <a:lnTo>
                    <a:pt x="751" y="176"/>
                  </a:lnTo>
                  <a:lnTo>
                    <a:pt x="742" y="176"/>
                  </a:lnTo>
                  <a:lnTo>
                    <a:pt x="722" y="185"/>
                  </a:lnTo>
                  <a:lnTo>
                    <a:pt x="722" y="176"/>
                  </a:lnTo>
                  <a:lnTo>
                    <a:pt x="732" y="156"/>
                  </a:lnTo>
                  <a:lnTo>
                    <a:pt x="732" y="146"/>
                  </a:lnTo>
                  <a:lnTo>
                    <a:pt x="742" y="137"/>
                  </a:lnTo>
                  <a:lnTo>
                    <a:pt x="751" y="137"/>
                  </a:lnTo>
                  <a:lnTo>
                    <a:pt x="761" y="137"/>
                  </a:lnTo>
                  <a:lnTo>
                    <a:pt x="761" y="127"/>
                  </a:lnTo>
                  <a:lnTo>
                    <a:pt x="771" y="117"/>
                  </a:lnTo>
                  <a:lnTo>
                    <a:pt x="771" y="107"/>
                  </a:lnTo>
                  <a:lnTo>
                    <a:pt x="761" y="117"/>
                  </a:lnTo>
                  <a:lnTo>
                    <a:pt x="751" y="117"/>
                  </a:lnTo>
                  <a:lnTo>
                    <a:pt x="761" y="98"/>
                  </a:lnTo>
                  <a:lnTo>
                    <a:pt x="771" y="68"/>
                  </a:lnTo>
                  <a:lnTo>
                    <a:pt x="781" y="68"/>
                  </a:lnTo>
                  <a:lnTo>
                    <a:pt x="800" y="68"/>
                  </a:lnTo>
                  <a:lnTo>
                    <a:pt x="810" y="59"/>
                  </a:lnTo>
                  <a:lnTo>
                    <a:pt x="829" y="59"/>
                  </a:lnTo>
                  <a:lnTo>
                    <a:pt x="849" y="49"/>
                  </a:lnTo>
                  <a:lnTo>
                    <a:pt x="859" y="39"/>
                  </a:lnTo>
                  <a:lnTo>
                    <a:pt x="868" y="39"/>
                  </a:lnTo>
                  <a:lnTo>
                    <a:pt x="868" y="29"/>
                  </a:lnTo>
                  <a:lnTo>
                    <a:pt x="878" y="29"/>
                  </a:lnTo>
                  <a:lnTo>
                    <a:pt x="888" y="29"/>
                  </a:lnTo>
                  <a:lnTo>
                    <a:pt x="888" y="20"/>
                  </a:lnTo>
                  <a:lnTo>
                    <a:pt x="888" y="0"/>
                  </a:lnTo>
                  <a:lnTo>
                    <a:pt x="907" y="10"/>
                  </a:lnTo>
                  <a:lnTo>
                    <a:pt x="907" y="29"/>
                  </a:lnTo>
                  <a:lnTo>
                    <a:pt x="907" y="39"/>
                  </a:lnTo>
                  <a:lnTo>
                    <a:pt x="917" y="49"/>
                  </a:lnTo>
                  <a:lnTo>
                    <a:pt x="937" y="59"/>
                  </a:lnTo>
                  <a:lnTo>
                    <a:pt x="946" y="59"/>
                  </a:lnTo>
                  <a:lnTo>
                    <a:pt x="937" y="78"/>
                  </a:lnTo>
                  <a:lnTo>
                    <a:pt x="917" y="88"/>
                  </a:lnTo>
                  <a:lnTo>
                    <a:pt x="927" y="88"/>
                  </a:lnTo>
                  <a:lnTo>
                    <a:pt x="946" y="78"/>
                  </a:lnTo>
                  <a:lnTo>
                    <a:pt x="956" y="88"/>
                  </a:lnTo>
                  <a:lnTo>
                    <a:pt x="946" y="88"/>
                  </a:lnTo>
                  <a:lnTo>
                    <a:pt x="946" y="117"/>
                  </a:lnTo>
                  <a:lnTo>
                    <a:pt x="937" y="127"/>
                  </a:lnTo>
                  <a:lnTo>
                    <a:pt x="927" y="137"/>
                  </a:lnTo>
                  <a:lnTo>
                    <a:pt x="917" y="137"/>
                  </a:lnTo>
                  <a:lnTo>
                    <a:pt x="917" y="146"/>
                  </a:lnTo>
                  <a:lnTo>
                    <a:pt x="917" y="137"/>
                  </a:lnTo>
                  <a:lnTo>
                    <a:pt x="937" y="137"/>
                  </a:lnTo>
                  <a:lnTo>
                    <a:pt x="946" y="146"/>
                  </a:lnTo>
                  <a:lnTo>
                    <a:pt x="946" y="137"/>
                  </a:lnTo>
                  <a:lnTo>
                    <a:pt x="956" y="137"/>
                  </a:lnTo>
                  <a:lnTo>
                    <a:pt x="956" y="156"/>
                  </a:lnTo>
                  <a:lnTo>
                    <a:pt x="966" y="156"/>
                  </a:lnTo>
                  <a:lnTo>
                    <a:pt x="966" y="146"/>
                  </a:lnTo>
                  <a:lnTo>
                    <a:pt x="986" y="146"/>
                  </a:lnTo>
                  <a:lnTo>
                    <a:pt x="1005" y="156"/>
                  </a:lnTo>
                  <a:lnTo>
                    <a:pt x="1005" y="176"/>
                  </a:lnTo>
                  <a:lnTo>
                    <a:pt x="1005" y="185"/>
                  </a:lnTo>
                  <a:lnTo>
                    <a:pt x="995" y="195"/>
                  </a:lnTo>
                  <a:lnTo>
                    <a:pt x="1005" y="205"/>
                  </a:lnTo>
                  <a:lnTo>
                    <a:pt x="1005" y="195"/>
                  </a:lnTo>
                  <a:lnTo>
                    <a:pt x="1005" y="185"/>
                  </a:lnTo>
                  <a:lnTo>
                    <a:pt x="1025" y="195"/>
                  </a:lnTo>
                  <a:lnTo>
                    <a:pt x="1044" y="185"/>
                  </a:lnTo>
                  <a:lnTo>
                    <a:pt x="1044" y="176"/>
                  </a:lnTo>
                  <a:lnTo>
                    <a:pt x="1064" y="176"/>
                  </a:lnTo>
                  <a:lnTo>
                    <a:pt x="1064" y="185"/>
                  </a:lnTo>
                  <a:lnTo>
                    <a:pt x="1044" y="195"/>
                  </a:lnTo>
                  <a:lnTo>
                    <a:pt x="1044" y="205"/>
                  </a:lnTo>
                  <a:lnTo>
                    <a:pt x="1064" y="195"/>
                  </a:lnTo>
                  <a:lnTo>
                    <a:pt x="1064" y="215"/>
                  </a:lnTo>
                  <a:lnTo>
                    <a:pt x="1064" y="224"/>
                  </a:lnTo>
                  <a:lnTo>
                    <a:pt x="1054" y="224"/>
                  </a:lnTo>
                  <a:lnTo>
                    <a:pt x="1044" y="215"/>
                  </a:lnTo>
                  <a:lnTo>
                    <a:pt x="1025" y="224"/>
                  </a:lnTo>
                  <a:lnTo>
                    <a:pt x="1034" y="224"/>
                  </a:lnTo>
                  <a:lnTo>
                    <a:pt x="1044" y="234"/>
                  </a:lnTo>
                  <a:lnTo>
                    <a:pt x="1054" y="244"/>
                  </a:lnTo>
                  <a:lnTo>
                    <a:pt x="1044" y="244"/>
                  </a:lnTo>
                  <a:lnTo>
                    <a:pt x="1034" y="254"/>
                  </a:lnTo>
                  <a:lnTo>
                    <a:pt x="1015" y="254"/>
                  </a:lnTo>
                  <a:lnTo>
                    <a:pt x="1005" y="263"/>
                  </a:lnTo>
                  <a:lnTo>
                    <a:pt x="995" y="273"/>
                  </a:lnTo>
                  <a:lnTo>
                    <a:pt x="976" y="283"/>
                  </a:lnTo>
                  <a:lnTo>
                    <a:pt x="976" y="293"/>
                  </a:lnTo>
                  <a:lnTo>
                    <a:pt x="976" y="302"/>
                  </a:lnTo>
                  <a:lnTo>
                    <a:pt x="966" y="302"/>
                  </a:lnTo>
                  <a:lnTo>
                    <a:pt x="956" y="312"/>
                  </a:lnTo>
                  <a:lnTo>
                    <a:pt x="937" y="322"/>
                  </a:lnTo>
                  <a:lnTo>
                    <a:pt x="927" y="312"/>
                  </a:lnTo>
                  <a:lnTo>
                    <a:pt x="917" y="312"/>
                  </a:lnTo>
                  <a:lnTo>
                    <a:pt x="907" y="312"/>
                  </a:lnTo>
                  <a:lnTo>
                    <a:pt x="898" y="302"/>
                  </a:lnTo>
                  <a:lnTo>
                    <a:pt x="888" y="302"/>
                  </a:lnTo>
                  <a:lnTo>
                    <a:pt x="878" y="312"/>
                  </a:lnTo>
                  <a:lnTo>
                    <a:pt x="868" y="332"/>
                  </a:lnTo>
                  <a:lnTo>
                    <a:pt x="859" y="341"/>
                  </a:lnTo>
                  <a:lnTo>
                    <a:pt x="859" y="351"/>
                  </a:lnTo>
                  <a:lnTo>
                    <a:pt x="859" y="361"/>
                  </a:lnTo>
                  <a:lnTo>
                    <a:pt x="859" y="381"/>
                  </a:lnTo>
                  <a:lnTo>
                    <a:pt x="849" y="400"/>
                  </a:lnTo>
                  <a:lnTo>
                    <a:pt x="839" y="410"/>
                  </a:lnTo>
                  <a:lnTo>
                    <a:pt x="829" y="410"/>
                  </a:lnTo>
                  <a:lnTo>
                    <a:pt x="820" y="410"/>
                  </a:lnTo>
                  <a:lnTo>
                    <a:pt x="810" y="410"/>
                  </a:lnTo>
                  <a:lnTo>
                    <a:pt x="771" y="410"/>
                  </a:lnTo>
                  <a:lnTo>
                    <a:pt x="781" y="400"/>
                  </a:lnTo>
                  <a:lnTo>
                    <a:pt x="771" y="400"/>
                  </a:lnTo>
                  <a:lnTo>
                    <a:pt x="761" y="390"/>
                  </a:lnTo>
                  <a:lnTo>
                    <a:pt x="751" y="381"/>
                  </a:lnTo>
                  <a:lnTo>
                    <a:pt x="751" y="390"/>
                  </a:lnTo>
                  <a:lnTo>
                    <a:pt x="761" y="400"/>
                  </a:lnTo>
                  <a:lnTo>
                    <a:pt x="761" y="410"/>
                  </a:lnTo>
                  <a:lnTo>
                    <a:pt x="751" y="410"/>
                  </a:lnTo>
                  <a:lnTo>
                    <a:pt x="742" y="420"/>
                  </a:lnTo>
                  <a:lnTo>
                    <a:pt x="732" y="429"/>
                  </a:lnTo>
                  <a:lnTo>
                    <a:pt x="742" y="429"/>
                  </a:lnTo>
                  <a:lnTo>
                    <a:pt x="751" y="420"/>
                  </a:lnTo>
                  <a:lnTo>
                    <a:pt x="761" y="429"/>
                  </a:lnTo>
                  <a:lnTo>
                    <a:pt x="761" y="439"/>
                  </a:lnTo>
                  <a:lnTo>
                    <a:pt x="751" y="439"/>
                  </a:lnTo>
                  <a:lnTo>
                    <a:pt x="761" y="449"/>
                  </a:lnTo>
                  <a:lnTo>
                    <a:pt x="771" y="449"/>
                  </a:lnTo>
                  <a:lnTo>
                    <a:pt x="781" y="459"/>
                  </a:lnTo>
                  <a:lnTo>
                    <a:pt x="790" y="459"/>
                  </a:lnTo>
                  <a:lnTo>
                    <a:pt x="810" y="449"/>
                  </a:lnTo>
                  <a:lnTo>
                    <a:pt x="820" y="449"/>
                  </a:lnTo>
                  <a:lnTo>
                    <a:pt x="829" y="459"/>
                  </a:lnTo>
                  <a:lnTo>
                    <a:pt x="829" y="468"/>
                  </a:lnTo>
                  <a:lnTo>
                    <a:pt x="820" y="468"/>
                  </a:lnTo>
                  <a:lnTo>
                    <a:pt x="820" y="488"/>
                  </a:lnTo>
                  <a:lnTo>
                    <a:pt x="829" y="488"/>
                  </a:lnTo>
                  <a:lnTo>
                    <a:pt x="829" y="478"/>
                  </a:lnTo>
                  <a:lnTo>
                    <a:pt x="839" y="468"/>
                  </a:lnTo>
                  <a:lnTo>
                    <a:pt x="849" y="468"/>
                  </a:lnTo>
                  <a:lnTo>
                    <a:pt x="849" y="478"/>
                  </a:lnTo>
                  <a:lnTo>
                    <a:pt x="859" y="488"/>
                  </a:lnTo>
                  <a:lnTo>
                    <a:pt x="859" y="507"/>
                  </a:lnTo>
                  <a:lnTo>
                    <a:pt x="868" y="517"/>
                  </a:lnTo>
                  <a:lnTo>
                    <a:pt x="878" y="527"/>
                  </a:lnTo>
                  <a:lnTo>
                    <a:pt x="878" y="546"/>
                  </a:lnTo>
                  <a:lnTo>
                    <a:pt x="878" y="556"/>
                  </a:lnTo>
                  <a:lnTo>
                    <a:pt x="888" y="585"/>
                  </a:lnTo>
                  <a:lnTo>
                    <a:pt x="878" y="585"/>
                  </a:lnTo>
                  <a:lnTo>
                    <a:pt x="868" y="595"/>
                  </a:lnTo>
                  <a:lnTo>
                    <a:pt x="868" y="605"/>
                  </a:lnTo>
                  <a:lnTo>
                    <a:pt x="859" y="615"/>
                  </a:lnTo>
                  <a:lnTo>
                    <a:pt x="839" y="624"/>
                  </a:lnTo>
                  <a:lnTo>
                    <a:pt x="829" y="624"/>
                  </a:lnTo>
                  <a:lnTo>
                    <a:pt x="810" y="624"/>
                  </a:lnTo>
                  <a:lnTo>
                    <a:pt x="800" y="624"/>
                  </a:lnTo>
                  <a:lnTo>
                    <a:pt x="800" y="644"/>
                  </a:lnTo>
                  <a:lnTo>
                    <a:pt x="800" y="654"/>
                  </a:lnTo>
                  <a:lnTo>
                    <a:pt x="790" y="654"/>
                  </a:lnTo>
                  <a:lnTo>
                    <a:pt x="790" y="663"/>
                  </a:lnTo>
                  <a:lnTo>
                    <a:pt x="800" y="654"/>
                  </a:lnTo>
                  <a:lnTo>
                    <a:pt x="800" y="644"/>
                  </a:lnTo>
                  <a:lnTo>
                    <a:pt x="810" y="634"/>
                  </a:lnTo>
                  <a:lnTo>
                    <a:pt x="820" y="634"/>
                  </a:lnTo>
                  <a:lnTo>
                    <a:pt x="829" y="634"/>
                  </a:lnTo>
                  <a:lnTo>
                    <a:pt x="829" y="644"/>
                  </a:lnTo>
                  <a:lnTo>
                    <a:pt x="829" y="654"/>
                  </a:lnTo>
                  <a:lnTo>
                    <a:pt x="820" y="654"/>
                  </a:lnTo>
                  <a:lnTo>
                    <a:pt x="820" y="663"/>
                  </a:lnTo>
                  <a:lnTo>
                    <a:pt x="810" y="663"/>
                  </a:lnTo>
                  <a:lnTo>
                    <a:pt x="800" y="673"/>
                  </a:lnTo>
                  <a:lnTo>
                    <a:pt x="800" y="683"/>
                  </a:lnTo>
                  <a:lnTo>
                    <a:pt x="820" y="673"/>
                  </a:lnTo>
                  <a:lnTo>
                    <a:pt x="829" y="683"/>
                  </a:lnTo>
                  <a:lnTo>
                    <a:pt x="839" y="683"/>
                  </a:lnTo>
                  <a:lnTo>
                    <a:pt x="839" y="663"/>
                  </a:lnTo>
                  <a:lnTo>
                    <a:pt x="849" y="673"/>
                  </a:lnTo>
                  <a:lnTo>
                    <a:pt x="849" y="663"/>
                  </a:lnTo>
                  <a:lnTo>
                    <a:pt x="849" y="654"/>
                  </a:lnTo>
                  <a:lnTo>
                    <a:pt x="849" y="644"/>
                  </a:lnTo>
                  <a:lnTo>
                    <a:pt x="859" y="634"/>
                  </a:lnTo>
                  <a:lnTo>
                    <a:pt x="868" y="644"/>
                  </a:lnTo>
                  <a:lnTo>
                    <a:pt x="888" y="644"/>
                  </a:lnTo>
                  <a:lnTo>
                    <a:pt x="907" y="634"/>
                  </a:lnTo>
                  <a:lnTo>
                    <a:pt x="917" y="634"/>
                  </a:lnTo>
                  <a:lnTo>
                    <a:pt x="917" y="624"/>
                  </a:lnTo>
                  <a:lnTo>
                    <a:pt x="917" y="615"/>
                  </a:lnTo>
                  <a:lnTo>
                    <a:pt x="917" y="605"/>
                  </a:lnTo>
                  <a:lnTo>
                    <a:pt x="946" y="605"/>
                  </a:lnTo>
                  <a:lnTo>
                    <a:pt x="946" y="624"/>
                  </a:lnTo>
                  <a:lnTo>
                    <a:pt x="956" y="615"/>
                  </a:lnTo>
                  <a:lnTo>
                    <a:pt x="966" y="605"/>
                  </a:lnTo>
                  <a:lnTo>
                    <a:pt x="986" y="615"/>
                  </a:lnTo>
                  <a:lnTo>
                    <a:pt x="995" y="624"/>
                  </a:lnTo>
                  <a:lnTo>
                    <a:pt x="995" y="644"/>
                  </a:lnTo>
                  <a:lnTo>
                    <a:pt x="1005" y="644"/>
                  </a:lnTo>
                  <a:lnTo>
                    <a:pt x="1005" y="634"/>
                  </a:lnTo>
                  <a:lnTo>
                    <a:pt x="1005" y="624"/>
                  </a:lnTo>
                  <a:lnTo>
                    <a:pt x="1005" y="634"/>
                  </a:lnTo>
                  <a:lnTo>
                    <a:pt x="1015" y="634"/>
                  </a:lnTo>
                  <a:lnTo>
                    <a:pt x="1025" y="624"/>
                  </a:lnTo>
                  <a:lnTo>
                    <a:pt x="1034" y="624"/>
                  </a:lnTo>
                  <a:lnTo>
                    <a:pt x="1044" y="615"/>
                  </a:lnTo>
                  <a:lnTo>
                    <a:pt x="1064" y="605"/>
                  </a:lnTo>
                  <a:lnTo>
                    <a:pt x="1073" y="615"/>
                  </a:lnTo>
                  <a:lnTo>
                    <a:pt x="1064" y="634"/>
                  </a:lnTo>
                  <a:lnTo>
                    <a:pt x="1083" y="634"/>
                  </a:lnTo>
                  <a:lnTo>
                    <a:pt x="1083" y="624"/>
                  </a:lnTo>
                  <a:lnTo>
                    <a:pt x="1093" y="624"/>
                  </a:lnTo>
                  <a:lnTo>
                    <a:pt x="1103" y="615"/>
                  </a:lnTo>
                  <a:lnTo>
                    <a:pt x="1112" y="624"/>
                  </a:lnTo>
                  <a:lnTo>
                    <a:pt x="1122" y="624"/>
                  </a:lnTo>
                  <a:lnTo>
                    <a:pt x="1122" y="634"/>
                  </a:lnTo>
                  <a:lnTo>
                    <a:pt x="1132" y="634"/>
                  </a:lnTo>
                  <a:lnTo>
                    <a:pt x="1132" y="644"/>
                  </a:lnTo>
                  <a:lnTo>
                    <a:pt x="1122" y="654"/>
                  </a:lnTo>
                  <a:lnTo>
                    <a:pt x="1142" y="654"/>
                  </a:lnTo>
                  <a:lnTo>
                    <a:pt x="1151" y="654"/>
                  </a:lnTo>
                  <a:lnTo>
                    <a:pt x="1151" y="663"/>
                  </a:lnTo>
                  <a:lnTo>
                    <a:pt x="1142" y="663"/>
                  </a:lnTo>
                  <a:lnTo>
                    <a:pt x="1132" y="683"/>
                  </a:lnTo>
                  <a:lnTo>
                    <a:pt x="1103" y="693"/>
                  </a:lnTo>
                  <a:lnTo>
                    <a:pt x="1103" y="702"/>
                  </a:lnTo>
                  <a:lnTo>
                    <a:pt x="1093" y="712"/>
                  </a:lnTo>
                  <a:lnTo>
                    <a:pt x="1083" y="712"/>
                  </a:lnTo>
                  <a:lnTo>
                    <a:pt x="1083" y="722"/>
                  </a:lnTo>
                  <a:lnTo>
                    <a:pt x="1083" y="732"/>
                  </a:lnTo>
                  <a:lnTo>
                    <a:pt x="1073" y="732"/>
                  </a:lnTo>
                  <a:lnTo>
                    <a:pt x="1064" y="722"/>
                  </a:lnTo>
                  <a:lnTo>
                    <a:pt x="1054" y="722"/>
                  </a:lnTo>
                  <a:lnTo>
                    <a:pt x="1064" y="722"/>
                  </a:lnTo>
                  <a:lnTo>
                    <a:pt x="1064" y="732"/>
                  </a:lnTo>
                  <a:lnTo>
                    <a:pt x="1044" y="732"/>
                  </a:lnTo>
                  <a:lnTo>
                    <a:pt x="1044" y="742"/>
                  </a:lnTo>
                  <a:lnTo>
                    <a:pt x="1064" y="742"/>
                  </a:lnTo>
                  <a:lnTo>
                    <a:pt x="1073" y="742"/>
                  </a:lnTo>
                  <a:lnTo>
                    <a:pt x="1073" y="761"/>
                  </a:lnTo>
                  <a:lnTo>
                    <a:pt x="1073" y="771"/>
                  </a:lnTo>
                  <a:lnTo>
                    <a:pt x="1083" y="771"/>
                  </a:lnTo>
                  <a:lnTo>
                    <a:pt x="1083" y="790"/>
                  </a:lnTo>
                  <a:lnTo>
                    <a:pt x="1083" y="820"/>
                  </a:lnTo>
                  <a:lnTo>
                    <a:pt x="1083" y="839"/>
                  </a:lnTo>
                  <a:lnTo>
                    <a:pt x="1093" y="849"/>
                  </a:lnTo>
                  <a:lnTo>
                    <a:pt x="1083" y="849"/>
                  </a:lnTo>
                  <a:lnTo>
                    <a:pt x="1093" y="859"/>
                  </a:lnTo>
                  <a:lnTo>
                    <a:pt x="1093" y="868"/>
                  </a:lnTo>
                  <a:lnTo>
                    <a:pt x="1093" y="888"/>
                  </a:lnTo>
                  <a:lnTo>
                    <a:pt x="1083" y="888"/>
                  </a:lnTo>
                  <a:lnTo>
                    <a:pt x="1103" y="898"/>
                  </a:lnTo>
                  <a:lnTo>
                    <a:pt x="1083" y="898"/>
                  </a:lnTo>
                  <a:lnTo>
                    <a:pt x="1073" y="898"/>
                  </a:lnTo>
                  <a:lnTo>
                    <a:pt x="1064" y="898"/>
                  </a:lnTo>
                  <a:lnTo>
                    <a:pt x="1034" y="907"/>
                  </a:lnTo>
                  <a:lnTo>
                    <a:pt x="1025" y="907"/>
                  </a:lnTo>
                  <a:lnTo>
                    <a:pt x="1025" y="888"/>
                  </a:lnTo>
                  <a:lnTo>
                    <a:pt x="1015" y="898"/>
                  </a:lnTo>
                  <a:lnTo>
                    <a:pt x="1005" y="898"/>
                  </a:lnTo>
                  <a:lnTo>
                    <a:pt x="1005" y="907"/>
                  </a:lnTo>
                  <a:lnTo>
                    <a:pt x="995" y="937"/>
                  </a:lnTo>
                  <a:lnTo>
                    <a:pt x="995" y="956"/>
                  </a:lnTo>
                  <a:lnTo>
                    <a:pt x="976" y="956"/>
                  </a:lnTo>
                  <a:lnTo>
                    <a:pt x="966" y="976"/>
                  </a:lnTo>
                  <a:lnTo>
                    <a:pt x="966" y="995"/>
                  </a:lnTo>
                  <a:lnTo>
                    <a:pt x="956" y="1015"/>
                  </a:lnTo>
                  <a:lnTo>
                    <a:pt x="956" y="1034"/>
                  </a:lnTo>
                  <a:lnTo>
                    <a:pt x="946" y="1063"/>
                  </a:lnTo>
                  <a:lnTo>
                    <a:pt x="946" y="1073"/>
                  </a:lnTo>
                  <a:lnTo>
                    <a:pt x="927" y="1073"/>
                  </a:lnTo>
                  <a:lnTo>
                    <a:pt x="917" y="1063"/>
                  </a:lnTo>
                  <a:lnTo>
                    <a:pt x="898" y="1054"/>
                  </a:lnTo>
                  <a:lnTo>
                    <a:pt x="878" y="1063"/>
                  </a:lnTo>
                  <a:lnTo>
                    <a:pt x="849" y="1083"/>
                  </a:lnTo>
                  <a:lnTo>
                    <a:pt x="820" y="1093"/>
                  </a:lnTo>
                  <a:lnTo>
                    <a:pt x="820" y="1112"/>
                  </a:lnTo>
                  <a:lnTo>
                    <a:pt x="800" y="1112"/>
                  </a:lnTo>
                  <a:lnTo>
                    <a:pt x="800" y="1083"/>
                  </a:lnTo>
                  <a:lnTo>
                    <a:pt x="790" y="1044"/>
                  </a:lnTo>
                  <a:lnTo>
                    <a:pt x="790" y="1024"/>
                  </a:lnTo>
                  <a:lnTo>
                    <a:pt x="781" y="1015"/>
                  </a:lnTo>
                  <a:lnTo>
                    <a:pt x="751" y="1015"/>
                  </a:lnTo>
                  <a:lnTo>
                    <a:pt x="742" y="1034"/>
                  </a:lnTo>
                  <a:lnTo>
                    <a:pt x="722" y="1034"/>
                  </a:lnTo>
                  <a:lnTo>
                    <a:pt x="693" y="1024"/>
                  </a:lnTo>
                  <a:lnTo>
                    <a:pt x="673" y="1024"/>
                  </a:lnTo>
                  <a:lnTo>
                    <a:pt x="654" y="1034"/>
                  </a:lnTo>
                  <a:lnTo>
                    <a:pt x="654" y="1044"/>
                  </a:lnTo>
                  <a:lnTo>
                    <a:pt x="634" y="1063"/>
                  </a:lnTo>
                  <a:lnTo>
                    <a:pt x="615" y="1063"/>
                  </a:lnTo>
                  <a:lnTo>
                    <a:pt x="615" y="1093"/>
                  </a:lnTo>
                  <a:lnTo>
                    <a:pt x="586" y="1112"/>
                  </a:lnTo>
                  <a:lnTo>
                    <a:pt x="586" y="1132"/>
                  </a:lnTo>
                  <a:lnTo>
                    <a:pt x="566" y="1132"/>
                  </a:lnTo>
                  <a:lnTo>
                    <a:pt x="566" y="1112"/>
                  </a:lnTo>
                  <a:lnTo>
                    <a:pt x="556" y="1112"/>
                  </a:lnTo>
                  <a:lnTo>
                    <a:pt x="556" y="1122"/>
                  </a:lnTo>
                  <a:lnTo>
                    <a:pt x="537" y="1122"/>
                  </a:lnTo>
                  <a:lnTo>
                    <a:pt x="527" y="1132"/>
                  </a:lnTo>
                  <a:lnTo>
                    <a:pt x="537" y="1151"/>
                  </a:lnTo>
                  <a:lnTo>
                    <a:pt x="517" y="1151"/>
                  </a:lnTo>
                  <a:lnTo>
                    <a:pt x="508" y="1161"/>
                  </a:lnTo>
                  <a:lnTo>
                    <a:pt x="498" y="1181"/>
                  </a:lnTo>
                  <a:lnTo>
                    <a:pt x="478" y="1200"/>
                  </a:lnTo>
                  <a:lnTo>
                    <a:pt x="488" y="1210"/>
                  </a:lnTo>
                  <a:lnTo>
                    <a:pt x="498" y="1220"/>
                  </a:lnTo>
                  <a:lnTo>
                    <a:pt x="469" y="1220"/>
                  </a:lnTo>
                  <a:lnTo>
                    <a:pt x="459" y="1229"/>
                  </a:lnTo>
                  <a:lnTo>
                    <a:pt x="430" y="1249"/>
                  </a:lnTo>
                  <a:lnTo>
                    <a:pt x="410" y="1259"/>
                  </a:lnTo>
                  <a:lnTo>
                    <a:pt x="390" y="1259"/>
                  </a:lnTo>
                  <a:lnTo>
                    <a:pt x="381" y="1268"/>
                  </a:lnTo>
                  <a:lnTo>
                    <a:pt x="371" y="1288"/>
                  </a:lnTo>
                  <a:lnTo>
                    <a:pt x="351" y="1288"/>
                  </a:lnTo>
                  <a:lnTo>
                    <a:pt x="342" y="1288"/>
                  </a:lnTo>
                  <a:lnTo>
                    <a:pt x="332" y="1288"/>
                  </a:lnTo>
                  <a:lnTo>
                    <a:pt x="312" y="1298"/>
                  </a:lnTo>
                  <a:lnTo>
                    <a:pt x="303" y="1298"/>
                  </a:lnTo>
                  <a:lnTo>
                    <a:pt x="293" y="1298"/>
                  </a:lnTo>
                  <a:lnTo>
                    <a:pt x="264" y="1298"/>
                  </a:lnTo>
                  <a:lnTo>
                    <a:pt x="244" y="1288"/>
                  </a:lnTo>
                  <a:lnTo>
                    <a:pt x="244" y="1278"/>
                  </a:lnTo>
                  <a:lnTo>
                    <a:pt x="234" y="1268"/>
                  </a:lnTo>
                  <a:lnTo>
                    <a:pt x="186" y="1268"/>
                  </a:lnTo>
                  <a:lnTo>
                    <a:pt x="166" y="1259"/>
                  </a:lnTo>
                  <a:lnTo>
                    <a:pt x="166" y="1239"/>
                  </a:lnTo>
                  <a:lnTo>
                    <a:pt x="156" y="1220"/>
                  </a:lnTo>
                  <a:lnTo>
                    <a:pt x="127" y="1220"/>
                  </a:lnTo>
                  <a:lnTo>
                    <a:pt x="88" y="1220"/>
                  </a:lnTo>
                  <a:lnTo>
                    <a:pt x="59" y="1220"/>
                  </a:lnTo>
                  <a:lnTo>
                    <a:pt x="49" y="1200"/>
                  </a:lnTo>
                  <a:lnTo>
                    <a:pt x="49" y="1181"/>
                  </a:lnTo>
                  <a:lnTo>
                    <a:pt x="39" y="1171"/>
                  </a:lnTo>
                  <a:lnTo>
                    <a:pt x="39" y="1161"/>
                  </a:lnTo>
                  <a:lnTo>
                    <a:pt x="39" y="1142"/>
                  </a:lnTo>
                  <a:lnTo>
                    <a:pt x="49" y="1112"/>
                  </a:lnTo>
                  <a:lnTo>
                    <a:pt x="69" y="1103"/>
                  </a:lnTo>
                  <a:lnTo>
                    <a:pt x="69" y="1093"/>
                  </a:lnTo>
                  <a:lnTo>
                    <a:pt x="88" y="1073"/>
                  </a:lnTo>
                  <a:lnTo>
                    <a:pt x="88" y="1044"/>
                  </a:lnTo>
                  <a:lnTo>
                    <a:pt x="88" y="1034"/>
                  </a:lnTo>
                  <a:lnTo>
                    <a:pt x="108" y="1005"/>
                  </a:lnTo>
                  <a:lnTo>
                    <a:pt x="117" y="995"/>
                  </a:lnTo>
                  <a:lnTo>
                    <a:pt x="108" y="976"/>
                  </a:lnTo>
                  <a:lnTo>
                    <a:pt x="98" y="976"/>
                  </a:lnTo>
                  <a:lnTo>
                    <a:pt x="78" y="976"/>
                  </a:lnTo>
                  <a:lnTo>
                    <a:pt x="78" y="956"/>
                  </a:lnTo>
                  <a:lnTo>
                    <a:pt x="49" y="946"/>
                  </a:lnTo>
                  <a:lnTo>
                    <a:pt x="49" y="937"/>
                  </a:lnTo>
                  <a:lnTo>
                    <a:pt x="30" y="927"/>
                  </a:lnTo>
                  <a:lnTo>
                    <a:pt x="10" y="93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90" name="Group 244"/>
            <p:cNvGrpSpPr>
              <a:grpSpLocks/>
            </p:cNvGrpSpPr>
            <p:nvPr/>
          </p:nvGrpSpPr>
          <p:grpSpPr bwMode="auto">
            <a:xfrm>
              <a:off x="7607" y="0"/>
              <a:ext cx="1151" cy="1298"/>
              <a:chOff x="7608" y="0"/>
              <a:chExt cx="1151" cy="1298"/>
            </a:xfrm>
          </p:grpSpPr>
          <p:sp>
            <p:nvSpPr>
              <p:cNvPr id="355" name="Freeform 246"/>
              <p:cNvSpPr>
                <a:spLocks/>
              </p:cNvSpPr>
              <p:nvPr/>
            </p:nvSpPr>
            <p:spPr bwMode="auto">
              <a:xfrm>
                <a:off x="7607" y="0"/>
                <a:ext cx="1151" cy="1298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  <a:lnTo>
                      <a:pt x="10" y="93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6" name="Freeform 245"/>
              <p:cNvSpPr>
                <a:spLocks/>
              </p:cNvSpPr>
              <p:nvPr/>
            </p:nvSpPr>
            <p:spPr bwMode="auto">
              <a:xfrm>
                <a:off x="7607" y="0"/>
                <a:ext cx="1151" cy="1298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34" name="Freeform 243"/>
            <p:cNvSpPr>
              <a:spLocks/>
            </p:cNvSpPr>
            <p:nvPr/>
          </p:nvSpPr>
          <p:spPr bwMode="auto">
            <a:xfrm>
              <a:off x="8613" y="157"/>
              <a:ext cx="20" cy="20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92" name="Group 240"/>
            <p:cNvGrpSpPr>
              <a:grpSpLocks/>
            </p:cNvGrpSpPr>
            <p:nvPr/>
          </p:nvGrpSpPr>
          <p:grpSpPr bwMode="auto">
            <a:xfrm>
              <a:off x="8612" y="156"/>
              <a:ext cx="20" cy="20"/>
              <a:chOff x="8613" y="156"/>
              <a:chExt cx="20" cy="20"/>
            </a:xfrm>
          </p:grpSpPr>
          <p:sp>
            <p:nvSpPr>
              <p:cNvPr id="353" name="Freeform 242"/>
              <p:cNvSpPr>
                <a:spLocks/>
              </p:cNvSpPr>
              <p:nvPr/>
            </p:nvSpPr>
            <p:spPr bwMode="auto">
              <a:xfrm>
                <a:off x="8614" y="157"/>
                <a:ext cx="20" cy="20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4" name="Freeform 241"/>
              <p:cNvSpPr>
                <a:spLocks/>
              </p:cNvSpPr>
              <p:nvPr/>
            </p:nvSpPr>
            <p:spPr bwMode="auto">
              <a:xfrm>
                <a:off x="8614" y="157"/>
                <a:ext cx="20" cy="20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36" name="Freeform 239"/>
            <p:cNvSpPr>
              <a:spLocks/>
            </p:cNvSpPr>
            <p:nvPr/>
          </p:nvSpPr>
          <p:spPr bwMode="auto">
            <a:xfrm>
              <a:off x="760" y="2654"/>
              <a:ext cx="138" cy="186"/>
            </a:xfrm>
            <a:custGeom>
              <a:avLst/>
              <a:gdLst>
                <a:gd name="T0" fmla="*/ 49 w 136"/>
                <a:gd name="T1" fmla="*/ 136 h 185"/>
                <a:gd name="T2" fmla="*/ 58 w 136"/>
                <a:gd name="T3" fmla="*/ 127 h 185"/>
                <a:gd name="T4" fmla="*/ 68 w 136"/>
                <a:gd name="T5" fmla="*/ 117 h 185"/>
                <a:gd name="T6" fmla="*/ 88 w 136"/>
                <a:gd name="T7" fmla="*/ 107 h 185"/>
                <a:gd name="T8" fmla="*/ 97 w 136"/>
                <a:gd name="T9" fmla="*/ 97 h 185"/>
                <a:gd name="T10" fmla="*/ 97 w 136"/>
                <a:gd name="T11" fmla="*/ 88 h 185"/>
                <a:gd name="T12" fmla="*/ 97 w 136"/>
                <a:gd name="T13" fmla="*/ 78 h 185"/>
                <a:gd name="T14" fmla="*/ 78 w 136"/>
                <a:gd name="T15" fmla="*/ 49 h 185"/>
                <a:gd name="T16" fmla="*/ 68 w 136"/>
                <a:gd name="T17" fmla="*/ 49 h 185"/>
                <a:gd name="T18" fmla="*/ 58 w 136"/>
                <a:gd name="T19" fmla="*/ 39 h 185"/>
                <a:gd name="T20" fmla="*/ 49 w 136"/>
                <a:gd name="T21" fmla="*/ 29 h 185"/>
                <a:gd name="T22" fmla="*/ 49 w 136"/>
                <a:gd name="T23" fmla="*/ 19 h 185"/>
                <a:gd name="T24" fmla="*/ 39 w 136"/>
                <a:gd name="T25" fmla="*/ 10 h 185"/>
                <a:gd name="T26" fmla="*/ 49 w 136"/>
                <a:gd name="T27" fmla="*/ 0 h 185"/>
                <a:gd name="T28" fmla="*/ 49 w 136"/>
                <a:gd name="T29" fmla="*/ 10 h 185"/>
                <a:gd name="T30" fmla="*/ 68 w 136"/>
                <a:gd name="T31" fmla="*/ 29 h 185"/>
                <a:gd name="T32" fmla="*/ 78 w 136"/>
                <a:gd name="T33" fmla="*/ 39 h 185"/>
                <a:gd name="T34" fmla="*/ 88 w 136"/>
                <a:gd name="T35" fmla="*/ 49 h 185"/>
                <a:gd name="T36" fmla="*/ 107 w 136"/>
                <a:gd name="T37" fmla="*/ 49 h 185"/>
                <a:gd name="T38" fmla="*/ 117 w 136"/>
                <a:gd name="T39" fmla="*/ 49 h 185"/>
                <a:gd name="T40" fmla="*/ 117 w 136"/>
                <a:gd name="T41" fmla="*/ 68 h 185"/>
                <a:gd name="T42" fmla="*/ 136 w 136"/>
                <a:gd name="T43" fmla="*/ 97 h 185"/>
                <a:gd name="T44" fmla="*/ 127 w 136"/>
                <a:gd name="T45" fmla="*/ 117 h 185"/>
                <a:gd name="T46" fmla="*/ 127 w 136"/>
                <a:gd name="T47" fmla="*/ 127 h 185"/>
                <a:gd name="T48" fmla="*/ 127 w 136"/>
                <a:gd name="T49" fmla="*/ 146 h 185"/>
                <a:gd name="T50" fmla="*/ 107 w 136"/>
                <a:gd name="T51" fmla="*/ 166 h 185"/>
                <a:gd name="T52" fmla="*/ 97 w 136"/>
                <a:gd name="T53" fmla="*/ 175 h 185"/>
                <a:gd name="T54" fmla="*/ 88 w 136"/>
                <a:gd name="T55" fmla="*/ 175 h 185"/>
                <a:gd name="T56" fmla="*/ 88 w 136"/>
                <a:gd name="T57" fmla="*/ 166 h 185"/>
                <a:gd name="T58" fmla="*/ 88 w 136"/>
                <a:gd name="T59" fmla="*/ 156 h 185"/>
                <a:gd name="T60" fmla="*/ 97 w 136"/>
                <a:gd name="T61" fmla="*/ 146 h 185"/>
                <a:gd name="T62" fmla="*/ 107 w 136"/>
                <a:gd name="T63" fmla="*/ 136 h 185"/>
                <a:gd name="T64" fmla="*/ 97 w 136"/>
                <a:gd name="T65" fmla="*/ 136 h 185"/>
                <a:gd name="T66" fmla="*/ 88 w 136"/>
                <a:gd name="T67" fmla="*/ 136 h 185"/>
                <a:gd name="T68" fmla="*/ 78 w 136"/>
                <a:gd name="T69" fmla="*/ 146 h 185"/>
                <a:gd name="T70" fmla="*/ 68 w 136"/>
                <a:gd name="T71" fmla="*/ 156 h 185"/>
                <a:gd name="T72" fmla="*/ 49 w 136"/>
                <a:gd name="T73" fmla="*/ 175 h 185"/>
                <a:gd name="T74" fmla="*/ 39 w 136"/>
                <a:gd name="T75" fmla="*/ 185 h 185"/>
                <a:gd name="T76" fmla="*/ 29 w 136"/>
                <a:gd name="T77" fmla="*/ 185 h 185"/>
                <a:gd name="T78" fmla="*/ 19 w 136"/>
                <a:gd name="T79" fmla="*/ 175 h 185"/>
                <a:gd name="T80" fmla="*/ 19 w 136"/>
                <a:gd name="T81" fmla="*/ 175 h 185"/>
                <a:gd name="T82" fmla="*/ 10 w 136"/>
                <a:gd name="T83" fmla="*/ 166 h 185"/>
                <a:gd name="T84" fmla="*/ 0 w 136"/>
                <a:gd name="T85" fmla="*/ 156 h 185"/>
                <a:gd name="T86" fmla="*/ 0 w 136"/>
                <a:gd name="T87" fmla="*/ 146 h 185"/>
                <a:gd name="T88" fmla="*/ 19 w 136"/>
                <a:gd name="T89" fmla="*/ 136 h 185"/>
                <a:gd name="T90" fmla="*/ 29 w 136"/>
                <a:gd name="T91" fmla="*/ 136 h 185"/>
                <a:gd name="T92" fmla="*/ 29 w 136"/>
                <a:gd name="T93" fmla="*/ 136 h 185"/>
                <a:gd name="T94" fmla="*/ 39 w 136"/>
                <a:gd name="T95" fmla="*/ 146 h 185"/>
                <a:gd name="T96" fmla="*/ 49 w 136"/>
                <a:gd name="T97" fmla="*/ 146 h 185"/>
                <a:gd name="T98" fmla="*/ 49 w 136"/>
                <a:gd name="T99" fmla="*/ 136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6"/>
                <a:gd name="T151" fmla="*/ 0 h 185"/>
                <a:gd name="T152" fmla="*/ 136 w 136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39" y="18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  <a:lnTo>
                    <a:pt x="49" y="13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94" name="Group 236"/>
            <p:cNvGrpSpPr>
              <a:grpSpLocks/>
            </p:cNvGrpSpPr>
            <p:nvPr/>
          </p:nvGrpSpPr>
          <p:grpSpPr bwMode="auto">
            <a:xfrm>
              <a:off x="761" y="2654"/>
              <a:ext cx="136" cy="185"/>
              <a:chOff x="761" y="2654"/>
              <a:chExt cx="136" cy="185"/>
            </a:xfrm>
          </p:grpSpPr>
          <p:sp>
            <p:nvSpPr>
              <p:cNvPr id="351" name="Freeform 238"/>
              <p:cNvSpPr>
                <a:spLocks/>
              </p:cNvSpPr>
              <p:nvPr/>
            </p:nvSpPr>
            <p:spPr bwMode="auto">
              <a:xfrm>
                <a:off x="760" y="2654"/>
                <a:ext cx="138" cy="186"/>
              </a:xfrm>
              <a:custGeom>
                <a:avLst/>
                <a:gdLst>
                  <a:gd name="T0" fmla="*/ 49 w 136"/>
                  <a:gd name="T1" fmla="*/ 136 h 185"/>
                  <a:gd name="T2" fmla="*/ 58 w 136"/>
                  <a:gd name="T3" fmla="*/ 127 h 185"/>
                  <a:gd name="T4" fmla="*/ 68 w 136"/>
                  <a:gd name="T5" fmla="*/ 117 h 185"/>
                  <a:gd name="T6" fmla="*/ 88 w 136"/>
                  <a:gd name="T7" fmla="*/ 107 h 185"/>
                  <a:gd name="T8" fmla="*/ 97 w 136"/>
                  <a:gd name="T9" fmla="*/ 97 h 185"/>
                  <a:gd name="T10" fmla="*/ 97 w 136"/>
                  <a:gd name="T11" fmla="*/ 88 h 185"/>
                  <a:gd name="T12" fmla="*/ 97 w 136"/>
                  <a:gd name="T13" fmla="*/ 78 h 185"/>
                  <a:gd name="T14" fmla="*/ 78 w 136"/>
                  <a:gd name="T15" fmla="*/ 49 h 185"/>
                  <a:gd name="T16" fmla="*/ 68 w 136"/>
                  <a:gd name="T17" fmla="*/ 49 h 185"/>
                  <a:gd name="T18" fmla="*/ 58 w 136"/>
                  <a:gd name="T19" fmla="*/ 39 h 185"/>
                  <a:gd name="T20" fmla="*/ 49 w 136"/>
                  <a:gd name="T21" fmla="*/ 29 h 185"/>
                  <a:gd name="T22" fmla="*/ 49 w 136"/>
                  <a:gd name="T23" fmla="*/ 19 h 185"/>
                  <a:gd name="T24" fmla="*/ 39 w 136"/>
                  <a:gd name="T25" fmla="*/ 10 h 185"/>
                  <a:gd name="T26" fmla="*/ 49 w 136"/>
                  <a:gd name="T27" fmla="*/ 0 h 185"/>
                  <a:gd name="T28" fmla="*/ 49 w 136"/>
                  <a:gd name="T29" fmla="*/ 10 h 185"/>
                  <a:gd name="T30" fmla="*/ 68 w 136"/>
                  <a:gd name="T31" fmla="*/ 29 h 185"/>
                  <a:gd name="T32" fmla="*/ 78 w 136"/>
                  <a:gd name="T33" fmla="*/ 39 h 185"/>
                  <a:gd name="T34" fmla="*/ 88 w 136"/>
                  <a:gd name="T35" fmla="*/ 49 h 185"/>
                  <a:gd name="T36" fmla="*/ 107 w 136"/>
                  <a:gd name="T37" fmla="*/ 49 h 185"/>
                  <a:gd name="T38" fmla="*/ 117 w 136"/>
                  <a:gd name="T39" fmla="*/ 49 h 185"/>
                  <a:gd name="T40" fmla="*/ 117 w 136"/>
                  <a:gd name="T41" fmla="*/ 68 h 185"/>
                  <a:gd name="T42" fmla="*/ 136 w 136"/>
                  <a:gd name="T43" fmla="*/ 97 h 185"/>
                  <a:gd name="T44" fmla="*/ 127 w 136"/>
                  <a:gd name="T45" fmla="*/ 117 h 185"/>
                  <a:gd name="T46" fmla="*/ 127 w 136"/>
                  <a:gd name="T47" fmla="*/ 127 h 185"/>
                  <a:gd name="T48" fmla="*/ 127 w 136"/>
                  <a:gd name="T49" fmla="*/ 146 h 185"/>
                  <a:gd name="T50" fmla="*/ 107 w 136"/>
                  <a:gd name="T51" fmla="*/ 166 h 185"/>
                  <a:gd name="T52" fmla="*/ 97 w 136"/>
                  <a:gd name="T53" fmla="*/ 175 h 185"/>
                  <a:gd name="T54" fmla="*/ 88 w 136"/>
                  <a:gd name="T55" fmla="*/ 175 h 185"/>
                  <a:gd name="T56" fmla="*/ 88 w 136"/>
                  <a:gd name="T57" fmla="*/ 166 h 185"/>
                  <a:gd name="T58" fmla="*/ 88 w 136"/>
                  <a:gd name="T59" fmla="*/ 156 h 185"/>
                  <a:gd name="T60" fmla="*/ 97 w 136"/>
                  <a:gd name="T61" fmla="*/ 146 h 185"/>
                  <a:gd name="T62" fmla="*/ 107 w 136"/>
                  <a:gd name="T63" fmla="*/ 136 h 185"/>
                  <a:gd name="T64" fmla="*/ 97 w 136"/>
                  <a:gd name="T65" fmla="*/ 136 h 185"/>
                  <a:gd name="T66" fmla="*/ 88 w 136"/>
                  <a:gd name="T67" fmla="*/ 136 h 185"/>
                  <a:gd name="T68" fmla="*/ 78 w 136"/>
                  <a:gd name="T69" fmla="*/ 146 h 185"/>
                  <a:gd name="T70" fmla="*/ 68 w 136"/>
                  <a:gd name="T71" fmla="*/ 156 h 185"/>
                  <a:gd name="T72" fmla="*/ 49 w 136"/>
                  <a:gd name="T73" fmla="*/ 175 h 185"/>
                  <a:gd name="T74" fmla="*/ 29 w 136"/>
                  <a:gd name="T75" fmla="*/ 185 h 185"/>
                  <a:gd name="T76" fmla="*/ 29 w 136"/>
                  <a:gd name="T77" fmla="*/ 185 h 185"/>
                  <a:gd name="T78" fmla="*/ 19 w 136"/>
                  <a:gd name="T79" fmla="*/ 175 h 185"/>
                  <a:gd name="T80" fmla="*/ 19 w 136"/>
                  <a:gd name="T81" fmla="*/ 175 h 185"/>
                  <a:gd name="T82" fmla="*/ 10 w 136"/>
                  <a:gd name="T83" fmla="*/ 166 h 185"/>
                  <a:gd name="T84" fmla="*/ 0 w 136"/>
                  <a:gd name="T85" fmla="*/ 156 h 185"/>
                  <a:gd name="T86" fmla="*/ 0 w 136"/>
                  <a:gd name="T87" fmla="*/ 146 h 185"/>
                  <a:gd name="T88" fmla="*/ 19 w 136"/>
                  <a:gd name="T89" fmla="*/ 136 h 185"/>
                  <a:gd name="T90" fmla="*/ 29 w 136"/>
                  <a:gd name="T91" fmla="*/ 136 h 185"/>
                  <a:gd name="T92" fmla="*/ 29 w 136"/>
                  <a:gd name="T93" fmla="*/ 136 h 185"/>
                  <a:gd name="T94" fmla="*/ 39 w 136"/>
                  <a:gd name="T95" fmla="*/ 146 h 185"/>
                  <a:gd name="T96" fmla="*/ 49 w 136"/>
                  <a:gd name="T97" fmla="*/ 146 h 185"/>
                  <a:gd name="T98" fmla="*/ 49 w 136"/>
                  <a:gd name="T99" fmla="*/ 136 h 18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6"/>
                  <a:gd name="T151" fmla="*/ 0 h 185"/>
                  <a:gd name="T152" fmla="*/ 136 w 136"/>
                  <a:gd name="T153" fmla="*/ 185 h 18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  <a:lnTo>
                      <a:pt x="49" y="136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2" name="Freeform 237"/>
              <p:cNvSpPr>
                <a:spLocks/>
              </p:cNvSpPr>
              <p:nvPr/>
            </p:nvSpPr>
            <p:spPr bwMode="auto">
              <a:xfrm>
                <a:off x="760" y="2654"/>
                <a:ext cx="138" cy="186"/>
              </a:xfrm>
              <a:custGeom>
                <a:avLst/>
                <a:gdLst>
                  <a:gd name="T0" fmla="*/ 49 w 136"/>
                  <a:gd name="T1" fmla="*/ 136 h 185"/>
                  <a:gd name="T2" fmla="*/ 58 w 136"/>
                  <a:gd name="T3" fmla="*/ 127 h 185"/>
                  <a:gd name="T4" fmla="*/ 68 w 136"/>
                  <a:gd name="T5" fmla="*/ 117 h 185"/>
                  <a:gd name="T6" fmla="*/ 88 w 136"/>
                  <a:gd name="T7" fmla="*/ 107 h 185"/>
                  <a:gd name="T8" fmla="*/ 97 w 136"/>
                  <a:gd name="T9" fmla="*/ 97 h 185"/>
                  <a:gd name="T10" fmla="*/ 97 w 136"/>
                  <a:gd name="T11" fmla="*/ 88 h 185"/>
                  <a:gd name="T12" fmla="*/ 97 w 136"/>
                  <a:gd name="T13" fmla="*/ 78 h 185"/>
                  <a:gd name="T14" fmla="*/ 78 w 136"/>
                  <a:gd name="T15" fmla="*/ 49 h 185"/>
                  <a:gd name="T16" fmla="*/ 68 w 136"/>
                  <a:gd name="T17" fmla="*/ 49 h 185"/>
                  <a:gd name="T18" fmla="*/ 58 w 136"/>
                  <a:gd name="T19" fmla="*/ 39 h 185"/>
                  <a:gd name="T20" fmla="*/ 49 w 136"/>
                  <a:gd name="T21" fmla="*/ 29 h 185"/>
                  <a:gd name="T22" fmla="*/ 49 w 136"/>
                  <a:gd name="T23" fmla="*/ 19 h 185"/>
                  <a:gd name="T24" fmla="*/ 39 w 136"/>
                  <a:gd name="T25" fmla="*/ 10 h 185"/>
                  <a:gd name="T26" fmla="*/ 49 w 136"/>
                  <a:gd name="T27" fmla="*/ 0 h 185"/>
                  <a:gd name="T28" fmla="*/ 49 w 136"/>
                  <a:gd name="T29" fmla="*/ 10 h 185"/>
                  <a:gd name="T30" fmla="*/ 68 w 136"/>
                  <a:gd name="T31" fmla="*/ 29 h 185"/>
                  <a:gd name="T32" fmla="*/ 78 w 136"/>
                  <a:gd name="T33" fmla="*/ 39 h 185"/>
                  <a:gd name="T34" fmla="*/ 88 w 136"/>
                  <a:gd name="T35" fmla="*/ 49 h 185"/>
                  <a:gd name="T36" fmla="*/ 107 w 136"/>
                  <a:gd name="T37" fmla="*/ 49 h 185"/>
                  <a:gd name="T38" fmla="*/ 117 w 136"/>
                  <a:gd name="T39" fmla="*/ 49 h 185"/>
                  <a:gd name="T40" fmla="*/ 117 w 136"/>
                  <a:gd name="T41" fmla="*/ 68 h 185"/>
                  <a:gd name="T42" fmla="*/ 136 w 136"/>
                  <a:gd name="T43" fmla="*/ 97 h 185"/>
                  <a:gd name="T44" fmla="*/ 127 w 136"/>
                  <a:gd name="T45" fmla="*/ 117 h 185"/>
                  <a:gd name="T46" fmla="*/ 127 w 136"/>
                  <a:gd name="T47" fmla="*/ 127 h 185"/>
                  <a:gd name="T48" fmla="*/ 127 w 136"/>
                  <a:gd name="T49" fmla="*/ 146 h 185"/>
                  <a:gd name="T50" fmla="*/ 107 w 136"/>
                  <a:gd name="T51" fmla="*/ 166 h 185"/>
                  <a:gd name="T52" fmla="*/ 97 w 136"/>
                  <a:gd name="T53" fmla="*/ 175 h 185"/>
                  <a:gd name="T54" fmla="*/ 88 w 136"/>
                  <a:gd name="T55" fmla="*/ 175 h 185"/>
                  <a:gd name="T56" fmla="*/ 88 w 136"/>
                  <a:gd name="T57" fmla="*/ 166 h 185"/>
                  <a:gd name="T58" fmla="*/ 88 w 136"/>
                  <a:gd name="T59" fmla="*/ 156 h 185"/>
                  <a:gd name="T60" fmla="*/ 97 w 136"/>
                  <a:gd name="T61" fmla="*/ 146 h 185"/>
                  <a:gd name="T62" fmla="*/ 107 w 136"/>
                  <a:gd name="T63" fmla="*/ 136 h 185"/>
                  <a:gd name="T64" fmla="*/ 97 w 136"/>
                  <a:gd name="T65" fmla="*/ 136 h 185"/>
                  <a:gd name="T66" fmla="*/ 88 w 136"/>
                  <a:gd name="T67" fmla="*/ 136 h 185"/>
                  <a:gd name="T68" fmla="*/ 78 w 136"/>
                  <a:gd name="T69" fmla="*/ 146 h 185"/>
                  <a:gd name="T70" fmla="*/ 68 w 136"/>
                  <a:gd name="T71" fmla="*/ 156 h 185"/>
                  <a:gd name="T72" fmla="*/ 49 w 136"/>
                  <a:gd name="T73" fmla="*/ 175 h 185"/>
                  <a:gd name="T74" fmla="*/ 29 w 136"/>
                  <a:gd name="T75" fmla="*/ 185 h 185"/>
                  <a:gd name="T76" fmla="*/ 29 w 136"/>
                  <a:gd name="T77" fmla="*/ 185 h 185"/>
                  <a:gd name="T78" fmla="*/ 19 w 136"/>
                  <a:gd name="T79" fmla="*/ 175 h 185"/>
                  <a:gd name="T80" fmla="*/ 19 w 136"/>
                  <a:gd name="T81" fmla="*/ 175 h 185"/>
                  <a:gd name="T82" fmla="*/ 10 w 136"/>
                  <a:gd name="T83" fmla="*/ 166 h 185"/>
                  <a:gd name="T84" fmla="*/ 0 w 136"/>
                  <a:gd name="T85" fmla="*/ 156 h 185"/>
                  <a:gd name="T86" fmla="*/ 0 w 136"/>
                  <a:gd name="T87" fmla="*/ 146 h 185"/>
                  <a:gd name="T88" fmla="*/ 19 w 136"/>
                  <a:gd name="T89" fmla="*/ 136 h 185"/>
                  <a:gd name="T90" fmla="*/ 29 w 136"/>
                  <a:gd name="T91" fmla="*/ 136 h 185"/>
                  <a:gd name="T92" fmla="*/ 29 w 136"/>
                  <a:gd name="T93" fmla="*/ 136 h 185"/>
                  <a:gd name="T94" fmla="*/ 39 w 136"/>
                  <a:gd name="T95" fmla="*/ 146 h 185"/>
                  <a:gd name="T96" fmla="*/ 49 w 136"/>
                  <a:gd name="T97" fmla="*/ 146 h 18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36"/>
                  <a:gd name="T148" fmla="*/ 0 h 185"/>
                  <a:gd name="T149" fmla="*/ 136 w 136"/>
                  <a:gd name="T150" fmla="*/ 185 h 18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38" name="Freeform 235"/>
            <p:cNvSpPr>
              <a:spLocks/>
            </p:cNvSpPr>
            <p:nvPr/>
          </p:nvSpPr>
          <p:spPr bwMode="auto">
            <a:xfrm>
              <a:off x="4457" y="3543"/>
              <a:ext cx="324" cy="447"/>
            </a:xfrm>
            <a:custGeom>
              <a:avLst/>
              <a:gdLst>
                <a:gd name="T0" fmla="*/ 126 w 322"/>
                <a:gd name="T1" fmla="*/ 136 h 449"/>
                <a:gd name="T2" fmla="*/ 117 w 322"/>
                <a:gd name="T3" fmla="*/ 107 h 449"/>
                <a:gd name="T4" fmla="*/ 97 w 322"/>
                <a:gd name="T5" fmla="*/ 127 h 449"/>
                <a:gd name="T6" fmla="*/ 97 w 322"/>
                <a:gd name="T7" fmla="*/ 117 h 449"/>
                <a:gd name="T8" fmla="*/ 117 w 322"/>
                <a:gd name="T9" fmla="*/ 78 h 449"/>
                <a:gd name="T10" fmla="*/ 117 w 322"/>
                <a:gd name="T11" fmla="*/ 19 h 449"/>
                <a:gd name="T12" fmla="*/ 126 w 322"/>
                <a:gd name="T13" fmla="*/ 19 h 449"/>
                <a:gd name="T14" fmla="*/ 146 w 322"/>
                <a:gd name="T15" fmla="*/ 19 h 449"/>
                <a:gd name="T16" fmla="*/ 156 w 322"/>
                <a:gd name="T17" fmla="*/ 39 h 449"/>
                <a:gd name="T18" fmla="*/ 166 w 322"/>
                <a:gd name="T19" fmla="*/ 68 h 449"/>
                <a:gd name="T20" fmla="*/ 205 w 322"/>
                <a:gd name="T21" fmla="*/ 68 h 449"/>
                <a:gd name="T22" fmla="*/ 205 w 322"/>
                <a:gd name="T23" fmla="*/ 39 h 449"/>
                <a:gd name="T24" fmla="*/ 224 w 322"/>
                <a:gd name="T25" fmla="*/ 48 h 449"/>
                <a:gd name="T26" fmla="*/ 244 w 322"/>
                <a:gd name="T27" fmla="*/ 68 h 449"/>
                <a:gd name="T28" fmla="*/ 273 w 322"/>
                <a:gd name="T29" fmla="*/ 68 h 449"/>
                <a:gd name="T30" fmla="*/ 283 w 322"/>
                <a:gd name="T31" fmla="*/ 78 h 449"/>
                <a:gd name="T32" fmla="*/ 302 w 322"/>
                <a:gd name="T33" fmla="*/ 88 h 449"/>
                <a:gd name="T34" fmla="*/ 302 w 322"/>
                <a:gd name="T35" fmla="*/ 97 h 449"/>
                <a:gd name="T36" fmla="*/ 302 w 322"/>
                <a:gd name="T37" fmla="*/ 117 h 449"/>
                <a:gd name="T38" fmla="*/ 312 w 322"/>
                <a:gd name="T39" fmla="*/ 136 h 449"/>
                <a:gd name="T40" fmla="*/ 322 w 322"/>
                <a:gd name="T41" fmla="*/ 166 h 449"/>
                <a:gd name="T42" fmla="*/ 312 w 322"/>
                <a:gd name="T43" fmla="*/ 205 h 449"/>
                <a:gd name="T44" fmla="*/ 302 w 322"/>
                <a:gd name="T45" fmla="*/ 234 h 449"/>
                <a:gd name="T46" fmla="*/ 322 w 322"/>
                <a:gd name="T47" fmla="*/ 263 h 449"/>
                <a:gd name="T48" fmla="*/ 312 w 322"/>
                <a:gd name="T49" fmla="*/ 292 h 449"/>
                <a:gd name="T50" fmla="*/ 292 w 322"/>
                <a:gd name="T51" fmla="*/ 312 h 449"/>
                <a:gd name="T52" fmla="*/ 273 w 322"/>
                <a:gd name="T53" fmla="*/ 331 h 449"/>
                <a:gd name="T54" fmla="*/ 244 w 322"/>
                <a:gd name="T55" fmla="*/ 341 h 449"/>
                <a:gd name="T56" fmla="*/ 214 w 322"/>
                <a:gd name="T57" fmla="*/ 361 h 449"/>
                <a:gd name="T58" fmla="*/ 195 w 322"/>
                <a:gd name="T59" fmla="*/ 380 h 449"/>
                <a:gd name="T60" fmla="*/ 185 w 322"/>
                <a:gd name="T61" fmla="*/ 390 h 449"/>
                <a:gd name="T62" fmla="*/ 156 w 322"/>
                <a:gd name="T63" fmla="*/ 390 h 449"/>
                <a:gd name="T64" fmla="*/ 136 w 322"/>
                <a:gd name="T65" fmla="*/ 429 h 449"/>
                <a:gd name="T66" fmla="*/ 107 w 322"/>
                <a:gd name="T67" fmla="*/ 429 h 449"/>
                <a:gd name="T68" fmla="*/ 87 w 322"/>
                <a:gd name="T69" fmla="*/ 419 h 449"/>
                <a:gd name="T70" fmla="*/ 48 w 322"/>
                <a:gd name="T71" fmla="*/ 429 h 449"/>
                <a:gd name="T72" fmla="*/ 68 w 322"/>
                <a:gd name="T73" fmla="*/ 449 h 449"/>
                <a:gd name="T74" fmla="*/ 29 w 322"/>
                <a:gd name="T75" fmla="*/ 449 h 449"/>
                <a:gd name="T76" fmla="*/ 0 w 322"/>
                <a:gd name="T77" fmla="*/ 419 h 449"/>
                <a:gd name="T78" fmla="*/ 9 w 322"/>
                <a:gd name="T79" fmla="*/ 400 h 449"/>
                <a:gd name="T80" fmla="*/ 0 w 322"/>
                <a:gd name="T81" fmla="*/ 380 h 449"/>
                <a:gd name="T82" fmla="*/ 29 w 322"/>
                <a:gd name="T83" fmla="*/ 370 h 449"/>
                <a:gd name="T84" fmla="*/ 48 w 322"/>
                <a:gd name="T85" fmla="*/ 351 h 449"/>
                <a:gd name="T86" fmla="*/ 68 w 322"/>
                <a:gd name="T87" fmla="*/ 351 h 449"/>
                <a:gd name="T88" fmla="*/ 87 w 322"/>
                <a:gd name="T89" fmla="*/ 322 h 449"/>
                <a:gd name="T90" fmla="*/ 117 w 322"/>
                <a:gd name="T91" fmla="*/ 302 h 449"/>
                <a:gd name="T92" fmla="*/ 97 w 322"/>
                <a:gd name="T93" fmla="*/ 283 h 449"/>
                <a:gd name="T94" fmla="*/ 87 w 322"/>
                <a:gd name="T95" fmla="*/ 263 h 449"/>
                <a:gd name="T96" fmla="*/ 107 w 322"/>
                <a:gd name="T97" fmla="*/ 263 h 449"/>
                <a:gd name="T98" fmla="*/ 107 w 322"/>
                <a:gd name="T99" fmla="*/ 234 h 449"/>
                <a:gd name="T100" fmla="*/ 97 w 322"/>
                <a:gd name="T101" fmla="*/ 224 h 449"/>
                <a:gd name="T102" fmla="*/ 117 w 322"/>
                <a:gd name="T103" fmla="*/ 195 h 449"/>
                <a:gd name="T104" fmla="*/ 126 w 322"/>
                <a:gd name="T105" fmla="*/ 166 h 449"/>
                <a:gd name="T106" fmla="*/ 126 w 322"/>
                <a:gd name="T107" fmla="*/ 156 h 449"/>
                <a:gd name="T108" fmla="*/ 136 w 322"/>
                <a:gd name="T109" fmla="*/ 136 h 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2"/>
                <a:gd name="T166" fmla="*/ 0 h 449"/>
                <a:gd name="T167" fmla="*/ 322 w 322"/>
                <a:gd name="T168" fmla="*/ 449 h 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2" h="449">
                  <a:moveTo>
                    <a:pt x="136" y="136"/>
                  </a:moveTo>
                  <a:lnTo>
                    <a:pt x="126" y="136"/>
                  </a:lnTo>
                  <a:lnTo>
                    <a:pt x="126" y="127"/>
                  </a:lnTo>
                  <a:lnTo>
                    <a:pt x="117" y="107"/>
                  </a:lnTo>
                  <a:lnTo>
                    <a:pt x="107" y="127"/>
                  </a:lnTo>
                  <a:lnTo>
                    <a:pt x="97" y="127"/>
                  </a:lnTo>
                  <a:lnTo>
                    <a:pt x="97" y="117"/>
                  </a:lnTo>
                  <a:lnTo>
                    <a:pt x="117" y="97"/>
                  </a:lnTo>
                  <a:lnTo>
                    <a:pt x="117" y="78"/>
                  </a:lnTo>
                  <a:lnTo>
                    <a:pt x="126" y="68"/>
                  </a:lnTo>
                  <a:lnTo>
                    <a:pt x="117" y="19"/>
                  </a:lnTo>
                  <a:lnTo>
                    <a:pt x="126" y="19"/>
                  </a:lnTo>
                  <a:lnTo>
                    <a:pt x="136" y="0"/>
                  </a:lnTo>
                  <a:lnTo>
                    <a:pt x="146" y="19"/>
                  </a:lnTo>
                  <a:lnTo>
                    <a:pt x="146" y="3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85" y="68"/>
                  </a:lnTo>
                  <a:lnTo>
                    <a:pt x="205" y="68"/>
                  </a:lnTo>
                  <a:lnTo>
                    <a:pt x="205" y="58"/>
                  </a:lnTo>
                  <a:lnTo>
                    <a:pt x="205" y="39"/>
                  </a:lnTo>
                  <a:lnTo>
                    <a:pt x="214" y="39"/>
                  </a:lnTo>
                  <a:lnTo>
                    <a:pt x="224" y="48"/>
                  </a:lnTo>
                  <a:lnTo>
                    <a:pt x="234" y="68"/>
                  </a:lnTo>
                  <a:lnTo>
                    <a:pt x="244" y="68"/>
                  </a:lnTo>
                  <a:lnTo>
                    <a:pt x="263" y="68"/>
                  </a:lnTo>
                  <a:lnTo>
                    <a:pt x="273" y="68"/>
                  </a:lnTo>
                  <a:lnTo>
                    <a:pt x="273" y="78"/>
                  </a:lnTo>
                  <a:lnTo>
                    <a:pt x="283" y="78"/>
                  </a:lnTo>
                  <a:lnTo>
                    <a:pt x="292" y="88"/>
                  </a:lnTo>
                  <a:lnTo>
                    <a:pt x="302" y="88"/>
                  </a:lnTo>
                  <a:lnTo>
                    <a:pt x="302" y="97"/>
                  </a:lnTo>
                  <a:lnTo>
                    <a:pt x="292" y="107"/>
                  </a:lnTo>
                  <a:lnTo>
                    <a:pt x="302" y="117"/>
                  </a:lnTo>
                  <a:lnTo>
                    <a:pt x="302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66"/>
                  </a:lnTo>
                  <a:lnTo>
                    <a:pt x="312" y="185"/>
                  </a:lnTo>
                  <a:lnTo>
                    <a:pt x="312" y="205"/>
                  </a:lnTo>
                  <a:lnTo>
                    <a:pt x="302" y="224"/>
                  </a:lnTo>
                  <a:lnTo>
                    <a:pt x="302" y="234"/>
                  </a:lnTo>
                  <a:lnTo>
                    <a:pt x="312" y="263"/>
                  </a:lnTo>
                  <a:lnTo>
                    <a:pt x="322" y="263"/>
                  </a:lnTo>
                  <a:lnTo>
                    <a:pt x="322" y="283"/>
                  </a:lnTo>
                  <a:lnTo>
                    <a:pt x="312" y="292"/>
                  </a:lnTo>
                  <a:lnTo>
                    <a:pt x="292" y="292"/>
                  </a:lnTo>
                  <a:lnTo>
                    <a:pt x="292" y="312"/>
                  </a:lnTo>
                  <a:lnTo>
                    <a:pt x="283" y="322"/>
                  </a:lnTo>
                  <a:lnTo>
                    <a:pt x="273" y="331"/>
                  </a:lnTo>
                  <a:lnTo>
                    <a:pt x="253" y="341"/>
                  </a:lnTo>
                  <a:lnTo>
                    <a:pt x="244" y="341"/>
                  </a:lnTo>
                  <a:lnTo>
                    <a:pt x="224" y="351"/>
                  </a:lnTo>
                  <a:lnTo>
                    <a:pt x="214" y="361"/>
                  </a:lnTo>
                  <a:lnTo>
                    <a:pt x="195" y="370"/>
                  </a:lnTo>
                  <a:lnTo>
                    <a:pt x="195" y="380"/>
                  </a:lnTo>
                  <a:lnTo>
                    <a:pt x="195" y="390"/>
                  </a:lnTo>
                  <a:lnTo>
                    <a:pt x="185" y="390"/>
                  </a:lnTo>
                  <a:lnTo>
                    <a:pt x="166" y="390"/>
                  </a:lnTo>
                  <a:lnTo>
                    <a:pt x="156" y="390"/>
                  </a:lnTo>
                  <a:lnTo>
                    <a:pt x="156" y="419"/>
                  </a:lnTo>
                  <a:lnTo>
                    <a:pt x="136" y="429"/>
                  </a:lnTo>
                  <a:lnTo>
                    <a:pt x="126" y="439"/>
                  </a:lnTo>
                  <a:lnTo>
                    <a:pt x="107" y="429"/>
                  </a:lnTo>
                  <a:lnTo>
                    <a:pt x="87" y="429"/>
                  </a:lnTo>
                  <a:lnTo>
                    <a:pt x="87" y="419"/>
                  </a:lnTo>
                  <a:lnTo>
                    <a:pt x="68" y="419"/>
                  </a:lnTo>
                  <a:lnTo>
                    <a:pt x="48" y="429"/>
                  </a:lnTo>
                  <a:lnTo>
                    <a:pt x="58" y="439"/>
                  </a:lnTo>
                  <a:lnTo>
                    <a:pt x="68" y="449"/>
                  </a:lnTo>
                  <a:lnTo>
                    <a:pt x="39" y="439"/>
                  </a:lnTo>
                  <a:lnTo>
                    <a:pt x="29" y="449"/>
                  </a:lnTo>
                  <a:lnTo>
                    <a:pt x="0" y="429"/>
                  </a:lnTo>
                  <a:lnTo>
                    <a:pt x="0" y="419"/>
                  </a:lnTo>
                  <a:lnTo>
                    <a:pt x="19" y="409"/>
                  </a:lnTo>
                  <a:lnTo>
                    <a:pt x="9" y="400"/>
                  </a:lnTo>
                  <a:lnTo>
                    <a:pt x="0" y="390"/>
                  </a:lnTo>
                  <a:lnTo>
                    <a:pt x="0" y="380"/>
                  </a:lnTo>
                  <a:lnTo>
                    <a:pt x="19" y="370"/>
                  </a:lnTo>
                  <a:lnTo>
                    <a:pt x="29" y="370"/>
                  </a:lnTo>
                  <a:lnTo>
                    <a:pt x="48" y="351"/>
                  </a:lnTo>
                  <a:lnTo>
                    <a:pt x="58" y="351"/>
                  </a:lnTo>
                  <a:lnTo>
                    <a:pt x="68" y="351"/>
                  </a:lnTo>
                  <a:lnTo>
                    <a:pt x="78" y="341"/>
                  </a:lnTo>
                  <a:lnTo>
                    <a:pt x="87" y="322"/>
                  </a:lnTo>
                  <a:lnTo>
                    <a:pt x="97" y="312"/>
                  </a:lnTo>
                  <a:lnTo>
                    <a:pt x="117" y="302"/>
                  </a:lnTo>
                  <a:lnTo>
                    <a:pt x="117" y="292"/>
                  </a:lnTo>
                  <a:lnTo>
                    <a:pt x="97" y="283"/>
                  </a:lnTo>
                  <a:lnTo>
                    <a:pt x="87" y="273"/>
                  </a:lnTo>
                  <a:lnTo>
                    <a:pt x="87" y="263"/>
                  </a:lnTo>
                  <a:lnTo>
                    <a:pt x="97" y="263"/>
                  </a:lnTo>
                  <a:lnTo>
                    <a:pt x="107" y="263"/>
                  </a:lnTo>
                  <a:lnTo>
                    <a:pt x="107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97" y="224"/>
                  </a:lnTo>
                  <a:lnTo>
                    <a:pt x="97" y="205"/>
                  </a:lnTo>
                  <a:lnTo>
                    <a:pt x="117" y="195"/>
                  </a:lnTo>
                  <a:lnTo>
                    <a:pt x="126" y="195"/>
                  </a:lnTo>
                  <a:lnTo>
                    <a:pt x="126" y="166"/>
                  </a:lnTo>
                  <a:lnTo>
                    <a:pt x="126" y="156"/>
                  </a:lnTo>
                  <a:lnTo>
                    <a:pt x="136" y="146"/>
                  </a:lnTo>
                  <a:lnTo>
                    <a:pt x="136" y="13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9" name="Freeform 234"/>
            <p:cNvSpPr>
              <a:spLocks/>
            </p:cNvSpPr>
            <p:nvPr/>
          </p:nvSpPr>
          <p:spPr bwMode="auto">
            <a:xfrm>
              <a:off x="1891" y="1650"/>
              <a:ext cx="273" cy="232"/>
            </a:xfrm>
            <a:custGeom>
              <a:avLst/>
              <a:gdLst>
                <a:gd name="T0" fmla="*/ 273 w 273"/>
                <a:gd name="T1" fmla="*/ 156 h 234"/>
                <a:gd name="T2" fmla="*/ 264 w 273"/>
                <a:gd name="T3" fmla="*/ 166 h 234"/>
                <a:gd name="T4" fmla="*/ 244 w 273"/>
                <a:gd name="T5" fmla="*/ 176 h 234"/>
                <a:gd name="T6" fmla="*/ 225 w 273"/>
                <a:gd name="T7" fmla="*/ 176 h 234"/>
                <a:gd name="T8" fmla="*/ 215 w 273"/>
                <a:gd name="T9" fmla="*/ 185 h 234"/>
                <a:gd name="T10" fmla="*/ 205 w 273"/>
                <a:gd name="T11" fmla="*/ 195 h 234"/>
                <a:gd name="T12" fmla="*/ 195 w 273"/>
                <a:gd name="T13" fmla="*/ 195 h 234"/>
                <a:gd name="T14" fmla="*/ 186 w 273"/>
                <a:gd name="T15" fmla="*/ 195 h 234"/>
                <a:gd name="T16" fmla="*/ 176 w 273"/>
                <a:gd name="T17" fmla="*/ 215 h 234"/>
                <a:gd name="T18" fmla="*/ 166 w 273"/>
                <a:gd name="T19" fmla="*/ 224 h 234"/>
                <a:gd name="T20" fmla="*/ 156 w 273"/>
                <a:gd name="T21" fmla="*/ 224 h 234"/>
                <a:gd name="T22" fmla="*/ 147 w 273"/>
                <a:gd name="T23" fmla="*/ 224 h 234"/>
                <a:gd name="T24" fmla="*/ 137 w 273"/>
                <a:gd name="T25" fmla="*/ 234 h 234"/>
                <a:gd name="T26" fmla="*/ 127 w 273"/>
                <a:gd name="T27" fmla="*/ 234 h 234"/>
                <a:gd name="T28" fmla="*/ 127 w 273"/>
                <a:gd name="T29" fmla="*/ 215 h 234"/>
                <a:gd name="T30" fmla="*/ 108 w 273"/>
                <a:gd name="T31" fmla="*/ 205 h 234"/>
                <a:gd name="T32" fmla="*/ 98 w 273"/>
                <a:gd name="T33" fmla="*/ 205 h 234"/>
                <a:gd name="T34" fmla="*/ 88 w 273"/>
                <a:gd name="T35" fmla="*/ 205 h 234"/>
                <a:gd name="T36" fmla="*/ 78 w 273"/>
                <a:gd name="T37" fmla="*/ 215 h 234"/>
                <a:gd name="T38" fmla="*/ 59 w 273"/>
                <a:gd name="T39" fmla="*/ 215 h 234"/>
                <a:gd name="T40" fmla="*/ 49 w 273"/>
                <a:gd name="T41" fmla="*/ 215 h 234"/>
                <a:gd name="T42" fmla="*/ 30 w 273"/>
                <a:gd name="T43" fmla="*/ 215 h 234"/>
                <a:gd name="T44" fmla="*/ 0 w 273"/>
                <a:gd name="T45" fmla="*/ 185 h 234"/>
                <a:gd name="T46" fmla="*/ 0 w 273"/>
                <a:gd name="T47" fmla="*/ 176 h 234"/>
                <a:gd name="T48" fmla="*/ 0 w 273"/>
                <a:gd name="T49" fmla="*/ 166 h 234"/>
                <a:gd name="T50" fmla="*/ 30 w 273"/>
                <a:gd name="T51" fmla="*/ 146 h 234"/>
                <a:gd name="T52" fmla="*/ 49 w 273"/>
                <a:gd name="T53" fmla="*/ 127 h 234"/>
                <a:gd name="T54" fmla="*/ 59 w 273"/>
                <a:gd name="T55" fmla="*/ 127 h 234"/>
                <a:gd name="T56" fmla="*/ 69 w 273"/>
                <a:gd name="T57" fmla="*/ 117 h 234"/>
                <a:gd name="T58" fmla="*/ 59 w 273"/>
                <a:gd name="T59" fmla="*/ 107 h 234"/>
                <a:gd name="T60" fmla="*/ 59 w 273"/>
                <a:gd name="T61" fmla="*/ 88 h 234"/>
                <a:gd name="T62" fmla="*/ 78 w 273"/>
                <a:gd name="T63" fmla="*/ 68 h 234"/>
                <a:gd name="T64" fmla="*/ 88 w 273"/>
                <a:gd name="T65" fmla="*/ 58 h 234"/>
                <a:gd name="T66" fmla="*/ 88 w 273"/>
                <a:gd name="T67" fmla="*/ 29 h 234"/>
                <a:gd name="T68" fmla="*/ 108 w 273"/>
                <a:gd name="T69" fmla="*/ 29 h 234"/>
                <a:gd name="T70" fmla="*/ 117 w 273"/>
                <a:gd name="T71" fmla="*/ 29 h 234"/>
                <a:gd name="T72" fmla="*/ 108 w 273"/>
                <a:gd name="T73" fmla="*/ 19 h 234"/>
                <a:gd name="T74" fmla="*/ 127 w 273"/>
                <a:gd name="T75" fmla="*/ 10 h 234"/>
                <a:gd name="T76" fmla="*/ 147 w 273"/>
                <a:gd name="T77" fmla="*/ 0 h 234"/>
                <a:gd name="T78" fmla="*/ 137 w 273"/>
                <a:gd name="T79" fmla="*/ 10 h 234"/>
                <a:gd name="T80" fmla="*/ 147 w 273"/>
                <a:gd name="T81" fmla="*/ 19 h 234"/>
                <a:gd name="T82" fmla="*/ 156 w 273"/>
                <a:gd name="T83" fmla="*/ 19 h 234"/>
                <a:gd name="T84" fmla="*/ 166 w 273"/>
                <a:gd name="T85" fmla="*/ 19 h 234"/>
                <a:gd name="T86" fmla="*/ 176 w 273"/>
                <a:gd name="T87" fmla="*/ 19 h 234"/>
                <a:gd name="T88" fmla="*/ 195 w 273"/>
                <a:gd name="T89" fmla="*/ 29 h 234"/>
                <a:gd name="T90" fmla="*/ 215 w 273"/>
                <a:gd name="T91" fmla="*/ 39 h 234"/>
                <a:gd name="T92" fmla="*/ 225 w 273"/>
                <a:gd name="T93" fmla="*/ 58 h 234"/>
                <a:gd name="T94" fmla="*/ 225 w 273"/>
                <a:gd name="T95" fmla="*/ 58 h 234"/>
                <a:gd name="T96" fmla="*/ 244 w 273"/>
                <a:gd name="T97" fmla="*/ 58 h 234"/>
                <a:gd name="T98" fmla="*/ 254 w 273"/>
                <a:gd name="T99" fmla="*/ 58 h 234"/>
                <a:gd name="T100" fmla="*/ 264 w 273"/>
                <a:gd name="T101" fmla="*/ 78 h 234"/>
                <a:gd name="T102" fmla="*/ 264 w 273"/>
                <a:gd name="T103" fmla="*/ 97 h 234"/>
                <a:gd name="T104" fmla="*/ 254 w 273"/>
                <a:gd name="T105" fmla="*/ 127 h 234"/>
                <a:gd name="T106" fmla="*/ 264 w 273"/>
                <a:gd name="T107" fmla="*/ 136 h 234"/>
                <a:gd name="T108" fmla="*/ 264 w 273"/>
                <a:gd name="T109" fmla="*/ 146 h 234"/>
                <a:gd name="T110" fmla="*/ 273 w 273"/>
                <a:gd name="T111" fmla="*/ 156 h 23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73"/>
                <a:gd name="T169" fmla="*/ 0 h 234"/>
                <a:gd name="T170" fmla="*/ 273 w 273"/>
                <a:gd name="T171" fmla="*/ 234 h 23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73" h="234">
                  <a:moveTo>
                    <a:pt x="273" y="156"/>
                  </a:moveTo>
                  <a:lnTo>
                    <a:pt x="264" y="166"/>
                  </a:lnTo>
                  <a:lnTo>
                    <a:pt x="244" y="176"/>
                  </a:lnTo>
                  <a:lnTo>
                    <a:pt x="225" y="176"/>
                  </a:lnTo>
                  <a:lnTo>
                    <a:pt x="215" y="185"/>
                  </a:lnTo>
                  <a:lnTo>
                    <a:pt x="205" y="195"/>
                  </a:lnTo>
                  <a:lnTo>
                    <a:pt x="195" y="195"/>
                  </a:lnTo>
                  <a:lnTo>
                    <a:pt x="186" y="195"/>
                  </a:lnTo>
                  <a:lnTo>
                    <a:pt x="176" y="215"/>
                  </a:lnTo>
                  <a:lnTo>
                    <a:pt x="166" y="224"/>
                  </a:lnTo>
                  <a:lnTo>
                    <a:pt x="156" y="224"/>
                  </a:lnTo>
                  <a:lnTo>
                    <a:pt x="147" y="224"/>
                  </a:lnTo>
                  <a:lnTo>
                    <a:pt x="137" y="234"/>
                  </a:lnTo>
                  <a:lnTo>
                    <a:pt x="127" y="234"/>
                  </a:lnTo>
                  <a:lnTo>
                    <a:pt x="127" y="215"/>
                  </a:lnTo>
                  <a:lnTo>
                    <a:pt x="108" y="205"/>
                  </a:lnTo>
                  <a:lnTo>
                    <a:pt x="98" y="205"/>
                  </a:lnTo>
                  <a:lnTo>
                    <a:pt x="88" y="205"/>
                  </a:lnTo>
                  <a:lnTo>
                    <a:pt x="78" y="215"/>
                  </a:lnTo>
                  <a:lnTo>
                    <a:pt x="59" y="21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0" y="185"/>
                  </a:lnTo>
                  <a:lnTo>
                    <a:pt x="0" y="176"/>
                  </a:lnTo>
                  <a:lnTo>
                    <a:pt x="0" y="166"/>
                  </a:lnTo>
                  <a:lnTo>
                    <a:pt x="30" y="146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69" y="117"/>
                  </a:lnTo>
                  <a:lnTo>
                    <a:pt x="59" y="107"/>
                  </a:lnTo>
                  <a:lnTo>
                    <a:pt x="59" y="88"/>
                  </a:lnTo>
                  <a:lnTo>
                    <a:pt x="78" y="68"/>
                  </a:lnTo>
                  <a:lnTo>
                    <a:pt x="88" y="58"/>
                  </a:lnTo>
                  <a:lnTo>
                    <a:pt x="88" y="29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08" y="19"/>
                  </a:lnTo>
                  <a:lnTo>
                    <a:pt x="127" y="10"/>
                  </a:lnTo>
                  <a:lnTo>
                    <a:pt x="147" y="0"/>
                  </a:lnTo>
                  <a:lnTo>
                    <a:pt x="137" y="10"/>
                  </a:lnTo>
                  <a:lnTo>
                    <a:pt x="147" y="19"/>
                  </a:lnTo>
                  <a:lnTo>
                    <a:pt x="156" y="19"/>
                  </a:lnTo>
                  <a:lnTo>
                    <a:pt x="166" y="19"/>
                  </a:lnTo>
                  <a:lnTo>
                    <a:pt x="176" y="19"/>
                  </a:lnTo>
                  <a:lnTo>
                    <a:pt x="195" y="29"/>
                  </a:lnTo>
                  <a:lnTo>
                    <a:pt x="215" y="39"/>
                  </a:lnTo>
                  <a:lnTo>
                    <a:pt x="225" y="58"/>
                  </a:lnTo>
                  <a:lnTo>
                    <a:pt x="244" y="58"/>
                  </a:lnTo>
                  <a:lnTo>
                    <a:pt x="254" y="58"/>
                  </a:lnTo>
                  <a:lnTo>
                    <a:pt x="264" y="78"/>
                  </a:lnTo>
                  <a:lnTo>
                    <a:pt x="264" y="97"/>
                  </a:lnTo>
                  <a:lnTo>
                    <a:pt x="254" y="127"/>
                  </a:lnTo>
                  <a:lnTo>
                    <a:pt x="264" y="136"/>
                  </a:lnTo>
                  <a:lnTo>
                    <a:pt x="264" y="146"/>
                  </a:lnTo>
                  <a:lnTo>
                    <a:pt x="273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97" name="Group 231"/>
            <p:cNvGrpSpPr>
              <a:grpSpLocks/>
            </p:cNvGrpSpPr>
            <p:nvPr/>
          </p:nvGrpSpPr>
          <p:grpSpPr bwMode="auto">
            <a:xfrm>
              <a:off x="3863" y="917"/>
              <a:ext cx="624" cy="205"/>
              <a:chOff x="3863" y="917"/>
              <a:chExt cx="624" cy="205"/>
            </a:xfrm>
          </p:grpSpPr>
          <p:sp>
            <p:nvSpPr>
              <p:cNvPr id="349" name="Freeform 233"/>
              <p:cNvSpPr>
                <a:spLocks/>
              </p:cNvSpPr>
              <p:nvPr/>
            </p:nvSpPr>
            <p:spPr bwMode="auto">
              <a:xfrm>
                <a:off x="3864" y="918"/>
                <a:ext cx="625" cy="203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0" name="Freeform 232"/>
              <p:cNvSpPr>
                <a:spLocks/>
              </p:cNvSpPr>
              <p:nvPr/>
            </p:nvSpPr>
            <p:spPr bwMode="auto">
              <a:xfrm>
                <a:off x="3864" y="918"/>
                <a:ext cx="625" cy="203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198" name="Group 228"/>
            <p:cNvGrpSpPr>
              <a:grpSpLocks/>
            </p:cNvGrpSpPr>
            <p:nvPr/>
          </p:nvGrpSpPr>
          <p:grpSpPr bwMode="auto">
            <a:xfrm>
              <a:off x="3648" y="1054"/>
              <a:ext cx="263" cy="322"/>
              <a:chOff x="3648" y="1054"/>
              <a:chExt cx="263" cy="322"/>
            </a:xfrm>
          </p:grpSpPr>
          <p:sp>
            <p:nvSpPr>
              <p:cNvPr id="347" name="Freeform 230"/>
              <p:cNvSpPr>
                <a:spLocks/>
              </p:cNvSpPr>
              <p:nvPr/>
            </p:nvSpPr>
            <p:spPr bwMode="auto">
              <a:xfrm>
                <a:off x="3647" y="1054"/>
                <a:ext cx="265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8" name="Freeform 229"/>
              <p:cNvSpPr>
                <a:spLocks/>
              </p:cNvSpPr>
              <p:nvPr/>
            </p:nvSpPr>
            <p:spPr bwMode="auto">
              <a:xfrm>
                <a:off x="3647" y="1054"/>
                <a:ext cx="265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199" name="Group 225"/>
            <p:cNvGrpSpPr>
              <a:grpSpLocks/>
            </p:cNvGrpSpPr>
            <p:nvPr/>
          </p:nvGrpSpPr>
          <p:grpSpPr bwMode="auto">
            <a:xfrm>
              <a:off x="3755" y="1424"/>
              <a:ext cx="59" cy="98"/>
              <a:chOff x="3755" y="1424"/>
              <a:chExt cx="59" cy="98"/>
            </a:xfrm>
          </p:grpSpPr>
          <p:sp>
            <p:nvSpPr>
              <p:cNvPr id="345" name="Freeform 227"/>
              <p:cNvSpPr>
                <a:spLocks/>
              </p:cNvSpPr>
              <p:nvPr/>
            </p:nvSpPr>
            <p:spPr bwMode="auto">
              <a:xfrm>
                <a:off x="3754" y="1423"/>
                <a:ext cx="59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6" name="Freeform 226"/>
              <p:cNvSpPr>
                <a:spLocks/>
              </p:cNvSpPr>
              <p:nvPr/>
            </p:nvSpPr>
            <p:spPr bwMode="auto">
              <a:xfrm>
                <a:off x="3754" y="1423"/>
                <a:ext cx="59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200" name="Group 222"/>
            <p:cNvGrpSpPr>
              <a:grpSpLocks/>
            </p:cNvGrpSpPr>
            <p:nvPr/>
          </p:nvGrpSpPr>
          <p:grpSpPr bwMode="auto">
            <a:xfrm>
              <a:off x="6720" y="1395"/>
              <a:ext cx="19" cy="20"/>
              <a:chOff x="6721" y="1395"/>
              <a:chExt cx="19" cy="20"/>
            </a:xfrm>
          </p:grpSpPr>
          <p:sp>
            <p:nvSpPr>
              <p:cNvPr id="343" name="Freeform 224"/>
              <p:cNvSpPr>
                <a:spLocks/>
              </p:cNvSpPr>
              <p:nvPr/>
            </p:nvSpPr>
            <p:spPr bwMode="auto">
              <a:xfrm>
                <a:off x="6721" y="1394"/>
                <a:ext cx="20" cy="20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4" name="Freeform 223"/>
              <p:cNvSpPr>
                <a:spLocks/>
              </p:cNvSpPr>
              <p:nvPr/>
            </p:nvSpPr>
            <p:spPr bwMode="auto">
              <a:xfrm>
                <a:off x="6721" y="1394"/>
                <a:ext cx="20" cy="20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44" name="Freeform 221"/>
            <p:cNvSpPr>
              <a:spLocks/>
            </p:cNvSpPr>
            <p:nvPr/>
          </p:nvSpPr>
          <p:spPr bwMode="auto">
            <a:xfrm>
              <a:off x="1736" y="1815"/>
              <a:ext cx="79" cy="58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02" name="Group 218"/>
            <p:cNvGrpSpPr>
              <a:grpSpLocks/>
            </p:cNvGrpSpPr>
            <p:nvPr/>
          </p:nvGrpSpPr>
          <p:grpSpPr bwMode="auto">
            <a:xfrm>
              <a:off x="1736" y="1815"/>
              <a:ext cx="78" cy="58"/>
              <a:chOff x="1736" y="1815"/>
              <a:chExt cx="78" cy="58"/>
            </a:xfrm>
          </p:grpSpPr>
          <p:sp>
            <p:nvSpPr>
              <p:cNvPr id="341" name="Freeform 220"/>
              <p:cNvSpPr>
                <a:spLocks/>
              </p:cNvSpPr>
              <p:nvPr/>
            </p:nvSpPr>
            <p:spPr bwMode="auto">
              <a:xfrm>
                <a:off x="1736" y="1815"/>
                <a:ext cx="79" cy="58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2" name="Freeform 219"/>
              <p:cNvSpPr>
                <a:spLocks/>
              </p:cNvSpPr>
              <p:nvPr/>
            </p:nvSpPr>
            <p:spPr bwMode="auto">
              <a:xfrm>
                <a:off x="1736" y="1815"/>
                <a:ext cx="79" cy="58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46" name="Freeform 217"/>
            <p:cNvSpPr>
              <a:spLocks/>
            </p:cNvSpPr>
            <p:nvPr/>
          </p:nvSpPr>
          <p:spPr bwMode="auto">
            <a:xfrm>
              <a:off x="2566" y="2750"/>
              <a:ext cx="419" cy="421"/>
            </a:xfrm>
            <a:custGeom>
              <a:avLst/>
              <a:gdLst>
                <a:gd name="T0" fmla="*/ 30 w 420"/>
                <a:gd name="T1" fmla="*/ 342 h 420"/>
                <a:gd name="T2" fmla="*/ 69 w 420"/>
                <a:gd name="T3" fmla="*/ 361 h 420"/>
                <a:gd name="T4" fmla="*/ 49 w 420"/>
                <a:gd name="T5" fmla="*/ 381 h 420"/>
                <a:gd name="T6" fmla="*/ 39 w 420"/>
                <a:gd name="T7" fmla="*/ 410 h 420"/>
                <a:gd name="T8" fmla="*/ 88 w 420"/>
                <a:gd name="T9" fmla="*/ 410 h 420"/>
                <a:gd name="T10" fmla="*/ 117 w 420"/>
                <a:gd name="T11" fmla="*/ 420 h 420"/>
                <a:gd name="T12" fmla="*/ 127 w 420"/>
                <a:gd name="T13" fmla="*/ 381 h 420"/>
                <a:gd name="T14" fmla="*/ 137 w 420"/>
                <a:gd name="T15" fmla="*/ 371 h 420"/>
                <a:gd name="T16" fmla="*/ 176 w 420"/>
                <a:gd name="T17" fmla="*/ 361 h 420"/>
                <a:gd name="T18" fmla="*/ 205 w 420"/>
                <a:gd name="T19" fmla="*/ 391 h 420"/>
                <a:gd name="T20" fmla="*/ 234 w 420"/>
                <a:gd name="T21" fmla="*/ 371 h 420"/>
                <a:gd name="T22" fmla="*/ 215 w 420"/>
                <a:gd name="T23" fmla="*/ 352 h 420"/>
                <a:gd name="T24" fmla="*/ 195 w 420"/>
                <a:gd name="T25" fmla="*/ 322 h 420"/>
                <a:gd name="T26" fmla="*/ 225 w 420"/>
                <a:gd name="T27" fmla="*/ 332 h 420"/>
                <a:gd name="T28" fmla="*/ 225 w 420"/>
                <a:gd name="T29" fmla="*/ 303 h 420"/>
                <a:gd name="T30" fmla="*/ 205 w 420"/>
                <a:gd name="T31" fmla="*/ 293 h 420"/>
                <a:gd name="T32" fmla="*/ 225 w 420"/>
                <a:gd name="T33" fmla="*/ 274 h 420"/>
                <a:gd name="T34" fmla="*/ 254 w 420"/>
                <a:gd name="T35" fmla="*/ 274 h 420"/>
                <a:gd name="T36" fmla="*/ 273 w 420"/>
                <a:gd name="T37" fmla="*/ 293 h 420"/>
                <a:gd name="T38" fmla="*/ 293 w 420"/>
                <a:gd name="T39" fmla="*/ 303 h 420"/>
                <a:gd name="T40" fmla="*/ 332 w 420"/>
                <a:gd name="T41" fmla="*/ 313 h 420"/>
                <a:gd name="T42" fmla="*/ 371 w 420"/>
                <a:gd name="T43" fmla="*/ 322 h 420"/>
                <a:gd name="T44" fmla="*/ 371 w 420"/>
                <a:gd name="T45" fmla="*/ 303 h 420"/>
                <a:gd name="T46" fmla="*/ 381 w 420"/>
                <a:gd name="T47" fmla="*/ 293 h 420"/>
                <a:gd name="T48" fmla="*/ 381 w 420"/>
                <a:gd name="T49" fmla="*/ 264 h 420"/>
                <a:gd name="T50" fmla="*/ 352 w 420"/>
                <a:gd name="T51" fmla="*/ 244 h 420"/>
                <a:gd name="T52" fmla="*/ 332 w 420"/>
                <a:gd name="T53" fmla="*/ 235 h 420"/>
                <a:gd name="T54" fmla="*/ 342 w 420"/>
                <a:gd name="T55" fmla="*/ 205 h 420"/>
                <a:gd name="T56" fmla="*/ 371 w 420"/>
                <a:gd name="T57" fmla="*/ 196 h 420"/>
                <a:gd name="T58" fmla="*/ 410 w 420"/>
                <a:gd name="T59" fmla="*/ 186 h 420"/>
                <a:gd name="T60" fmla="*/ 410 w 420"/>
                <a:gd name="T61" fmla="*/ 147 h 420"/>
                <a:gd name="T62" fmla="*/ 410 w 420"/>
                <a:gd name="T63" fmla="*/ 127 h 420"/>
                <a:gd name="T64" fmla="*/ 410 w 420"/>
                <a:gd name="T65" fmla="*/ 98 h 420"/>
                <a:gd name="T66" fmla="*/ 381 w 420"/>
                <a:gd name="T67" fmla="*/ 59 h 420"/>
                <a:gd name="T68" fmla="*/ 352 w 420"/>
                <a:gd name="T69" fmla="*/ 69 h 420"/>
                <a:gd name="T70" fmla="*/ 283 w 420"/>
                <a:gd name="T71" fmla="*/ 20 h 420"/>
                <a:gd name="T72" fmla="*/ 254 w 420"/>
                <a:gd name="T73" fmla="*/ 10 h 420"/>
                <a:gd name="T74" fmla="*/ 234 w 420"/>
                <a:gd name="T75" fmla="*/ 39 h 420"/>
                <a:gd name="T76" fmla="*/ 225 w 420"/>
                <a:gd name="T77" fmla="*/ 59 h 420"/>
                <a:gd name="T78" fmla="*/ 234 w 420"/>
                <a:gd name="T79" fmla="*/ 78 h 420"/>
                <a:gd name="T80" fmla="*/ 205 w 420"/>
                <a:gd name="T81" fmla="*/ 88 h 420"/>
                <a:gd name="T82" fmla="*/ 186 w 420"/>
                <a:gd name="T83" fmla="*/ 78 h 420"/>
                <a:gd name="T84" fmla="*/ 166 w 420"/>
                <a:gd name="T85" fmla="*/ 78 h 420"/>
                <a:gd name="T86" fmla="*/ 147 w 420"/>
                <a:gd name="T87" fmla="*/ 59 h 420"/>
                <a:gd name="T88" fmla="*/ 127 w 420"/>
                <a:gd name="T89" fmla="*/ 59 h 420"/>
                <a:gd name="T90" fmla="*/ 137 w 420"/>
                <a:gd name="T91" fmla="*/ 30 h 420"/>
                <a:gd name="T92" fmla="*/ 88 w 420"/>
                <a:gd name="T93" fmla="*/ 30 h 420"/>
                <a:gd name="T94" fmla="*/ 59 w 420"/>
                <a:gd name="T95" fmla="*/ 59 h 420"/>
                <a:gd name="T96" fmla="*/ 78 w 420"/>
                <a:gd name="T97" fmla="*/ 117 h 420"/>
                <a:gd name="T98" fmla="*/ 127 w 420"/>
                <a:gd name="T99" fmla="*/ 137 h 420"/>
                <a:gd name="T100" fmla="*/ 156 w 420"/>
                <a:gd name="T101" fmla="*/ 137 h 420"/>
                <a:gd name="T102" fmla="*/ 205 w 420"/>
                <a:gd name="T103" fmla="*/ 137 h 420"/>
                <a:gd name="T104" fmla="*/ 215 w 420"/>
                <a:gd name="T105" fmla="*/ 147 h 420"/>
                <a:gd name="T106" fmla="*/ 186 w 420"/>
                <a:gd name="T107" fmla="*/ 176 h 420"/>
                <a:gd name="T108" fmla="*/ 156 w 420"/>
                <a:gd name="T109" fmla="*/ 196 h 420"/>
                <a:gd name="T110" fmla="*/ 127 w 420"/>
                <a:gd name="T111" fmla="*/ 186 h 420"/>
                <a:gd name="T112" fmla="*/ 98 w 420"/>
                <a:gd name="T113" fmla="*/ 205 h 420"/>
                <a:gd name="T114" fmla="*/ 69 w 420"/>
                <a:gd name="T115" fmla="*/ 215 h 420"/>
                <a:gd name="T116" fmla="*/ 39 w 420"/>
                <a:gd name="T117" fmla="*/ 264 h 420"/>
                <a:gd name="T118" fmla="*/ 39 w 420"/>
                <a:gd name="T119" fmla="*/ 274 h 420"/>
                <a:gd name="T120" fmla="*/ 10 w 420"/>
                <a:gd name="T121" fmla="*/ 293 h 420"/>
                <a:gd name="T122" fmla="*/ 10 w 420"/>
                <a:gd name="T123" fmla="*/ 332 h 420"/>
                <a:gd name="T124" fmla="*/ 20 w 420"/>
                <a:gd name="T125" fmla="*/ 342 h 4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0"/>
                <a:gd name="T190" fmla="*/ 0 h 420"/>
                <a:gd name="T191" fmla="*/ 420 w 420"/>
                <a:gd name="T192" fmla="*/ 420 h 4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0" h="420">
                  <a:moveTo>
                    <a:pt x="20" y="342"/>
                  </a:moveTo>
                  <a:lnTo>
                    <a:pt x="30" y="342"/>
                  </a:lnTo>
                  <a:lnTo>
                    <a:pt x="59" y="352"/>
                  </a:lnTo>
                  <a:lnTo>
                    <a:pt x="69" y="361"/>
                  </a:lnTo>
                  <a:lnTo>
                    <a:pt x="69" y="381"/>
                  </a:lnTo>
                  <a:lnTo>
                    <a:pt x="49" y="381"/>
                  </a:lnTo>
                  <a:lnTo>
                    <a:pt x="30" y="391"/>
                  </a:lnTo>
                  <a:lnTo>
                    <a:pt x="39" y="410"/>
                  </a:lnTo>
                  <a:lnTo>
                    <a:pt x="69" y="410"/>
                  </a:lnTo>
                  <a:lnTo>
                    <a:pt x="88" y="410"/>
                  </a:lnTo>
                  <a:lnTo>
                    <a:pt x="108" y="420"/>
                  </a:lnTo>
                  <a:lnTo>
                    <a:pt x="117" y="420"/>
                  </a:lnTo>
                  <a:lnTo>
                    <a:pt x="127" y="400"/>
                  </a:lnTo>
                  <a:lnTo>
                    <a:pt x="127" y="381"/>
                  </a:lnTo>
                  <a:lnTo>
                    <a:pt x="127" y="361"/>
                  </a:lnTo>
                  <a:lnTo>
                    <a:pt x="137" y="371"/>
                  </a:lnTo>
                  <a:lnTo>
                    <a:pt x="156" y="371"/>
                  </a:lnTo>
                  <a:lnTo>
                    <a:pt x="176" y="361"/>
                  </a:lnTo>
                  <a:lnTo>
                    <a:pt x="186" y="371"/>
                  </a:lnTo>
                  <a:lnTo>
                    <a:pt x="205" y="391"/>
                  </a:lnTo>
                  <a:lnTo>
                    <a:pt x="225" y="391"/>
                  </a:lnTo>
                  <a:lnTo>
                    <a:pt x="234" y="371"/>
                  </a:lnTo>
                  <a:lnTo>
                    <a:pt x="225" y="361"/>
                  </a:lnTo>
                  <a:lnTo>
                    <a:pt x="215" y="352"/>
                  </a:lnTo>
                  <a:lnTo>
                    <a:pt x="186" y="332"/>
                  </a:lnTo>
                  <a:lnTo>
                    <a:pt x="195" y="322"/>
                  </a:lnTo>
                  <a:lnTo>
                    <a:pt x="205" y="322"/>
                  </a:lnTo>
                  <a:lnTo>
                    <a:pt x="225" y="332"/>
                  </a:lnTo>
                  <a:lnTo>
                    <a:pt x="225" y="322"/>
                  </a:lnTo>
                  <a:lnTo>
                    <a:pt x="225" y="303"/>
                  </a:lnTo>
                  <a:lnTo>
                    <a:pt x="205" y="303"/>
                  </a:lnTo>
                  <a:lnTo>
                    <a:pt x="205" y="293"/>
                  </a:lnTo>
                  <a:lnTo>
                    <a:pt x="215" y="283"/>
                  </a:lnTo>
                  <a:lnTo>
                    <a:pt x="225" y="274"/>
                  </a:lnTo>
                  <a:lnTo>
                    <a:pt x="244" y="274"/>
                  </a:lnTo>
                  <a:lnTo>
                    <a:pt x="254" y="274"/>
                  </a:lnTo>
                  <a:lnTo>
                    <a:pt x="254" y="293"/>
                  </a:lnTo>
                  <a:lnTo>
                    <a:pt x="273" y="293"/>
                  </a:lnTo>
                  <a:lnTo>
                    <a:pt x="283" y="313"/>
                  </a:lnTo>
                  <a:lnTo>
                    <a:pt x="293" y="303"/>
                  </a:lnTo>
                  <a:lnTo>
                    <a:pt x="312" y="313"/>
                  </a:lnTo>
                  <a:lnTo>
                    <a:pt x="332" y="313"/>
                  </a:lnTo>
                  <a:lnTo>
                    <a:pt x="352" y="322"/>
                  </a:lnTo>
                  <a:lnTo>
                    <a:pt x="371" y="322"/>
                  </a:lnTo>
                  <a:lnTo>
                    <a:pt x="381" y="332"/>
                  </a:lnTo>
                  <a:lnTo>
                    <a:pt x="371" y="303"/>
                  </a:lnTo>
                  <a:lnTo>
                    <a:pt x="371" y="293"/>
                  </a:lnTo>
                  <a:lnTo>
                    <a:pt x="381" y="293"/>
                  </a:lnTo>
                  <a:lnTo>
                    <a:pt x="391" y="274"/>
                  </a:lnTo>
                  <a:lnTo>
                    <a:pt x="381" y="264"/>
                  </a:lnTo>
                  <a:lnTo>
                    <a:pt x="361" y="264"/>
                  </a:lnTo>
                  <a:lnTo>
                    <a:pt x="352" y="244"/>
                  </a:lnTo>
                  <a:lnTo>
                    <a:pt x="332" y="244"/>
                  </a:lnTo>
                  <a:lnTo>
                    <a:pt x="332" y="235"/>
                  </a:lnTo>
                  <a:lnTo>
                    <a:pt x="342" y="225"/>
                  </a:lnTo>
                  <a:lnTo>
                    <a:pt x="342" y="205"/>
                  </a:lnTo>
                  <a:lnTo>
                    <a:pt x="361" y="205"/>
                  </a:lnTo>
                  <a:lnTo>
                    <a:pt x="371" y="196"/>
                  </a:lnTo>
                  <a:lnTo>
                    <a:pt x="371" y="186"/>
                  </a:lnTo>
                  <a:lnTo>
                    <a:pt x="410" y="186"/>
                  </a:lnTo>
                  <a:lnTo>
                    <a:pt x="410" y="166"/>
                  </a:lnTo>
                  <a:lnTo>
                    <a:pt x="410" y="147"/>
                  </a:lnTo>
                  <a:lnTo>
                    <a:pt x="420" y="137"/>
                  </a:lnTo>
                  <a:lnTo>
                    <a:pt x="410" y="127"/>
                  </a:lnTo>
                  <a:lnTo>
                    <a:pt x="420" y="108"/>
                  </a:lnTo>
                  <a:lnTo>
                    <a:pt x="410" y="98"/>
                  </a:lnTo>
                  <a:lnTo>
                    <a:pt x="400" y="78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2" y="69"/>
                  </a:lnTo>
                  <a:lnTo>
                    <a:pt x="322" y="49"/>
                  </a:lnTo>
                  <a:lnTo>
                    <a:pt x="283" y="20"/>
                  </a:lnTo>
                  <a:lnTo>
                    <a:pt x="273" y="0"/>
                  </a:lnTo>
                  <a:lnTo>
                    <a:pt x="254" y="10"/>
                  </a:lnTo>
                  <a:lnTo>
                    <a:pt x="254" y="30"/>
                  </a:lnTo>
                  <a:lnTo>
                    <a:pt x="234" y="39"/>
                  </a:lnTo>
                  <a:lnTo>
                    <a:pt x="234" y="49"/>
                  </a:lnTo>
                  <a:lnTo>
                    <a:pt x="225" y="59"/>
                  </a:lnTo>
                  <a:lnTo>
                    <a:pt x="234" y="59"/>
                  </a:lnTo>
                  <a:lnTo>
                    <a:pt x="234" y="78"/>
                  </a:lnTo>
                  <a:lnTo>
                    <a:pt x="205" y="69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186" y="78"/>
                  </a:lnTo>
                  <a:lnTo>
                    <a:pt x="176" y="78"/>
                  </a:lnTo>
                  <a:lnTo>
                    <a:pt x="166" y="78"/>
                  </a:lnTo>
                  <a:lnTo>
                    <a:pt x="147" y="78"/>
                  </a:lnTo>
                  <a:lnTo>
                    <a:pt x="147" y="59"/>
                  </a:lnTo>
                  <a:lnTo>
                    <a:pt x="127" y="69"/>
                  </a:lnTo>
                  <a:lnTo>
                    <a:pt x="127" y="59"/>
                  </a:lnTo>
                  <a:lnTo>
                    <a:pt x="147" y="49"/>
                  </a:lnTo>
                  <a:lnTo>
                    <a:pt x="137" y="30"/>
                  </a:lnTo>
                  <a:lnTo>
                    <a:pt x="127" y="20"/>
                  </a:lnTo>
                  <a:lnTo>
                    <a:pt x="88" y="30"/>
                  </a:lnTo>
                  <a:lnTo>
                    <a:pt x="78" y="59"/>
                  </a:lnTo>
                  <a:lnTo>
                    <a:pt x="59" y="59"/>
                  </a:lnTo>
                  <a:lnTo>
                    <a:pt x="69" y="88"/>
                  </a:lnTo>
                  <a:lnTo>
                    <a:pt x="78" y="117"/>
                  </a:lnTo>
                  <a:lnTo>
                    <a:pt x="108" y="117"/>
                  </a:lnTo>
                  <a:lnTo>
                    <a:pt x="127" y="137"/>
                  </a:lnTo>
                  <a:lnTo>
                    <a:pt x="137" y="137"/>
                  </a:lnTo>
                  <a:lnTo>
                    <a:pt x="156" y="137"/>
                  </a:lnTo>
                  <a:lnTo>
                    <a:pt x="176" y="147"/>
                  </a:lnTo>
                  <a:lnTo>
                    <a:pt x="205" y="137"/>
                  </a:lnTo>
                  <a:lnTo>
                    <a:pt x="215" y="137"/>
                  </a:lnTo>
                  <a:lnTo>
                    <a:pt x="215" y="147"/>
                  </a:lnTo>
                  <a:lnTo>
                    <a:pt x="205" y="166"/>
                  </a:lnTo>
                  <a:lnTo>
                    <a:pt x="186" y="176"/>
                  </a:lnTo>
                  <a:lnTo>
                    <a:pt x="176" y="186"/>
                  </a:lnTo>
                  <a:lnTo>
                    <a:pt x="156" y="196"/>
                  </a:lnTo>
                  <a:lnTo>
                    <a:pt x="147" y="186"/>
                  </a:lnTo>
                  <a:lnTo>
                    <a:pt x="127" y="186"/>
                  </a:lnTo>
                  <a:lnTo>
                    <a:pt x="108" y="186"/>
                  </a:lnTo>
                  <a:lnTo>
                    <a:pt x="98" y="205"/>
                  </a:lnTo>
                  <a:lnTo>
                    <a:pt x="78" y="215"/>
                  </a:lnTo>
                  <a:lnTo>
                    <a:pt x="69" y="215"/>
                  </a:lnTo>
                  <a:lnTo>
                    <a:pt x="59" y="244"/>
                  </a:lnTo>
                  <a:lnTo>
                    <a:pt x="39" y="264"/>
                  </a:lnTo>
                  <a:lnTo>
                    <a:pt x="49" y="274"/>
                  </a:lnTo>
                  <a:lnTo>
                    <a:pt x="39" y="274"/>
                  </a:lnTo>
                  <a:lnTo>
                    <a:pt x="30" y="274"/>
                  </a:lnTo>
                  <a:lnTo>
                    <a:pt x="10" y="293"/>
                  </a:lnTo>
                  <a:lnTo>
                    <a:pt x="0" y="322"/>
                  </a:lnTo>
                  <a:lnTo>
                    <a:pt x="10" y="332"/>
                  </a:lnTo>
                  <a:lnTo>
                    <a:pt x="10" y="342"/>
                  </a:lnTo>
                  <a:lnTo>
                    <a:pt x="20" y="342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7" name="Rectangle 216"/>
            <p:cNvSpPr>
              <a:spLocks noChangeArrowheads="1"/>
            </p:cNvSpPr>
            <p:nvPr/>
          </p:nvSpPr>
          <p:spPr bwMode="auto">
            <a:xfrm>
              <a:off x="2859" y="264"/>
              <a:ext cx="1697" cy="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8" name="Rectangle 212"/>
            <p:cNvSpPr>
              <a:spLocks noChangeArrowheads="1"/>
            </p:cNvSpPr>
            <p:nvPr/>
          </p:nvSpPr>
          <p:spPr bwMode="auto">
            <a:xfrm>
              <a:off x="0" y="1455"/>
              <a:ext cx="1404" cy="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9" name="Rectangle 211"/>
            <p:cNvSpPr>
              <a:spLocks noChangeArrowheads="1"/>
            </p:cNvSpPr>
            <p:nvPr/>
          </p:nvSpPr>
          <p:spPr bwMode="auto">
            <a:xfrm>
              <a:off x="487" y="3523"/>
              <a:ext cx="1404" cy="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0" name="Rectangle 210"/>
            <p:cNvSpPr>
              <a:spLocks noChangeArrowheads="1"/>
            </p:cNvSpPr>
            <p:nvPr/>
          </p:nvSpPr>
          <p:spPr bwMode="auto">
            <a:xfrm>
              <a:off x="1657" y="3328"/>
              <a:ext cx="1407" cy="3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1" name="Rectangle 208"/>
            <p:cNvSpPr>
              <a:spLocks noChangeArrowheads="1"/>
            </p:cNvSpPr>
            <p:nvPr/>
          </p:nvSpPr>
          <p:spPr bwMode="auto">
            <a:xfrm>
              <a:off x="3745" y="1170"/>
              <a:ext cx="1404" cy="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2" name="Rectangle 207"/>
            <p:cNvSpPr>
              <a:spLocks noChangeArrowheads="1"/>
            </p:cNvSpPr>
            <p:nvPr/>
          </p:nvSpPr>
          <p:spPr bwMode="auto">
            <a:xfrm>
              <a:off x="4964" y="4263"/>
              <a:ext cx="1404" cy="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3" name="Rectangle 204"/>
            <p:cNvSpPr>
              <a:spLocks noChangeArrowheads="1"/>
            </p:cNvSpPr>
            <p:nvPr/>
          </p:nvSpPr>
          <p:spPr bwMode="auto">
            <a:xfrm>
              <a:off x="6300" y="566"/>
              <a:ext cx="1404" cy="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4" name="Freeform 202"/>
            <p:cNvSpPr>
              <a:spLocks/>
            </p:cNvSpPr>
            <p:nvPr/>
          </p:nvSpPr>
          <p:spPr bwMode="auto">
            <a:xfrm>
              <a:off x="1249" y="2390"/>
              <a:ext cx="495" cy="447"/>
            </a:xfrm>
            <a:custGeom>
              <a:avLst/>
              <a:gdLst/>
              <a:ahLst/>
              <a:cxnLst>
                <a:cxn ang="0">
                  <a:pos x="185" y="39"/>
                </a:cxn>
                <a:cxn ang="0">
                  <a:pos x="204" y="20"/>
                </a:cxn>
                <a:cxn ang="0">
                  <a:pos x="214" y="10"/>
                </a:cxn>
                <a:cxn ang="0">
                  <a:pos x="243" y="0"/>
                </a:cxn>
                <a:cxn ang="0">
                  <a:pos x="282" y="10"/>
                </a:cxn>
                <a:cxn ang="0">
                  <a:pos x="341" y="59"/>
                </a:cxn>
                <a:cxn ang="0">
                  <a:pos x="351" y="88"/>
                </a:cxn>
                <a:cxn ang="0">
                  <a:pos x="370" y="108"/>
                </a:cxn>
                <a:cxn ang="0">
                  <a:pos x="380" y="117"/>
                </a:cxn>
                <a:cxn ang="0">
                  <a:pos x="390" y="137"/>
                </a:cxn>
                <a:cxn ang="0">
                  <a:pos x="438" y="157"/>
                </a:cxn>
                <a:cxn ang="0">
                  <a:pos x="419" y="215"/>
                </a:cxn>
                <a:cxn ang="0">
                  <a:pos x="399" y="244"/>
                </a:cxn>
                <a:cxn ang="0">
                  <a:pos x="429" y="254"/>
                </a:cxn>
                <a:cxn ang="0">
                  <a:pos x="438" y="274"/>
                </a:cxn>
                <a:cxn ang="0">
                  <a:pos x="448" y="303"/>
                </a:cxn>
                <a:cxn ang="0">
                  <a:pos x="468" y="293"/>
                </a:cxn>
                <a:cxn ang="0">
                  <a:pos x="468" y="332"/>
                </a:cxn>
                <a:cxn ang="0">
                  <a:pos x="487" y="342"/>
                </a:cxn>
                <a:cxn ang="0">
                  <a:pos x="497" y="361"/>
                </a:cxn>
                <a:cxn ang="0">
                  <a:pos x="477" y="381"/>
                </a:cxn>
                <a:cxn ang="0">
                  <a:pos x="429" y="381"/>
                </a:cxn>
                <a:cxn ang="0">
                  <a:pos x="380" y="410"/>
                </a:cxn>
                <a:cxn ang="0">
                  <a:pos x="380" y="439"/>
                </a:cxn>
                <a:cxn ang="0">
                  <a:pos x="321" y="449"/>
                </a:cxn>
                <a:cxn ang="0">
                  <a:pos x="282" y="420"/>
                </a:cxn>
                <a:cxn ang="0">
                  <a:pos x="243" y="400"/>
                </a:cxn>
                <a:cxn ang="0">
                  <a:pos x="224" y="400"/>
                </a:cxn>
                <a:cxn ang="0">
                  <a:pos x="204" y="391"/>
                </a:cxn>
                <a:cxn ang="0">
                  <a:pos x="195" y="439"/>
                </a:cxn>
                <a:cxn ang="0">
                  <a:pos x="165" y="400"/>
                </a:cxn>
                <a:cxn ang="0">
                  <a:pos x="146" y="391"/>
                </a:cxn>
                <a:cxn ang="0">
                  <a:pos x="126" y="371"/>
                </a:cxn>
                <a:cxn ang="0">
                  <a:pos x="117" y="400"/>
                </a:cxn>
                <a:cxn ang="0">
                  <a:pos x="87" y="381"/>
                </a:cxn>
                <a:cxn ang="0">
                  <a:pos x="58" y="381"/>
                </a:cxn>
                <a:cxn ang="0">
                  <a:pos x="48" y="391"/>
                </a:cxn>
                <a:cxn ang="0">
                  <a:pos x="19" y="342"/>
                </a:cxn>
                <a:cxn ang="0">
                  <a:pos x="19" y="313"/>
                </a:cxn>
                <a:cxn ang="0">
                  <a:pos x="39" y="283"/>
                </a:cxn>
                <a:cxn ang="0">
                  <a:pos x="19" y="254"/>
                </a:cxn>
                <a:cxn ang="0">
                  <a:pos x="58" y="225"/>
                </a:cxn>
                <a:cxn ang="0">
                  <a:pos x="107" y="225"/>
                </a:cxn>
                <a:cxn ang="0">
                  <a:pos x="126" y="176"/>
                </a:cxn>
                <a:cxn ang="0">
                  <a:pos x="136" y="137"/>
                </a:cxn>
                <a:cxn ang="0">
                  <a:pos x="165" y="127"/>
                </a:cxn>
                <a:cxn ang="0">
                  <a:pos x="165" y="49"/>
                </a:cxn>
              </a:cxnLst>
              <a:rect l="0" t="0" r="r" b="b"/>
              <a:pathLst>
                <a:path w="497" h="449">
                  <a:moveTo>
                    <a:pt x="165" y="49"/>
                  </a:moveTo>
                  <a:lnTo>
                    <a:pt x="185" y="39"/>
                  </a:lnTo>
                  <a:lnTo>
                    <a:pt x="195" y="39"/>
                  </a:lnTo>
                  <a:lnTo>
                    <a:pt x="204" y="20"/>
                  </a:lnTo>
                  <a:lnTo>
                    <a:pt x="214" y="20"/>
                  </a:lnTo>
                  <a:lnTo>
                    <a:pt x="214" y="10"/>
                  </a:lnTo>
                  <a:lnTo>
                    <a:pt x="214" y="0"/>
                  </a:lnTo>
                  <a:lnTo>
                    <a:pt x="243" y="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12" y="49"/>
                  </a:lnTo>
                  <a:lnTo>
                    <a:pt x="341" y="59"/>
                  </a:lnTo>
                  <a:lnTo>
                    <a:pt x="351" y="69"/>
                  </a:lnTo>
                  <a:lnTo>
                    <a:pt x="351" y="88"/>
                  </a:lnTo>
                  <a:lnTo>
                    <a:pt x="360" y="108"/>
                  </a:lnTo>
                  <a:lnTo>
                    <a:pt x="370" y="108"/>
                  </a:lnTo>
                  <a:lnTo>
                    <a:pt x="390" y="108"/>
                  </a:lnTo>
                  <a:lnTo>
                    <a:pt x="380" y="117"/>
                  </a:lnTo>
                  <a:lnTo>
                    <a:pt x="380" y="127"/>
                  </a:lnTo>
                  <a:lnTo>
                    <a:pt x="390" y="137"/>
                  </a:lnTo>
                  <a:lnTo>
                    <a:pt x="409" y="127"/>
                  </a:lnTo>
                  <a:lnTo>
                    <a:pt x="438" y="157"/>
                  </a:lnTo>
                  <a:lnTo>
                    <a:pt x="448" y="176"/>
                  </a:lnTo>
                  <a:lnTo>
                    <a:pt x="419" y="215"/>
                  </a:lnTo>
                  <a:lnTo>
                    <a:pt x="390" y="235"/>
                  </a:lnTo>
                  <a:lnTo>
                    <a:pt x="399" y="244"/>
                  </a:lnTo>
                  <a:lnTo>
                    <a:pt x="419" y="264"/>
                  </a:lnTo>
                  <a:lnTo>
                    <a:pt x="429" y="254"/>
                  </a:lnTo>
                  <a:lnTo>
                    <a:pt x="448" y="264"/>
                  </a:lnTo>
                  <a:lnTo>
                    <a:pt x="438" y="274"/>
                  </a:lnTo>
                  <a:lnTo>
                    <a:pt x="429" y="283"/>
                  </a:lnTo>
                  <a:lnTo>
                    <a:pt x="448" y="303"/>
                  </a:lnTo>
                  <a:lnTo>
                    <a:pt x="458" y="293"/>
                  </a:lnTo>
                  <a:lnTo>
                    <a:pt x="468" y="293"/>
                  </a:lnTo>
                  <a:lnTo>
                    <a:pt x="477" y="303"/>
                  </a:lnTo>
                  <a:lnTo>
                    <a:pt x="468" y="332"/>
                  </a:lnTo>
                  <a:lnTo>
                    <a:pt x="487" y="332"/>
                  </a:lnTo>
                  <a:lnTo>
                    <a:pt x="487" y="342"/>
                  </a:lnTo>
                  <a:lnTo>
                    <a:pt x="487" y="352"/>
                  </a:lnTo>
                  <a:lnTo>
                    <a:pt x="497" y="361"/>
                  </a:lnTo>
                  <a:lnTo>
                    <a:pt x="487" y="371"/>
                  </a:lnTo>
                  <a:lnTo>
                    <a:pt x="477" y="381"/>
                  </a:lnTo>
                  <a:lnTo>
                    <a:pt x="458" y="381"/>
                  </a:lnTo>
                  <a:lnTo>
                    <a:pt x="429" y="381"/>
                  </a:lnTo>
                  <a:lnTo>
                    <a:pt x="399" y="391"/>
                  </a:lnTo>
                  <a:lnTo>
                    <a:pt x="380" y="410"/>
                  </a:lnTo>
                  <a:lnTo>
                    <a:pt x="380" y="420"/>
                  </a:lnTo>
                  <a:lnTo>
                    <a:pt x="380" y="439"/>
                  </a:lnTo>
                  <a:lnTo>
                    <a:pt x="360" y="449"/>
                  </a:lnTo>
                  <a:lnTo>
                    <a:pt x="321" y="449"/>
                  </a:lnTo>
                  <a:lnTo>
                    <a:pt x="312" y="439"/>
                  </a:lnTo>
                  <a:lnTo>
                    <a:pt x="282" y="420"/>
                  </a:lnTo>
                  <a:lnTo>
                    <a:pt x="263" y="420"/>
                  </a:lnTo>
                  <a:lnTo>
                    <a:pt x="243" y="400"/>
                  </a:lnTo>
                  <a:lnTo>
                    <a:pt x="224" y="400"/>
                  </a:lnTo>
                  <a:lnTo>
                    <a:pt x="214" y="400"/>
                  </a:lnTo>
                  <a:lnTo>
                    <a:pt x="204" y="391"/>
                  </a:lnTo>
                  <a:lnTo>
                    <a:pt x="195" y="391"/>
                  </a:lnTo>
                  <a:lnTo>
                    <a:pt x="195" y="439"/>
                  </a:lnTo>
                  <a:lnTo>
                    <a:pt x="175" y="420"/>
                  </a:lnTo>
                  <a:lnTo>
                    <a:pt x="165" y="400"/>
                  </a:lnTo>
                  <a:lnTo>
                    <a:pt x="156" y="400"/>
                  </a:lnTo>
                  <a:lnTo>
                    <a:pt x="146" y="391"/>
                  </a:lnTo>
                  <a:lnTo>
                    <a:pt x="146" y="371"/>
                  </a:lnTo>
                  <a:lnTo>
                    <a:pt x="126" y="371"/>
                  </a:lnTo>
                  <a:lnTo>
                    <a:pt x="126" y="391"/>
                  </a:lnTo>
                  <a:lnTo>
                    <a:pt x="117" y="400"/>
                  </a:lnTo>
                  <a:lnTo>
                    <a:pt x="107" y="381"/>
                  </a:lnTo>
                  <a:lnTo>
                    <a:pt x="87" y="381"/>
                  </a:lnTo>
                  <a:lnTo>
                    <a:pt x="58" y="371"/>
                  </a:lnTo>
                  <a:lnTo>
                    <a:pt x="58" y="381"/>
                  </a:lnTo>
                  <a:lnTo>
                    <a:pt x="48" y="400"/>
                  </a:lnTo>
                  <a:lnTo>
                    <a:pt x="48" y="391"/>
                  </a:lnTo>
                  <a:lnTo>
                    <a:pt x="29" y="361"/>
                  </a:lnTo>
                  <a:lnTo>
                    <a:pt x="19" y="342"/>
                  </a:lnTo>
                  <a:lnTo>
                    <a:pt x="0" y="342"/>
                  </a:lnTo>
                  <a:lnTo>
                    <a:pt x="19" y="313"/>
                  </a:lnTo>
                  <a:lnTo>
                    <a:pt x="19" y="293"/>
                  </a:lnTo>
                  <a:lnTo>
                    <a:pt x="39" y="283"/>
                  </a:lnTo>
                  <a:lnTo>
                    <a:pt x="19" y="264"/>
                  </a:lnTo>
                  <a:lnTo>
                    <a:pt x="19" y="254"/>
                  </a:lnTo>
                  <a:lnTo>
                    <a:pt x="39" y="235"/>
                  </a:lnTo>
                  <a:lnTo>
                    <a:pt x="58" y="225"/>
                  </a:lnTo>
                  <a:lnTo>
                    <a:pt x="87" y="235"/>
                  </a:lnTo>
                  <a:lnTo>
                    <a:pt x="107" y="225"/>
                  </a:lnTo>
                  <a:lnTo>
                    <a:pt x="117" y="196"/>
                  </a:lnTo>
                  <a:lnTo>
                    <a:pt x="126" y="176"/>
                  </a:lnTo>
                  <a:lnTo>
                    <a:pt x="126" y="166"/>
                  </a:lnTo>
                  <a:lnTo>
                    <a:pt x="136" y="137"/>
                  </a:lnTo>
                  <a:lnTo>
                    <a:pt x="156" y="137"/>
                  </a:lnTo>
                  <a:lnTo>
                    <a:pt x="165" y="127"/>
                  </a:lnTo>
                  <a:lnTo>
                    <a:pt x="175" y="59"/>
                  </a:lnTo>
                  <a:lnTo>
                    <a:pt x="165" y="4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5" name="Freeform 201"/>
            <p:cNvSpPr>
              <a:spLocks/>
            </p:cNvSpPr>
            <p:nvPr/>
          </p:nvSpPr>
          <p:spPr bwMode="auto">
            <a:xfrm>
              <a:off x="965" y="2411"/>
              <a:ext cx="459" cy="468"/>
            </a:xfrm>
            <a:custGeom>
              <a:avLst/>
              <a:gdLst/>
              <a:ahLst/>
              <a:cxnLst>
                <a:cxn ang="0">
                  <a:pos x="322" y="390"/>
                </a:cxn>
                <a:cxn ang="0">
                  <a:pos x="351" y="390"/>
                </a:cxn>
                <a:cxn ang="0">
                  <a:pos x="370" y="410"/>
                </a:cxn>
                <a:cxn ang="0">
                  <a:pos x="322" y="439"/>
                </a:cxn>
                <a:cxn ang="0">
                  <a:pos x="283" y="439"/>
                </a:cxn>
                <a:cxn ang="0">
                  <a:pos x="273" y="458"/>
                </a:cxn>
                <a:cxn ang="0">
                  <a:pos x="244" y="468"/>
                </a:cxn>
                <a:cxn ang="0">
                  <a:pos x="204" y="449"/>
                </a:cxn>
                <a:cxn ang="0">
                  <a:pos x="195" y="410"/>
                </a:cxn>
                <a:cxn ang="0">
                  <a:pos x="175" y="380"/>
                </a:cxn>
                <a:cxn ang="0">
                  <a:pos x="165" y="341"/>
                </a:cxn>
                <a:cxn ang="0">
                  <a:pos x="156" y="361"/>
                </a:cxn>
                <a:cxn ang="0">
                  <a:pos x="117" y="351"/>
                </a:cxn>
                <a:cxn ang="0">
                  <a:pos x="87" y="361"/>
                </a:cxn>
                <a:cxn ang="0">
                  <a:pos x="58" y="312"/>
                </a:cxn>
                <a:cxn ang="0">
                  <a:pos x="78" y="293"/>
                </a:cxn>
                <a:cxn ang="0">
                  <a:pos x="48" y="263"/>
                </a:cxn>
                <a:cxn ang="0">
                  <a:pos x="48" y="244"/>
                </a:cxn>
                <a:cxn ang="0">
                  <a:pos x="68" y="215"/>
                </a:cxn>
                <a:cxn ang="0">
                  <a:pos x="48" y="156"/>
                </a:cxn>
                <a:cxn ang="0">
                  <a:pos x="19" y="166"/>
                </a:cxn>
                <a:cxn ang="0">
                  <a:pos x="0" y="146"/>
                </a:cxn>
                <a:cxn ang="0">
                  <a:pos x="19" y="117"/>
                </a:cxn>
                <a:cxn ang="0">
                  <a:pos x="58" y="137"/>
                </a:cxn>
                <a:cxn ang="0">
                  <a:pos x="68" y="127"/>
                </a:cxn>
                <a:cxn ang="0">
                  <a:pos x="68" y="97"/>
                </a:cxn>
                <a:cxn ang="0">
                  <a:pos x="48" y="88"/>
                </a:cxn>
                <a:cxn ang="0">
                  <a:pos x="29" y="68"/>
                </a:cxn>
                <a:cxn ang="0">
                  <a:pos x="39" y="68"/>
                </a:cxn>
                <a:cxn ang="0">
                  <a:pos x="58" y="49"/>
                </a:cxn>
                <a:cxn ang="0">
                  <a:pos x="78" y="39"/>
                </a:cxn>
                <a:cxn ang="0">
                  <a:pos x="107" y="58"/>
                </a:cxn>
                <a:cxn ang="0">
                  <a:pos x="136" y="78"/>
                </a:cxn>
                <a:cxn ang="0">
                  <a:pos x="175" y="107"/>
                </a:cxn>
                <a:cxn ang="0">
                  <a:pos x="204" y="97"/>
                </a:cxn>
                <a:cxn ang="0">
                  <a:pos x="224" y="78"/>
                </a:cxn>
                <a:cxn ang="0">
                  <a:pos x="224" y="49"/>
                </a:cxn>
                <a:cxn ang="0">
                  <a:pos x="253" y="39"/>
                </a:cxn>
                <a:cxn ang="0">
                  <a:pos x="283" y="49"/>
                </a:cxn>
                <a:cxn ang="0">
                  <a:pos x="273" y="29"/>
                </a:cxn>
                <a:cxn ang="0">
                  <a:pos x="312" y="29"/>
                </a:cxn>
                <a:cxn ang="0">
                  <a:pos x="322" y="0"/>
                </a:cxn>
                <a:cxn ang="0">
                  <a:pos x="380" y="39"/>
                </a:cxn>
                <a:cxn ang="0">
                  <a:pos x="419" y="19"/>
                </a:cxn>
                <a:cxn ang="0">
                  <a:pos x="439" y="39"/>
                </a:cxn>
                <a:cxn ang="0">
                  <a:pos x="458" y="49"/>
                </a:cxn>
                <a:cxn ang="0">
                  <a:pos x="448" y="117"/>
                </a:cxn>
                <a:cxn ang="0">
                  <a:pos x="409" y="146"/>
                </a:cxn>
                <a:cxn ang="0">
                  <a:pos x="409" y="176"/>
                </a:cxn>
                <a:cxn ang="0">
                  <a:pos x="380" y="215"/>
                </a:cxn>
                <a:cxn ang="0">
                  <a:pos x="322" y="215"/>
                </a:cxn>
                <a:cxn ang="0">
                  <a:pos x="312" y="244"/>
                </a:cxn>
                <a:cxn ang="0">
                  <a:pos x="312" y="273"/>
                </a:cxn>
                <a:cxn ang="0">
                  <a:pos x="292" y="322"/>
                </a:cxn>
                <a:cxn ang="0">
                  <a:pos x="312" y="341"/>
                </a:cxn>
                <a:cxn ang="0">
                  <a:pos x="331" y="371"/>
                </a:cxn>
              </a:cxnLst>
              <a:rect l="0" t="0" r="r" b="b"/>
              <a:pathLst>
                <a:path w="458" h="468">
                  <a:moveTo>
                    <a:pt x="331" y="371"/>
                  </a:moveTo>
                  <a:lnTo>
                    <a:pt x="322" y="390"/>
                  </a:lnTo>
                  <a:lnTo>
                    <a:pt x="331" y="400"/>
                  </a:lnTo>
                  <a:lnTo>
                    <a:pt x="351" y="390"/>
                  </a:lnTo>
                  <a:lnTo>
                    <a:pt x="361" y="400"/>
                  </a:lnTo>
                  <a:lnTo>
                    <a:pt x="370" y="410"/>
                  </a:lnTo>
                  <a:lnTo>
                    <a:pt x="351" y="419"/>
                  </a:lnTo>
                  <a:lnTo>
                    <a:pt x="322" y="439"/>
                  </a:lnTo>
                  <a:lnTo>
                    <a:pt x="302" y="449"/>
                  </a:lnTo>
                  <a:lnTo>
                    <a:pt x="283" y="439"/>
                  </a:lnTo>
                  <a:lnTo>
                    <a:pt x="263" y="449"/>
                  </a:lnTo>
                  <a:lnTo>
                    <a:pt x="273" y="458"/>
                  </a:lnTo>
                  <a:lnTo>
                    <a:pt x="253" y="468"/>
                  </a:lnTo>
                  <a:lnTo>
                    <a:pt x="244" y="468"/>
                  </a:lnTo>
                  <a:lnTo>
                    <a:pt x="244" y="458"/>
                  </a:lnTo>
                  <a:lnTo>
                    <a:pt x="204" y="449"/>
                  </a:lnTo>
                  <a:lnTo>
                    <a:pt x="204" y="439"/>
                  </a:lnTo>
                  <a:lnTo>
                    <a:pt x="195" y="410"/>
                  </a:lnTo>
                  <a:lnTo>
                    <a:pt x="195" y="390"/>
                  </a:lnTo>
                  <a:lnTo>
                    <a:pt x="175" y="380"/>
                  </a:lnTo>
                  <a:lnTo>
                    <a:pt x="175" y="361"/>
                  </a:lnTo>
                  <a:lnTo>
                    <a:pt x="165" y="341"/>
                  </a:lnTo>
                  <a:lnTo>
                    <a:pt x="165" y="351"/>
                  </a:lnTo>
                  <a:lnTo>
                    <a:pt x="156" y="361"/>
                  </a:lnTo>
                  <a:lnTo>
                    <a:pt x="146" y="361"/>
                  </a:lnTo>
                  <a:lnTo>
                    <a:pt x="117" y="351"/>
                  </a:lnTo>
                  <a:lnTo>
                    <a:pt x="107" y="351"/>
                  </a:lnTo>
                  <a:lnTo>
                    <a:pt x="87" y="361"/>
                  </a:lnTo>
                  <a:lnTo>
                    <a:pt x="58" y="33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63"/>
                  </a:lnTo>
                  <a:lnTo>
                    <a:pt x="48" y="244"/>
                  </a:lnTo>
                  <a:lnTo>
                    <a:pt x="58" y="215"/>
                  </a:lnTo>
                  <a:lnTo>
                    <a:pt x="68" y="215"/>
                  </a:lnTo>
                  <a:lnTo>
                    <a:pt x="68" y="185"/>
                  </a:lnTo>
                  <a:lnTo>
                    <a:pt x="48" y="156"/>
                  </a:lnTo>
                  <a:lnTo>
                    <a:pt x="39" y="156"/>
                  </a:lnTo>
                  <a:lnTo>
                    <a:pt x="19" y="166"/>
                  </a:lnTo>
                  <a:lnTo>
                    <a:pt x="9" y="156"/>
                  </a:lnTo>
                  <a:lnTo>
                    <a:pt x="0" y="146"/>
                  </a:lnTo>
                  <a:lnTo>
                    <a:pt x="19" y="137"/>
                  </a:lnTo>
                  <a:lnTo>
                    <a:pt x="19" y="117"/>
                  </a:lnTo>
                  <a:lnTo>
                    <a:pt x="39" y="127"/>
                  </a:lnTo>
                  <a:lnTo>
                    <a:pt x="58" y="137"/>
                  </a:lnTo>
                  <a:lnTo>
                    <a:pt x="68" y="146"/>
                  </a:lnTo>
                  <a:lnTo>
                    <a:pt x="68" y="127"/>
                  </a:lnTo>
                  <a:lnTo>
                    <a:pt x="78" y="117"/>
                  </a:lnTo>
                  <a:lnTo>
                    <a:pt x="68" y="97"/>
                  </a:lnTo>
                  <a:lnTo>
                    <a:pt x="48" y="88"/>
                  </a:lnTo>
                  <a:lnTo>
                    <a:pt x="39" y="88"/>
                  </a:lnTo>
                  <a:lnTo>
                    <a:pt x="29" y="68"/>
                  </a:lnTo>
                  <a:lnTo>
                    <a:pt x="9" y="68"/>
                  </a:lnTo>
                  <a:lnTo>
                    <a:pt x="39" y="68"/>
                  </a:lnTo>
                  <a:lnTo>
                    <a:pt x="39" y="49"/>
                  </a:lnTo>
                  <a:lnTo>
                    <a:pt x="58" y="49"/>
                  </a:lnTo>
                  <a:lnTo>
                    <a:pt x="68" y="39"/>
                  </a:lnTo>
                  <a:lnTo>
                    <a:pt x="78" y="39"/>
                  </a:lnTo>
                  <a:lnTo>
                    <a:pt x="97" y="58"/>
                  </a:lnTo>
                  <a:lnTo>
                    <a:pt x="107" y="58"/>
                  </a:lnTo>
                  <a:lnTo>
                    <a:pt x="126" y="58"/>
                  </a:lnTo>
                  <a:lnTo>
                    <a:pt x="136" y="78"/>
                  </a:lnTo>
                  <a:lnTo>
                    <a:pt x="156" y="97"/>
                  </a:lnTo>
                  <a:lnTo>
                    <a:pt x="175" y="107"/>
                  </a:lnTo>
                  <a:lnTo>
                    <a:pt x="185" y="97"/>
                  </a:lnTo>
                  <a:lnTo>
                    <a:pt x="204" y="97"/>
                  </a:lnTo>
                  <a:lnTo>
                    <a:pt x="204" y="78"/>
                  </a:lnTo>
                  <a:lnTo>
                    <a:pt x="224" y="78"/>
                  </a:lnTo>
                  <a:lnTo>
                    <a:pt x="224" y="68"/>
                  </a:lnTo>
                  <a:lnTo>
                    <a:pt x="224" y="49"/>
                  </a:lnTo>
                  <a:lnTo>
                    <a:pt x="234" y="29"/>
                  </a:lnTo>
                  <a:lnTo>
                    <a:pt x="253" y="39"/>
                  </a:lnTo>
                  <a:lnTo>
                    <a:pt x="273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73" y="29"/>
                  </a:lnTo>
                  <a:lnTo>
                    <a:pt x="292" y="29"/>
                  </a:lnTo>
                  <a:lnTo>
                    <a:pt x="312" y="29"/>
                  </a:lnTo>
                  <a:lnTo>
                    <a:pt x="322" y="19"/>
                  </a:lnTo>
                  <a:lnTo>
                    <a:pt x="322" y="0"/>
                  </a:lnTo>
                  <a:lnTo>
                    <a:pt x="361" y="19"/>
                  </a:lnTo>
                  <a:lnTo>
                    <a:pt x="380" y="39"/>
                  </a:lnTo>
                  <a:lnTo>
                    <a:pt x="390" y="39"/>
                  </a:lnTo>
                  <a:lnTo>
                    <a:pt x="419" y="19"/>
                  </a:lnTo>
                  <a:lnTo>
                    <a:pt x="429" y="19"/>
                  </a:lnTo>
                  <a:lnTo>
                    <a:pt x="439" y="39"/>
                  </a:lnTo>
                  <a:lnTo>
                    <a:pt x="458" y="29"/>
                  </a:lnTo>
                  <a:lnTo>
                    <a:pt x="458" y="49"/>
                  </a:lnTo>
                  <a:lnTo>
                    <a:pt x="458" y="107"/>
                  </a:lnTo>
                  <a:lnTo>
                    <a:pt x="448" y="117"/>
                  </a:lnTo>
                  <a:lnTo>
                    <a:pt x="429" y="117"/>
                  </a:lnTo>
                  <a:lnTo>
                    <a:pt x="409" y="146"/>
                  </a:lnTo>
                  <a:lnTo>
                    <a:pt x="419" y="156"/>
                  </a:lnTo>
                  <a:lnTo>
                    <a:pt x="409" y="176"/>
                  </a:lnTo>
                  <a:lnTo>
                    <a:pt x="390" y="205"/>
                  </a:lnTo>
                  <a:lnTo>
                    <a:pt x="380" y="215"/>
                  </a:lnTo>
                  <a:lnTo>
                    <a:pt x="341" y="205"/>
                  </a:lnTo>
                  <a:lnTo>
                    <a:pt x="322" y="215"/>
                  </a:lnTo>
                  <a:lnTo>
                    <a:pt x="302" y="234"/>
                  </a:lnTo>
                  <a:lnTo>
                    <a:pt x="312" y="244"/>
                  </a:lnTo>
                  <a:lnTo>
                    <a:pt x="322" y="263"/>
                  </a:lnTo>
                  <a:lnTo>
                    <a:pt x="312" y="273"/>
                  </a:lnTo>
                  <a:lnTo>
                    <a:pt x="302" y="293"/>
                  </a:lnTo>
                  <a:lnTo>
                    <a:pt x="292" y="322"/>
                  </a:lnTo>
                  <a:lnTo>
                    <a:pt x="302" y="322"/>
                  </a:lnTo>
                  <a:lnTo>
                    <a:pt x="312" y="341"/>
                  </a:lnTo>
                  <a:lnTo>
                    <a:pt x="331" y="37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13" name="Group 198"/>
            <p:cNvGrpSpPr>
              <a:grpSpLocks/>
            </p:cNvGrpSpPr>
            <p:nvPr/>
          </p:nvGrpSpPr>
          <p:grpSpPr bwMode="auto">
            <a:xfrm>
              <a:off x="7871" y="3825"/>
              <a:ext cx="439" cy="907"/>
              <a:chOff x="7872" y="3825"/>
              <a:chExt cx="439" cy="907"/>
            </a:xfrm>
          </p:grpSpPr>
          <p:sp>
            <p:nvSpPr>
              <p:cNvPr id="339" name="Freeform 200"/>
              <p:cNvSpPr>
                <a:spLocks/>
              </p:cNvSpPr>
              <p:nvPr/>
            </p:nvSpPr>
            <p:spPr bwMode="auto">
              <a:xfrm>
                <a:off x="7872" y="3825"/>
                <a:ext cx="439" cy="906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  <a:lnTo>
                      <a:pt x="390" y="8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0" name="Freeform 199"/>
              <p:cNvSpPr>
                <a:spLocks/>
              </p:cNvSpPr>
              <p:nvPr/>
            </p:nvSpPr>
            <p:spPr bwMode="auto">
              <a:xfrm>
                <a:off x="7872" y="3825"/>
                <a:ext cx="439" cy="906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57" name="Freeform 197"/>
            <p:cNvSpPr>
              <a:spLocks/>
            </p:cNvSpPr>
            <p:nvPr/>
          </p:nvSpPr>
          <p:spPr bwMode="auto">
            <a:xfrm>
              <a:off x="3802" y="3561"/>
              <a:ext cx="625" cy="447"/>
            </a:xfrm>
            <a:custGeom>
              <a:avLst/>
              <a:gdLst>
                <a:gd name="T0" fmla="*/ 488 w 624"/>
                <a:gd name="T1" fmla="*/ 350 h 449"/>
                <a:gd name="T2" fmla="*/ 517 w 624"/>
                <a:gd name="T3" fmla="*/ 331 h 449"/>
                <a:gd name="T4" fmla="*/ 527 w 624"/>
                <a:gd name="T5" fmla="*/ 311 h 449"/>
                <a:gd name="T6" fmla="*/ 556 w 624"/>
                <a:gd name="T7" fmla="*/ 301 h 449"/>
                <a:gd name="T8" fmla="*/ 585 w 624"/>
                <a:gd name="T9" fmla="*/ 301 h 449"/>
                <a:gd name="T10" fmla="*/ 585 w 624"/>
                <a:gd name="T11" fmla="*/ 272 h 449"/>
                <a:gd name="T12" fmla="*/ 624 w 624"/>
                <a:gd name="T13" fmla="*/ 272 h 449"/>
                <a:gd name="T14" fmla="*/ 605 w 624"/>
                <a:gd name="T15" fmla="*/ 253 h 449"/>
                <a:gd name="T16" fmla="*/ 615 w 624"/>
                <a:gd name="T17" fmla="*/ 224 h 449"/>
                <a:gd name="T18" fmla="*/ 595 w 624"/>
                <a:gd name="T19" fmla="*/ 205 h 449"/>
                <a:gd name="T20" fmla="*/ 615 w 624"/>
                <a:gd name="T21" fmla="*/ 195 h 449"/>
                <a:gd name="T22" fmla="*/ 624 w 624"/>
                <a:gd name="T23" fmla="*/ 176 h 449"/>
                <a:gd name="T24" fmla="*/ 605 w 624"/>
                <a:gd name="T25" fmla="*/ 166 h 449"/>
                <a:gd name="T26" fmla="*/ 585 w 624"/>
                <a:gd name="T27" fmla="*/ 127 h 449"/>
                <a:gd name="T28" fmla="*/ 566 w 624"/>
                <a:gd name="T29" fmla="*/ 108 h 449"/>
                <a:gd name="T30" fmla="*/ 546 w 624"/>
                <a:gd name="T31" fmla="*/ 78 h 449"/>
                <a:gd name="T32" fmla="*/ 527 w 624"/>
                <a:gd name="T33" fmla="*/ 59 h 449"/>
                <a:gd name="T34" fmla="*/ 498 w 624"/>
                <a:gd name="T35" fmla="*/ 49 h 449"/>
                <a:gd name="T36" fmla="*/ 478 w 624"/>
                <a:gd name="T37" fmla="*/ 69 h 449"/>
                <a:gd name="T38" fmla="*/ 449 w 624"/>
                <a:gd name="T39" fmla="*/ 59 h 449"/>
                <a:gd name="T40" fmla="*/ 410 w 624"/>
                <a:gd name="T41" fmla="*/ 59 h 449"/>
                <a:gd name="T42" fmla="*/ 390 w 624"/>
                <a:gd name="T43" fmla="*/ 69 h 449"/>
                <a:gd name="T44" fmla="*/ 381 w 624"/>
                <a:gd name="T45" fmla="*/ 59 h 449"/>
                <a:gd name="T46" fmla="*/ 351 w 624"/>
                <a:gd name="T47" fmla="*/ 69 h 449"/>
                <a:gd name="T48" fmla="*/ 342 w 624"/>
                <a:gd name="T49" fmla="*/ 88 h 449"/>
                <a:gd name="T50" fmla="*/ 332 w 624"/>
                <a:gd name="T51" fmla="*/ 98 h 449"/>
                <a:gd name="T52" fmla="*/ 303 w 624"/>
                <a:gd name="T53" fmla="*/ 78 h 449"/>
                <a:gd name="T54" fmla="*/ 293 w 624"/>
                <a:gd name="T55" fmla="*/ 49 h 449"/>
                <a:gd name="T56" fmla="*/ 244 w 624"/>
                <a:gd name="T57" fmla="*/ 0 h 449"/>
                <a:gd name="T58" fmla="*/ 205 w 624"/>
                <a:gd name="T59" fmla="*/ 10 h 449"/>
                <a:gd name="T60" fmla="*/ 137 w 624"/>
                <a:gd name="T61" fmla="*/ 20 h 449"/>
                <a:gd name="T62" fmla="*/ 117 w 624"/>
                <a:gd name="T63" fmla="*/ 29 h 449"/>
                <a:gd name="T64" fmla="*/ 68 w 624"/>
                <a:gd name="T65" fmla="*/ 20 h 449"/>
                <a:gd name="T66" fmla="*/ 20 w 624"/>
                <a:gd name="T67" fmla="*/ 0 h 449"/>
                <a:gd name="T68" fmla="*/ 20 w 624"/>
                <a:gd name="T69" fmla="*/ 20 h 449"/>
                <a:gd name="T70" fmla="*/ 0 w 624"/>
                <a:gd name="T71" fmla="*/ 20 h 449"/>
                <a:gd name="T72" fmla="*/ 20 w 624"/>
                <a:gd name="T73" fmla="*/ 78 h 449"/>
                <a:gd name="T74" fmla="*/ 29 w 624"/>
                <a:gd name="T75" fmla="*/ 156 h 449"/>
                <a:gd name="T76" fmla="*/ 49 w 624"/>
                <a:gd name="T77" fmla="*/ 272 h 449"/>
                <a:gd name="T78" fmla="*/ 68 w 624"/>
                <a:gd name="T79" fmla="*/ 331 h 449"/>
                <a:gd name="T80" fmla="*/ 78 w 624"/>
                <a:gd name="T81" fmla="*/ 350 h 449"/>
                <a:gd name="T82" fmla="*/ 98 w 624"/>
                <a:gd name="T83" fmla="*/ 331 h 449"/>
                <a:gd name="T84" fmla="*/ 107 w 624"/>
                <a:gd name="T85" fmla="*/ 321 h 449"/>
                <a:gd name="T86" fmla="*/ 127 w 624"/>
                <a:gd name="T87" fmla="*/ 301 h 449"/>
                <a:gd name="T88" fmla="*/ 146 w 624"/>
                <a:gd name="T89" fmla="*/ 301 h 449"/>
                <a:gd name="T90" fmla="*/ 146 w 624"/>
                <a:gd name="T91" fmla="*/ 331 h 449"/>
                <a:gd name="T92" fmla="*/ 156 w 624"/>
                <a:gd name="T93" fmla="*/ 350 h 449"/>
                <a:gd name="T94" fmla="*/ 166 w 624"/>
                <a:gd name="T95" fmla="*/ 360 h 449"/>
                <a:gd name="T96" fmla="*/ 176 w 624"/>
                <a:gd name="T97" fmla="*/ 379 h 449"/>
                <a:gd name="T98" fmla="*/ 205 w 624"/>
                <a:gd name="T99" fmla="*/ 379 h 449"/>
                <a:gd name="T100" fmla="*/ 244 w 624"/>
                <a:gd name="T101" fmla="*/ 399 h 449"/>
                <a:gd name="T102" fmla="*/ 264 w 624"/>
                <a:gd name="T103" fmla="*/ 389 h 449"/>
                <a:gd name="T104" fmla="*/ 303 w 624"/>
                <a:gd name="T105" fmla="*/ 379 h 449"/>
                <a:gd name="T106" fmla="*/ 342 w 624"/>
                <a:gd name="T107" fmla="*/ 389 h 449"/>
                <a:gd name="T108" fmla="*/ 351 w 624"/>
                <a:gd name="T109" fmla="*/ 428 h 449"/>
                <a:gd name="T110" fmla="*/ 361 w 624"/>
                <a:gd name="T111" fmla="*/ 438 h 449"/>
                <a:gd name="T112" fmla="*/ 381 w 624"/>
                <a:gd name="T113" fmla="*/ 428 h 449"/>
                <a:gd name="T114" fmla="*/ 381 w 624"/>
                <a:gd name="T115" fmla="*/ 409 h 449"/>
                <a:gd name="T116" fmla="*/ 361 w 624"/>
                <a:gd name="T117" fmla="*/ 379 h 449"/>
                <a:gd name="T118" fmla="*/ 390 w 624"/>
                <a:gd name="T119" fmla="*/ 370 h 449"/>
                <a:gd name="T120" fmla="*/ 449 w 624"/>
                <a:gd name="T121" fmla="*/ 360 h 44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24"/>
                <a:gd name="T184" fmla="*/ 0 h 449"/>
                <a:gd name="T185" fmla="*/ 624 w 624"/>
                <a:gd name="T186" fmla="*/ 449 h 44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24" h="449">
                  <a:moveTo>
                    <a:pt x="468" y="361"/>
                  </a:moveTo>
                  <a:lnTo>
                    <a:pt x="488" y="361"/>
                  </a:lnTo>
                  <a:lnTo>
                    <a:pt x="498" y="361"/>
                  </a:lnTo>
                  <a:lnTo>
                    <a:pt x="517" y="342"/>
                  </a:lnTo>
                  <a:lnTo>
                    <a:pt x="517" y="322"/>
                  </a:lnTo>
                  <a:lnTo>
                    <a:pt x="527" y="322"/>
                  </a:lnTo>
                  <a:lnTo>
                    <a:pt x="546" y="322"/>
                  </a:lnTo>
                  <a:lnTo>
                    <a:pt x="556" y="312"/>
                  </a:lnTo>
                  <a:lnTo>
                    <a:pt x="566" y="312"/>
                  </a:lnTo>
                  <a:lnTo>
                    <a:pt x="585" y="312"/>
                  </a:lnTo>
                  <a:lnTo>
                    <a:pt x="585" y="303"/>
                  </a:lnTo>
                  <a:lnTo>
                    <a:pt x="585" y="283"/>
                  </a:lnTo>
                  <a:lnTo>
                    <a:pt x="595" y="283"/>
                  </a:lnTo>
                  <a:lnTo>
                    <a:pt x="624" y="283"/>
                  </a:lnTo>
                  <a:lnTo>
                    <a:pt x="615" y="273"/>
                  </a:lnTo>
                  <a:lnTo>
                    <a:pt x="605" y="264"/>
                  </a:lnTo>
                  <a:lnTo>
                    <a:pt x="605" y="244"/>
                  </a:lnTo>
                  <a:lnTo>
                    <a:pt x="615" y="225"/>
                  </a:lnTo>
                  <a:lnTo>
                    <a:pt x="605" y="215"/>
                  </a:lnTo>
                  <a:lnTo>
                    <a:pt x="595" y="205"/>
                  </a:lnTo>
                  <a:lnTo>
                    <a:pt x="605" y="195"/>
                  </a:lnTo>
                  <a:lnTo>
                    <a:pt x="615" y="195"/>
                  </a:lnTo>
                  <a:lnTo>
                    <a:pt x="624" y="195"/>
                  </a:lnTo>
                  <a:lnTo>
                    <a:pt x="624" y="176"/>
                  </a:lnTo>
                  <a:lnTo>
                    <a:pt x="624" y="166"/>
                  </a:lnTo>
                  <a:lnTo>
                    <a:pt x="605" y="166"/>
                  </a:lnTo>
                  <a:lnTo>
                    <a:pt x="595" y="147"/>
                  </a:lnTo>
                  <a:lnTo>
                    <a:pt x="585" y="127"/>
                  </a:lnTo>
                  <a:lnTo>
                    <a:pt x="585" y="117"/>
                  </a:lnTo>
                  <a:lnTo>
                    <a:pt x="566" y="108"/>
                  </a:lnTo>
                  <a:lnTo>
                    <a:pt x="556" y="88"/>
                  </a:lnTo>
                  <a:lnTo>
                    <a:pt x="546" y="78"/>
                  </a:lnTo>
                  <a:lnTo>
                    <a:pt x="537" y="78"/>
                  </a:lnTo>
                  <a:lnTo>
                    <a:pt x="527" y="59"/>
                  </a:lnTo>
                  <a:lnTo>
                    <a:pt x="517" y="49"/>
                  </a:lnTo>
                  <a:lnTo>
                    <a:pt x="498" y="49"/>
                  </a:lnTo>
                  <a:lnTo>
                    <a:pt x="488" y="59"/>
                  </a:lnTo>
                  <a:lnTo>
                    <a:pt x="478" y="69"/>
                  </a:lnTo>
                  <a:lnTo>
                    <a:pt x="468" y="69"/>
                  </a:lnTo>
                  <a:lnTo>
                    <a:pt x="449" y="59"/>
                  </a:lnTo>
                  <a:lnTo>
                    <a:pt x="429" y="59"/>
                  </a:lnTo>
                  <a:lnTo>
                    <a:pt x="410" y="59"/>
                  </a:lnTo>
                  <a:lnTo>
                    <a:pt x="410" y="78"/>
                  </a:lnTo>
                  <a:lnTo>
                    <a:pt x="390" y="69"/>
                  </a:lnTo>
                  <a:lnTo>
                    <a:pt x="390" y="59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1" y="69"/>
                  </a:lnTo>
                  <a:lnTo>
                    <a:pt x="351" y="78"/>
                  </a:lnTo>
                  <a:lnTo>
                    <a:pt x="342" y="88"/>
                  </a:lnTo>
                  <a:lnTo>
                    <a:pt x="332" y="88"/>
                  </a:lnTo>
                  <a:lnTo>
                    <a:pt x="332" y="98"/>
                  </a:lnTo>
                  <a:lnTo>
                    <a:pt x="322" y="98"/>
                  </a:lnTo>
                  <a:lnTo>
                    <a:pt x="303" y="78"/>
                  </a:lnTo>
                  <a:lnTo>
                    <a:pt x="283" y="78"/>
                  </a:lnTo>
                  <a:lnTo>
                    <a:pt x="293" y="49"/>
                  </a:lnTo>
                  <a:lnTo>
                    <a:pt x="254" y="20"/>
                  </a:lnTo>
                  <a:lnTo>
                    <a:pt x="244" y="0"/>
                  </a:lnTo>
                  <a:lnTo>
                    <a:pt x="215" y="0"/>
                  </a:lnTo>
                  <a:lnTo>
                    <a:pt x="205" y="10"/>
                  </a:lnTo>
                  <a:lnTo>
                    <a:pt x="156" y="20"/>
                  </a:lnTo>
                  <a:lnTo>
                    <a:pt x="137" y="20"/>
                  </a:lnTo>
                  <a:lnTo>
                    <a:pt x="117" y="29"/>
                  </a:lnTo>
                  <a:lnTo>
                    <a:pt x="107" y="20"/>
                  </a:lnTo>
                  <a:lnTo>
                    <a:pt x="68" y="20"/>
                  </a:lnTo>
                  <a:lnTo>
                    <a:pt x="39" y="20"/>
                  </a:lnTo>
                  <a:lnTo>
                    <a:pt x="2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10" y="49"/>
                  </a:lnTo>
                  <a:lnTo>
                    <a:pt x="20" y="78"/>
                  </a:lnTo>
                  <a:lnTo>
                    <a:pt x="20" y="108"/>
                  </a:lnTo>
                  <a:lnTo>
                    <a:pt x="29" y="156"/>
                  </a:lnTo>
                  <a:lnTo>
                    <a:pt x="49" y="215"/>
                  </a:lnTo>
                  <a:lnTo>
                    <a:pt x="49" y="283"/>
                  </a:lnTo>
                  <a:lnTo>
                    <a:pt x="68" y="322"/>
                  </a:lnTo>
                  <a:lnTo>
                    <a:pt x="68" y="342"/>
                  </a:lnTo>
                  <a:lnTo>
                    <a:pt x="68" y="361"/>
                  </a:lnTo>
                  <a:lnTo>
                    <a:pt x="78" y="361"/>
                  </a:lnTo>
                  <a:lnTo>
                    <a:pt x="78" y="351"/>
                  </a:lnTo>
                  <a:lnTo>
                    <a:pt x="98" y="342"/>
                  </a:lnTo>
                  <a:lnTo>
                    <a:pt x="107" y="342"/>
                  </a:lnTo>
                  <a:lnTo>
                    <a:pt x="107" y="332"/>
                  </a:lnTo>
                  <a:lnTo>
                    <a:pt x="117" y="322"/>
                  </a:lnTo>
                  <a:lnTo>
                    <a:pt x="127" y="312"/>
                  </a:lnTo>
                  <a:lnTo>
                    <a:pt x="137" y="312"/>
                  </a:lnTo>
                  <a:lnTo>
                    <a:pt x="146" y="312"/>
                  </a:lnTo>
                  <a:lnTo>
                    <a:pt x="156" y="322"/>
                  </a:lnTo>
                  <a:lnTo>
                    <a:pt x="146" y="342"/>
                  </a:lnTo>
                  <a:lnTo>
                    <a:pt x="146" y="361"/>
                  </a:lnTo>
                  <a:lnTo>
                    <a:pt x="156" y="361"/>
                  </a:lnTo>
                  <a:lnTo>
                    <a:pt x="166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76" y="390"/>
                  </a:lnTo>
                  <a:lnTo>
                    <a:pt x="195" y="390"/>
                  </a:lnTo>
                  <a:lnTo>
                    <a:pt x="205" y="390"/>
                  </a:lnTo>
                  <a:lnTo>
                    <a:pt x="224" y="400"/>
                  </a:lnTo>
                  <a:lnTo>
                    <a:pt x="244" y="410"/>
                  </a:lnTo>
                  <a:lnTo>
                    <a:pt x="254" y="410"/>
                  </a:lnTo>
                  <a:lnTo>
                    <a:pt x="264" y="400"/>
                  </a:lnTo>
                  <a:lnTo>
                    <a:pt x="283" y="390"/>
                  </a:lnTo>
                  <a:lnTo>
                    <a:pt x="303" y="390"/>
                  </a:lnTo>
                  <a:lnTo>
                    <a:pt x="322" y="400"/>
                  </a:lnTo>
                  <a:lnTo>
                    <a:pt x="342" y="400"/>
                  </a:lnTo>
                  <a:lnTo>
                    <a:pt x="342" y="420"/>
                  </a:lnTo>
                  <a:lnTo>
                    <a:pt x="351" y="439"/>
                  </a:lnTo>
                  <a:lnTo>
                    <a:pt x="351" y="449"/>
                  </a:lnTo>
                  <a:lnTo>
                    <a:pt x="361" y="449"/>
                  </a:lnTo>
                  <a:lnTo>
                    <a:pt x="371" y="439"/>
                  </a:lnTo>
                  <a:lnTo>
                    <a:pt x="381" y="439"/>
                  </a:lnTo>
                  <a:lnTo>
                    <a:pt x="381" y="420"/>
                  </a:lnTo>
                  <a:lnTo>
                    <a:pt x="361" y="410"/>
                  </a:lnTo>
                  <a:lnTo>
                    <a:pt x="361" y="390"/>
                  </a:lnTo>
                  <a:lnTo>
                    <a:pt x="361" y="381"/>
                  </a:lnTo>
                  <a:lnTo>
                    <a:pt x="390" y="381"/>
                  </a:lnTo>
                  <a:lnTo>
                    <a:pt x="420" y="371"/>
                  </a:lnTo>
                  <a:lnTo>
                    <a:pt x="449" y="371"/>
                  </a:lnTo>
                  <a:lnTo>
                    <a:pt x="468" y="361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8" name="Freeform 196"/>
            <p:cNvSpPr>
              <a:spLocks/>
            </p:cNvSpPr>
            <p:nvPr/>
          </p:nvSpPr>
          <p:spPr bwMode="auto">
            <a:xfrm>
              <a:off x="3697" y="3131"/>
              <a:ext cx="644" cy="529"/>
            </a:xfrm>
            <a:custGeom>
              <a:avLst/>
              <a:gdLst>
                <a:gd name="T0" fmla="*/ 127 w 644"/>
                <a:gd name="T1" fmla="*/ 460 h 527"/>
                <a:gd name="T2" fmla="*/ 146 w 644"/>
                <a:gd name="T3" fmla="*/ 450 h 527"/>
                <a:gd name="T4" fmla="*/ 224 w 644"/>
                <a:gd name="T5" fmla="*/ 469 h 527"/>
                <a:gd name="T6" fmla="*/ 263 w 644"/>
                <a:gd name="T7" fmla="*/ 450 h 527"/>
                <a:gd name="T8" fmla="*/ 330 w 644"/>
                <a:gd name="T9" fmla="*/ 440 h 527"/>
                <a:gd name="T10" fmla="*/ 379 w 644"/>
                <a:gd name="T11" fmla="*/ 518 h 527"/>
                <a:gd name="T12" fmla="*/ 428 w 644"/>
                <a:gd name="T13" fmla="*/ 538 h 527"/>
                <a:gd name="T14" fmla="*/ 447 w 644"/>
                <a:gd name="T15" fmla="*/ 518 h 527"/>
                <a:gd name="T16" fmla="*/ 477 w 644"/>
                <a:gd name="T17" fmla="*/ 499 h 527"/>
                <a:gd name="T18" fmla="*/ 506 w 644"/>
                <a:gd name="T19" fmla="*/ 518 h 527"/>
                <a:gd name="T20" fmla="*/ 545 w 644"/>
                <a:gd name="T21" fmla="*/ 499 h 527"/>
                <a:gd name="T22" fmla="*/ 584 w 644"/>
                <a:gd name="T23" fmla="*/ 499 h 527"/>
                <a:gd name="T24" fmla="*/ 603 w 644"/>
                <a:gd name="T25" fmla="*/ 469 h 527"/>
                <a:gd name="T26" fmla="*/ 623 w 644"/>
                <a:gd name="T27" fmla="*/ 450 h 527"/>
                <a:gd name="T28" fmla="*/ 613 w 644"/>
                <a:gd name="T29" fmla="*/ 421 h 527"/>
                <a:gd name="T30" fmla="*/ 633 w 644"/>
                <a:gd name="T31" fmla="*/ 382 h 527"/>
                <a:gd name="T32" fmla="*/ 633 w 644"/>
                <a:gd name="T33" fmla="*/ 362 h 527"/>
                <a:gd name="T34" fmla="*/ 623 w 644"/>
                <a:gd name="T35" fmla="*/ 333 h 527"/>
                <a:gd name="T36" fmla="*/ 603 w 644"/>
                <a:gd name="T37" fmla="*/ 304 h 527"/>
                <a:gd name="T38" fmla="*/ 564 w 644"/>
                <a:gd name="T39" fmla="*/ 323 h 527"/>
                <a:gd name="T40" fmla="*/ 545 w 644"/>
                <a:gd name="T41" fmla="*/ 313 h 527"/>
                <a:gd name="T42" fmla="*/ 545 w 644"/>
                <a:gd name="T43" fmla="*/ 244 h 527"/>
                <a:gd name="T44" fmla="*/ 545 w 644"/>
                <a:gd name="T45" fmla="*/ 224 h 527"/>
                <a:gd name="T46" fmla="*/ 525 w 644"/>
                <a:gd name="T47" fmla="*/ 234 h 527"/>
                <a:gd name="T48" fmla="*/ 467 w 644"/>
                <a:gd name="T49" fmla="*/ 224 h 527"/>
                <a:gd name="T50" fmla="*/ 438 w 644"/>
                <a:gd name="T51" fmla="*/ 185 h 527"/>
                <a:gd name="T52" fmla="*/ 399 w 644"/>
                <a:gd name="T53" fmla="*/ 176 h 527"/>
                <a:gd name="T54" fmla="*/ 360 w 644"/>
                <a:gd name="T55" fmla="*/ 146 h 527"/>
                <a:gd name="T56" fmla="*/ 302 w 644"/>
                <a:gd name="T57" fmla="*/ 78 h 527"/>
                <a:gd name="T58" fmla="*/ 244 w 644"/>
                <a:gd name="T59" fmla="*/ 49 h 527"/>
                <a:gd name="T60" fmla="*/ 185 w 644"/>
                <a:gd name="T61" fmla="*/ 19 h 527"/>
                <a:gd name="T62" fmla="*/ 146 w 644"/>
                <a:gd name="T63" fmla="*/ 39 h 527"/>
                <a:gd name="T64" fmla="*/ 127 w 644"/>
                <a:gd name="T65" fmla="*/ 78 h 527"/>
                <a:gd name="T66" fmla="*/ 127 w 644"/>
                <a:gd name="T67" fmla="*/ 117 h 527"/>
                <a:gd name="T68" fmla="*/ 107 w 644"/>
                <a:gd name="T69" fmla="*/ 127 h 527"/>
                <a:gd name="T70" fmla="*/ 58 w 644"/>
                <a:gd name="T71" fmla="*/ 127 h 527"/>
                <a:gd name="T72" fmla="*/ 39 w 644"/>
                <a:gd name="T73" fmla="*/ 156 h 527"/>
                <a:gd name="T74" fmla="*/ 19 w 644"/>
                <a:gd name="T75" fmla="*/ 176 h 527"/>
                <a:gd name="T76" fmla="*/ 19 w 644"/>
                <a:gd name="T77" fmla="*/ 234 h 527"/>
                <a:gd name="T78" fmla="*/ 29 w 644"/>
                <a:gd name="T79" fmla="*/ 284 h 527"/>
                <a:gd name="T80" fmla="*/ 10 w 644"/>
                <a:gd name="T81" fmla="*/ 304 h 527"/>
                <a:gd name="T82" fmla="*/ 0 w 644"/>
                <a:gd name="T83" fmla="*/ 343 h 527"/>
                <a:gd name="T84" fmla="*/ 39 w 644"/>
                <a:gd name="T85" fmla="*/ 333 h 527"/>
                <a:gd name="T86" fmla="*/ 88 w 644"/>
                <a:gd name="T87" fmla="*/ 333 h 527"/>
                <a:gd name="T88" fmla="*/ 88 w 644"/>
                <a:gd name="T89" fmla="*/ 352 h 527"/>
                <a:gd name="T90" fmla="*/ 49 w 644"/>
                <a:gd name="T91" fmla="*/ 362 h 527"/>
                <a:gd name="T92" fmla="*/ 88 w 644"/>
                <a:gd name="T93" fmla="*/ 430 h 5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44"/>
                <a:gd name="T142" fmla="*/ 0 h 527"/>
                <a:gd name="T143" fmla="*/ 644 w 644"/>
                <a:gd name="T144" fmla="*/ 527 h 5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44" h="527">
                  <a:moveTo>
                    <a:pt x="107" y="449"/>
                  </a:move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46" y="439"/>
                  </a:lnTo>
                  <a:lnTo>
                    <a:pt x="175" y="449"/>
                  </a:lnTo>
                  <a:lnTo>
                    <a:pt x="214" y="449"/>
                  </a:lnTo>
                  <a:lnTo>
                    <a:pt x="224" y="458"/>
                  </a:lnTo>
                  <a:lnTo>
                    <a:pt x="244" y="449"/>
                  </a:lnTo>
                  <a:lnTo>
                    <a:pt x="244" y="439"/>
                  </a:lnTo>
                  <a:lnTo>
                    <a:pt x="263" y="439"/>
                  </a:lnTo>
                  <a:lnTo>
                    <a:pt x="312" y="439"/>
                  </a:lnTo>
                  <a:lnTo>
                    <a:pt x="322" y="429"/>
                  </a:lnTo>
                  <a:lnTo>
                    <a:pt x="341" y="429"/>
                  </a:lnTo>
                  <a:lnTo>
                    <a:pt x="361" y="449"/>
                  </a:lnTo>
                  <a:lnTo>
                    <a:pt x="400" y="478"/>
                  </a:lnTo>
                  <a:lnTo>
                    <a:pt x="390" y="507"/>
                  </a:lnTo>
                  <a:lnTo>
                    <a:pt x="410" y="507"/>
                  </a:lnTo>
                  <a:lnTo>
                    <a:pt x="429" y="527"/>
                  </a:lnTo>
                  <a:lnTo>
                    <a:pt x="439" y="527"/>
                  </a:lnTo>
                  <a:lnTo>
                    <a:pt x="439" y="517"/>
                  </a:lnTo>
                  <a:lnTo>
                    <a:pt x="449" y="517"/>
                  </a:lnTo>
                  <a:lnTo>
                    <a:pt x="458" y="507"/>
                  </a:lnTo>
                  <a:lnTo>
                    <a:pt x="458" y="498"/>
                  </a:lnTo>
                  <a:lnTo>
                    <a:pt x="478" y="498"/>
                  </a:lnTo>
                  <a:lnTo>
                    <a:pt x="488" y="488"/>
                  </a:lnTo>
                  <a:lnTo>
                    <a:pt x="497" y="488"/>
                  </a:lnTo>
                  <a:lnTo>
                    <a:pt x="497" y="498"/>
                  </a:lnTo>
                  <a:lnTo>
                    <a:pt x="517" y="507"/>
                  </a:lnTo>
                  <a:lnTo>
                    <a:pt x="517" y="488"/>
                  </a:lnTo>
                  <a:lnTo>
                    <a:pt x="536" y="488"/>
                  </a:lnTo>
                  <a:lnTo>
                    <a:pt x="556" y="488"/>
                  </a:lnTo>
                  <a:lnTo>
                    <a:pt x="575" y="498"/>
                  </a:lnTo>
                  <a:lnTo>
                    <a:pt x="585" y="498"/>
                  </a:lnTo>
                  <a:lnTo>
                    <a:pt x="595" y="488"/>
                  </a:lnTo>
                  <a:lnTo>
                    <a:pt x="605" y="478"/>
                  </a:lnTo>
                  <a:lnTo>
                    <a:pt x="624" y="478"/>
                  </a:lnTo>
                  <a:lnTo>
                    <a:pt x="614" y="458"/>
                  </a:lnTo>
                  <a:lnTo>
                    <a:pt x="624" y="449"/>
                  </a:lnTo>
                  <a:lnTo>
                    <a:pt x="624" y="439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24" y="419"/>
                  </a:lnTo>
                  <a:lnTo>
                    <a:pt x="624" y="410"/>
                  </a:lnTo>
                  <a:lnTo>
                    <a:pt x="634" y="400"/>
                  </a:lnTo>
                  <a:lnTo>
                    <a:pt x="634" y="380"/>
                  </a:lnTo>
                  <a:lnTo>
                    <a:pt x="644" y="371"/>
                  </a:lnTo>
                  <a:lnTo>
                    <a:pt x="634" y="361"/>
                  </a:lnTo>
                  <a:lnTo>
                    <a:pt x="624" y="351"/>
                  </a:lnTo>
                  <a:lnTo>
                    <a:pt x="644" y="351"/>
                  </a:lnTo>
                  <a:lnTo>
                    <a:pt x="644" y="341"/>
                  </a:lnTo>
                  <a:lnTo>
                    <a:pt x="644" y="332"/>
                  </a:lnTo>
                  <a:lnTo>
                    <a:pt x="634" y="322"/>
                  </a:lnTo>
                  <a:lnTo>
                    <a:pt x="634" y="312"/>
                  </a:lnTo>
                  <a:lnTo>
                    <a:pt x="624" y="293"/>
                  </a:lnTo>
                  <a:lnTo>
                    <a:pt x="614" y="293"/>
                  </a:lnTo>
                  <a:lnTo>
                    <a:pt x="595" y="293"/>
                  </a:lnTo>
                  <a:lnTo>
                    <a:pt x="575" y="302"/>
                  </a:lnTo>
                  <a:lnTo>
                    <a:pt x="575" y="312"/>
                  </a:lnTo>
                  <a:lnTo>
                    <a:pt x="566" y="312"/>
                  </a:lnTo>
                  <a:lnTo>
                    <a:pt x="556" y="312"/>
                  </a:lnTo>
                  <a:lnTo>
                    <a:pt x="556" y="302"/>
                  </a:lnTo>
                  <a:lnTo>
                    <a:pt x="556" y="293"/>
                  </a:lnTo>
                  <a:lnTo>
                    <a:pt x="556" y="263"/>
                  </a:lnTo>
                  <a:lnTo>
                    <a:pt x="556" y="244"/>
                  </a:lnTo>
                  <a:lnTo>
                    <a:pt x="566" y="234"/>
                  </a:lnTo>
                  <a:lnTo>
                    <a:pt x="556" y="224"/>
                  </a:lnTo>
                  <a:lnTo>
                    <a:pt x="546" y="215"/>
                  </a:lnTo>
                  <a:lnTo>
                    <a:pt x="536" y="224"/>
                  </a:lnTo>
                  <a:lnTo>
                    <a:pt x="536" y="234"/>
                  </a:lnTo>
                  <a:lnTo>
                    <a:pt x="517" y="234"/>
                  </a:lnTo>
                  <a:lnTo>
                    <a:pt x="497" y="224"/>
                  </a:lnTo>
                  <a:lnTo>
                    <a:pt x="478" y="224"/>
                  </a:lnTo>
                  <a:lnTo>
                    <a:pt x="468" y="224"/>
                  </a:lnTo>
                  <a:lnTo>
                    <a:pt x="458" y="215"/>
                  </a:lnTo>
                  <a:lnTo>
                    <a:pt x="449" y="185"/>
                  </a:lnTo>
                  <a:lnTo>
                    <a:pt x="439" y="176"/>
                  </a:lnTo>
                  <a:lnTo>
                    <a:pt x="429" y="176"/>
                  </a:lnTo>
                  <a:lnTo>
                    <a:pt x="410" y="176"/>
                  </a:lnTo>
                  <a:lnTo>
                    <a:pt x="390" y="176"/>
                  </a:lnTo>
                  <a:lnTo>
                    <a:pt x="380" y="166"/>
                  </a:lnTo>
                  <a:lnTo>
                    <a:pt x="371" y="146"/>
                  </a:lnTo>
                  <a:lnTo>
                    <a:pt x="351" y="117"/>
                  </a:lnTo>
                  <a:lnTo>
                    <a:pt x="322" y="88"/>
                  </a:lnTo>
                  <a:lnTo>
                    <a:pt x="302" y="78"/>
                  </a:lnTo>
                  <a:lnTo>
                    <a:pt x="292" y="68"/>
                  </a:lnTo>
                  <a:lnTo>
                    <a:pt x="283" y="58"/>
                  </a:lnTo>
                  <a:lnTo>
                    <a:pt x="244" y="49"/>
                  </a:lnTo>
                  <a:lnTo>
                    <a:pt x="224" y="39"/>
                  </a:lnTo>
                  <a:lnTo>
                    <a:pt x="205" y="29"/>
                  </a:lnTo>
                  <a:lnTo>
                    <a:pt x="185" y="19"/>
                  </a:lnTo>
                  <a:lnTo>
                    <a:pt x="166" y="19"/>
                  </a:lnTo>
                  <a:lnTo>
                    <a:pt x="146" y="0"/>
                  </a:lnTo>
                  <a:lnTo>
                    <a:pt x="146" y="39"/>
                  </a:lnTo>
                  <a:lnTo>
                    <a:pt x="146" y="58"/>
                  </a:lnTo>
                  <a:lnTo>
                    <a:pt x="146" y="68"/>
                  </a:lnTo>
                  <a:lnTo>
                    <a:pt x="127" y="78"/>
                  </a:lnTo>
                  <a:lnTo>
                    <a:pt x="117" y="78"/>
                  </a:lnTo>
                  <a:lnTo>
                    <a:pt x="107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17" y="127"/>
                  </a:lnTo>
                  <a:lnTo>
                    <a:pt x="107" y="127"/>
                  </a:lnTo>
                  <a:lnTo>
                    <a:pt x="88" y="117"/>
                  </a:lnTo>
                  <a:lnTo>
                    <a:pt x="88" y="127"/>
                  </a:lnTo>
                  <a:lnTo>
                    <a:pt x="58" y="127"/>
                  </a:lnTo>
                  <a:lnTo>
                    <a:pt x="49" y="137"/>
                  </a:lnTo>
                  <a:lnTo>
                    <a:pt x="49" y="156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76"/>
                  </a:lnTo>
                  <a:lnTo>
                    <a:pt x="19" y="176"/>
                  </a:lnTo>
                  <a:lnTo>
                    <a:pt x="10" y="195"/>
                  </a:lnTo>
                  <a:lnTo>
                    <a:pt x="10" y="215"/>
                  </a:lnTo>
                  <a:lnTo>
                    <a:pt x="19" y="234"/>
                  </a:lnTo>
                  <a:lnTo>
                    <a:pt x="29" y="244"/>
                  </a:lnTo>
                  <a:lnTo>
                    <a:pt x="29" y="263"/>
                  </a:lnTo>
                  <a:lnTo>
                    <a:pt x="29" y="273"/>
                  </a:lnTo>
                  <a:lnTo>
                    <a:pt x="19" y="273"/>
                  </a:lnTo>
                  <a:lnTo>
                    <a:pt x="10" y="293"/>
                  </a:lnTo>
                  <a:lnTo>
                    <a:pt x="10" y="312"/>
                  </a:lnTo>
                  <a:lnTo>
                    <a:pt x="0" y="322"/>
                  </a:lnTo>
                  <a:lnTo>
                    <a:pt x="0" y="332"/>
                  </a:lnTo>
                  <a:lnTo>
                    <a:pt x="10" y="332"/>
                  </a:lnTo>
                  <a:lnTo>
                    <a:pt x="29" y="332"/>
                  </a:lnTo>
                  <a:lnTo>
                    <a:pt x="39" y="322"/>
                  </a:lnTo>
                  <a:lnTo>
                    <a:pt x="49" y="322"/>
                  </a:lnTo>
                  <a:lnTo>
                    <a:pt x="68" y="332"/>
                  </a:lnTo>
                  <a:lnTo>
                    <a:pt x="88" y="322"/>
                  </a:lnTo>
                  <a:lnTo>
                    <a:pt x="97" y="322"/>
                  </a:lnTo>
                  <a:lnTo>
                    <a:pt x="97" y="332"/>
                  </a:lnTo>
                  <a:lnTo>
                    <a:pt x="88" y="341"/>
                  </a:lnTo>
                  <a:lnTo>
                    <a:pt x="78" y="351"/>
                  </a:lnTo>
                  <a:lnTo>
                    <a:pt x="58" y="351"/>
                  </a:lnTo>
                  <a:lnTo>
                    <a:pt x="49" y="351"/>
                  </a:lnTo>
                  <a:lnTo>
                    <a:pt x="58" y="371"/>
                  </a:lnTo>
                  <a:lnTo>
                    <a:pt x="68" y="390"/>
                  </a:lnTo>
                  <a:lnTo>
                    <a:pt x="88" y="419"/>
                  </a:lnTo>
                  <a:lnTo>
                    <a:pt x="97" y="439"/>
                  </a:lnTo>
                  <a:lnTo>
                    <a:pt x="107" y="449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9" name="Freeform 195"/>
            <p:cNvSpPr>
              <a:spLocks/>
            </p:cNvSpPr>
            <p:nvPr/>
          </p:nvSpPr>
          <p:spPr bwMode="auto">
            <a:xfrm>
              <a:off x="2040" y="1783"/>
              <a:ext cx="478" cy="293"/>
            </a:xfrm>
            <a:custGeom>
              <a:avLst/>
              <a:gdLst/>
              <a:ahLst/>
              <a:cxnLst>
                <a:cxn ang="0">
                  <a:pos x="458" y="186"/>
                </a:cxn>
                <a:cxn ang="0">
                  <a:pos x="429" y="176"/>
                </a:cxn>
                <a:cxn ang="0">
                  <a:pos x="400" y="186"/>
                </a:cxn>
                <a:cxn ang="0">
                  <a:pos x="361" y="186"/>
                </a:cxn>
                <a:cxn ang="0">
                  <a:pos x="341" y="157"/>
                </a:cxn>
                <a:cxn ang="0">
                  <a:pos x="312" y="108"/>
                </a:cxn>
                <a:cxn ang="0">
                  <a:pos x="302" y="79"/>
                </a:cxn>
                <a:cxn ang="0">
                  <a:pos x="282" y="49"/>
                </a:cxn>
                <a:cxn ang="0">
                  <a:pos x="263" y="30"/>
                </a:cxn>
                <a:cxn ang="0">
                  <a:pos x="243" y="10"/>
                </a:cxn>
                <a:cxn ang="0">
                  <a:pos x="234" y="20"/>
                </a:cxn>
                <a:cxn ang="0">
                  <a:pos x="175" y="0"/>
                </a:cxn>
                <a:cxn ang="0">
                  <a:pos x="146" y="20"/>
                </a:cxn>
                <a:cxn ang="0">
                  <a:pos x="117" y="30"/>
                </a:cxn>
                <a:cxn ang="0">
                  <a:pos x="78" y="40"/>
                </a:cxn>
                <a:cxn ang="0">
                  <a:pos x="58" y="59"/>
                </a:cxn>
                <a:cxn ang="0">
                  <a:pos x="39" y="59"/>
                </a:cxn>
                <a:cxn ang="0">
                  <a:pos x="19" y="88"/>
                </a:cxn>
                <a:cxn ang="0">
                  <a:pos x="0" y="88"/>
                </a:cxn>
                <a:cxn ang="0">
                  <a:pos x="29" y="118"/>
                </a:cxn>
                <a:cxn ang="0">
                  <a:pos x="48" y="137"/>
                </a:cxn>
                <a:cxn ang="0">
                  <a:pos x="78" y="127"/>
                </a:cxn>
                <a:cxn ang="0">
                  <a:pos x="87" y="157"/>
                </a:cxn>
                <a:cxn ang="0">
                  <a:pos x="117" y="166"/>
                </a:cxn>
                <a:cxn ang="0">
                  <a:pos x="107" y="186"/>
                </a:cxn>
                <a:cxn ang="0">
                  <a:pos x="117" y="215"/>
                </a:cxn>
                <a:cxn ang="0">
                  <a:pos x="136" y="215"/>
                </a:cxn>
                <a:cxn ang="0">
                  <a:pos x="146" y="254"/>
                </a:cxn>
                <a:cxn ang="0">
                  <a:pos x="214" y="254"/>
                </a:cxn>
                <a:cxn ang="0">
                  <a:pos x="243" y="244"/>
                </a:cxn>
                <a:cxn ang="0">
                  <a:pos x="263" y="264"/>
                </a:cxn>
                <a:cxn ang="0">
                  <a:pos x="302" y="283"/>
                </a:cxn>
                <a:cxn ang="0">
                  <a:pos x="331" y="283"/>
                </a:cxn>
                <a:cxn ang="0">
                  <a:pos x="361" y="264"/>
                </a:cxn>
                <a:cxn ang="0">
                  <a:pos x="409" y="274"/>
                </a:cxn>
                <a:cxn ang="0">
                  <a:pos x="458" y="254"/>
                </a:cxn>
                <a:cxn ang="0">
                  <a:pos x="468" y="225"/>
                </a:cxn>
                <a:cxn ang="0">
                  <a:pos x="478" y="205"/>
                </a:cxn>
              </a:cxnLst>
              <a:rect l="0" t="0" r="r" b="b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2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2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96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54"/>
                  </a:lnTo>
                  <a:lnTo>
                    <a:pt x="214" y="254"/>
                  </a:lnTo>
                  <a:lnTo>
                    <a:pt x="234" y="244"/>
                  </a:lnTo>
                  <a:lnTo>
                    <a:pt x="243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74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74"/>
                  </a:lnTo>
                  <a:lnTo>
                    <a:pt x="439" y="274"/>
                  </a:lnTo>
                  <a:lnTo>
                    <a:pt x="458" y="25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  <a:lnTo>
                    <a:pt x="478" y="20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0" name="Freeform 194"/>
            <p:cNvSpPr>
              <a:spLocks/>
            </p:cNvSpPr>
            <p:nvPr/>
          </p:nvSpPr>
          <p:spPr bwMode="auto">
            <a:xfrm>
              <a:off x="2040" y="1786"/>
              <a:ext cx="476" cy="293"/>
            </a:xfrm>
            <a:custGeom>
              <a:avLst/>
              <a:gdLst>
                <a:gd name="T0" fmla="*/ 458 w 478"/>
                <a:gd name="T1" fmla="*/ 186 h 293"/>
                <a:gd name="T2" fmla="*/ 43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64 h 293"/>
                <a:gd name="T58" fmla="*/ 234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83 h 293"/>
                <a:gd name="T70" fmla="*/ 458 w 478"/>
                <a:gd name="T71" fmla="*/ 264 h 293"/>
                <a:gd name="T72" fmla="*/ 468 w 478"/>
                <a:gd name="T73" fmla="*/ 225 h 2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8"/>
                <a:gd name="T112" fmla="*/ 0 h 293"/>
                <a:gd name="T113" fmla="*/ 478 w 478"/>
                <a:gd name="T114" fmla="*/ 293 h 2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3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3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205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64"/>
                  </a:lnTo>
                  <a:lnTo>
                    <a:pt x="214" y="264"/>
                  </a:lnTo>
                  <a:lnTo>
                    <a:pt x="234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83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83"/>
                  </a:lnTo>
                  <a:lnTo>
                    <a:pt x="439" y="283"/>
                  </a:lnTo>
                  <a:lnTo>
                    <a:pt x="458" y="26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</a:path>
              </a:pathLst>
            </a:custGeom>
            <a:noFill/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1" name="Freeform 193"/>
            <p:cNvSpPr>
              <a:spLocks/>
            </p:cNvSpPr>
            <p:nvPr/>
          </p:nvSpPr>
          <p:spPr bwMode="auto">
            <a:xfrm>
              <a:off x="2274" y="1873"/>
              <a:ext cx="566" cy="595"/>
            </a:xfrm>
            <a:custGeom>
              <a:avLst/>
              <a:gdLst/>
              <a:ahLst/>
              <a:cxnLst>
                <a:cxn ang="0">
                  <a:pos x="195" y="547"/>
                </a:cxn>
                <a:cxn ang="0">
                  <a:pos x="224" y="488"/>
                </a:cxn>
                <a:cxn ang="0">
                  <a:pos x="302" y="478"/>
                </a:cxn>
                <a:cxn ang="0">
                  <a:pos x="322" y="420"/>
                </a:cxn>
                <a:cxn ang="0">
                  <a:pos x="380" y="410"/>
                </a:cxn>
                <a:cxn ang="0">
                  <a:pos x="439" y="469"/>
                </a:cxn>
                <a:cxn ang="0">
                  <a:pos x="468" y="439"/>
                </a:cxn>
                <a:cxn ang="0">
                  <a:pos x="487" y="410"/>
                </a:cxn>
                <a:cxn ang="0">
                  <a:pos x="526" y="352"/>
                </a:cxn>
                <a:cxn ang="0">
                  <a:pos x="565" y="322"/>
                </a:cxn>
                <a:cxn ang="0">
                  <a:pos x="526" y="283"/>
                </a:cxn>
                <a:cxn ang="0">
                  <a:pos x="497" y="254"/>
                </a:cxn>
                <a:cxn ang="0">
                  <a:pos x="458" y="225"/>
                </a:cxn>
                <a:cxn ang="0">
                  <a:pos x="370" y="215"/>
                </a:cxn>
                <a:cxn ang="0">
                  <a:pos x="322" y="244"/>
                </a:cxn>
                <a:cxn ang="0">
                  <a:pos x="322" y="205"/>
                </a:cxn>
                <a:cxn ang="0">
                  <a:pos x="322" y="166"/>
                </a:cxn>
                <a:cxn ang="0">
                  <a:pos x="361" y="117"/>
                </a:cxn>
                <a:cxn ang="0">
                  <a:pos x="370" y="108"/>
                </a:cxn>
                <a:cxn ang="0">
                  <a:pos x="370" y="49"/>
                </a:cxn>
                <a:cxn ang="0">
                  <a:pos x="351" y="10"/>
                </a:cxn>
                <a:cxn ang="0">
                  <a:pos x="322" y="39"/>
                </a:cxn>
                <a:cxn ang="0">
                  <a:pos x="273" y="39"/>
                </a:cxn>
                <a:cxn ang="0">
                  <a:pos x="244" y="49"/>
                </a:cxn>
                <a:cxn ang="0">
                  <a:pos x="263" y="78"/>
                </a:cxn>
                <a:cxn ang="0">
                  <a:pos x="244" y="117"/>
                </a:cxn>
                <a:cxn ang="0">
                  <a:pos x="224" y="147"/>
                </a:cxn>
                <a:cxn ang="0">
                  <a:pos x="175" y="186"/>
                </a:cxn>
                <a:cxn ang="0">
                  <a:pos x="107" y="186"/>
                </a:cxn>
                <a:cxn ang="0">
                  <a:pos x="88" y="225"/>
                </a:cxn>
                <a:cxn ang="0">
                  <a:pos x="107" y="273"/>
                </a:cxn>
                <a:cxn ang="0">
                  <a:pos x="68" y="283"/>
                </a:cxn>
                <a:cxn ang="0">
                  <a:pos x="29" y="283"/>
                </a:cxn>
                <a:cxn ang="0">
                  <a:pos x="0" y="313"/>
                </a:cxn>
                <a:cxn ang="0">
                  <a:pos x="9" y="342"/>
                </a:cxn>
                <a:cxn ang="0">
                  <a:pos x="48" y="352"/>
                </a:cxn>
                <a:cxn ang="0">
                  <a:pos x="107" y="371"/>
                </a:cxn>
                <a:cxn ang="0">
                  <a:pos x="136" y="391"/>
                </a:cxn>
                <a:cxn ang="0">
                  <a:pos x="136" y="430"/>
                </a:cxn>
                <a:cxn ang="0">
                  <a:pos x="127" y="478"/>
                </a:cxn>
                <a:cxn ang="0">
                  <a:pos x="136" y="527"/>
                </a:cxn>
                <a:cxn ang="0">
                  <a:pos x="146" y="586"/>
                </a:cxn>
                <a:cxn ang="0">
                  <a:pos x="166" y="576"/>
                </a:cxn>
              </a:cxnLst>
              <a:rect l="0" t="0" r="r" b="b"/>
              <a:pathLst>
                <a:path w="565" h="595">
                  <a:moveTo>
                    <a:pt x="166" y="547"/>
                  </a:moveTo>
                  <a:lnTo>
                    <a:pt x="185" y="537"/>
                  </a:lnTo>
                  <a:lnTo>
                    <a:pt x="195" y="547"/>
                  </a:lnTo>
                  <a:lnTo>
                    <a:pt x="214" y="537"/>
                  </a:lnTo>
                  <a:lnTo>
                    <a:pt x="214" y="508"/>
                  </a:lnTo>
                  <a:lnTo>
                    <a:pt x="224" y="488"/>
                  </a:lnTo>
                  <a:lnTo>
                    <a:pt x="244" y="469"/>
                  </a:lnTo>
                  <a:lnTo>
                    <a:pt x="273" y="488"/>
                  </a:lnTo>
                  <a:lnTo>
                    <a:pt x="302" y="478"/>
                  </a:lnTo>
                  <a:lnTo>
                    <a:pt x="312" y="449"/>
                  </a:lnTo>
                  <a:lnTo>
                    <a:pt x="331" y="439"/>
                  </a:lnTo>
                  <a:lnTo>
                    <a:pt x="322" y="420"/>
                  </a:lnTo>
                  <a:lnTo>
                    <a:pt x="341" y="410"/>
                  </a:lnTo>
                  <a:lnTo>
                    <a:pt x="361" y="410"/>
                  </a:lnTo>
                  <a:lnTo>
                    <a:pt x="380" y="410"/>
                  </a:lnTo>
                  <a:lnTo>
                    <a:pt x="400" y="430"/>
                  </a:lnTo>
                  <a:lnTo>
                    <a:pt x="419" y="439"/>
                  </a:lnTo>
                  <a:lnTo>
                    <a:pt x="439" y="469"/>
                  </a:lnTo>
                  <a:lnTo>
                    <a:pt x="458" y="469"/>
                  </a:lnTo>
                  <a:lnTo>
                    <a:pt x="468" y="469"/>
                  </a:lnTo>
                  <a:lnTo>
                    <a:pt x="468" y="439"/>
                  </a:lnTo>
                  <a:lnTo>
                    <a:pt x="478" y="420"/>
                  </a:lnTo>
                  <a:lnTo>
                    <a:pt x="497" y="410"/>
                  </a:lnTo>
                  <a:lnTo>
                    <a:pt x="487" y="410"/>
                  </a:lnTo>
                  <a:lnTo>
                    <a:pt x="487" y="391"/>
                  </a:lnTo>
                  <a:lnTo>
                    <a:pt x="487" y="381"/>
                  </a:lnTo>
                  <a:lnTo>
                    <a:pt x="526" y="352"/>
                  </a:lnTo>
                  <a:lnTo>
                    <a:pt x="536" y="361"/>
                  </a:lnTo>
                  <a:lnTo>
                    <a:pt x="565" y="342"/>
                  </a:lnTo>
                  <a:lnTo>
                    <a:pt x="565" y="322"/>
                  </a:lnTo>
                  <a:lnTo>
                    <a:pt x="565" y="303"/>
                  </a:lnTo>
                  <a:lnTo>
                    <a:pt x="556" y="303"/>
                  </a:lnTo>
                  <a:lnTo>
                    <a:pt x="526" y="283"/>
                  </a:lnTo>
                  <a:lnTo>
                    <a:pt x="517" y="273"/>
                  </a:lnTo>
                  <a:lnTo>
                    <a:pt x="507" y="244"/>
                  </a:lnTo>
                  <a:lnTo>
                    <a:pt x="497" y="254"/>
                  </a:lnTo>
                  <a:lnTo>
                    <a:pt x="468" y="264"/>
                  </a:lnTo>
                  <a:lnTo>
                    <a:pt x="468" y="244"/>
                  </a:lnTo>
                  <a:lnTo>
                    <a:pt x="458" y="225"/>
                  </a:lnTo>
                  <a:lnTo>
                    <a:pt x="429" y="234"/>
                  </a:lnTo>
                  <a:lnTo>
                    <a:pt x="400" y="225"/>
                  </a:lnTo>
                  <a:lnTo>
                    <a:pt x="370" y="215"/>
                  </a:lnTo>
                  <a:lnTo>
                    <a:pt x="341" y="234"/>
                  </a:lnTo>
                  <a:lnTo>
                    <a:pt x="331" y="254"/>
                  </a:lnTo>
                  <a:lnTo>
                    <a:pt x="322" y="244"/>
                  </a:lnTo>
                  <a:lnTo>
                    <a:pt x="322" y="234"/>
                  </a:lnTo>
                  <a:lnTo>
                    <a:pt x="331" y="225"/>
                  </a:lnTo>
                  <a:lnTo>
                    <a:pt x="322" y="205"/>
                  </a:lnTo>
                  <a:lnTo>
                    <a:pt x="341" y="186"/>
                  </a:lnTo>
                  <a:lnTo>
                    <a:pt x="322" y="166"/>
                  </a:lnTo>
                  <a:lnTo>
                    <a:pt x="322" y="156"/>
                  </a:lnTo>
                  <a:lnTo>
                    <a:pt x="331" y="147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0" y="117"/>
                  </a:lnTo>
                  <a:lnTo>
                    <a:pt x="370" y="108"/>
                  </a:lnTo>
                  <a:lnTo>
                    <a:pt x="380" y="88"/>
                  </a:lnTo>
                  <a:lnTo>
                    <a:pt x="400" y="59"/>
                  </a:lnTo>
                  <a:lnTo>
                    <a:pt x="370" y="49"/>
                  </a:lnTo>
                  <a:lnTo>
                    <a:pt x="400" y="30"/>
                  </a:lnTo>
                  <a:lnTo>
                    <a:pt x="370" y="0"/>
                  </a:lnTo>
                  <a:lnTo>
                    <a:pt x="351" y="10"/>
                  </a:lnTo>
                  <a:lnTo>
                    <a:pt x="341" y="30"/>
                  </a:lnTo>
                  <a:lnTo>
                    <a:pt x="331" y="39"/>
                  </a:lnTo>
                  <a:lnTo>
                    <a:pt x="322" y="39"/>
                  </a:lnTo>
                  <a:lnTo>
                    <a:pt x="302" y="39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63" y="30"/>
                  </a:lnTo>
                  <a:lnTo>
                    <a:pt x="253" y="39"/>
                  </a:lnTo>
                  <a:lnTo>
                    <a:pt x="244" y="49"/>
                  </a:lnTo>
                  <a:lnTo>
                    <a:pt x="263" y="59"/>
                  </a:lnTo>
                  <a:lnTo>
                    <a:pt x="273" y="69"/>
                  </a:lnTo>
                  <a:lnTo>
                    <a:pt x="263" y="78"/>
                  </a:lnTo>
                  <a:lnTo>
                    <a:pt x="263" y="98"/>
                  </a:lnTo>
                  <a:lnTo>
                    <a:pt x="253" y="108"/>
                  </a:lnTo>
                  <a:lnTo>
                    <a:pt x="244" y="117"/>
                  </a:lnTo>
                  <a:lnTo>
                    <a:pt x="244" y="127"/>
                  </a:lnTo>
                  <a:lnTo>
                    <a:pt x="234" y="127"/>
                  </a:lnTo>
                  <a:lnTo>
                    <a:pt x="224" y="147"/>
                  </a:lnTo>
                  <a:lnTo>
                    <a:pt x="224" y="166"/>
                  </a:lnTo>
                  <a:lnTo>
                    <a:pt x="205" y="186"/>
                  </a:lnTo>
                  <a:lnTo>
                    <a:pt x="175" y="186"/>
                  </a:lnTo>
                  <a:lnTo>
                    <a:pt x="146" y="186"/>
                  </a:lnTo>
                  <a:lnTo>
                    <a:pt x="127" y="176"/>
                  </a:lnTo>
                  <a:lnTo>
                    <a:pt x="107" y="186"/>
                  </a:lnTo>
                  <a:lnTo>
                    <a:pt x="97" y="195"/>
                  </a:lnTo>
                  <a:lnTo>
                    <a:pt x="78" y="205"/>
                  </a:lnTo>
                  <a:lnTo>
                    <a:pt x="88" y="225"/>
                  </a:lnTo>
                  <a:lnTo>
                    <a:pt x="107" y="244"/>
                  </a:lnTo>
                  <a:lnTo>
                    <a:pt x="117" y="254"/>
                  </a:lnTo>
                  <a:lnTo>
                    <a:pt x="107" y="273"/>
                  </a:lnTo>
                  <a:lnTo>
                    <a:pt x="97" y="283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73"/>
                  </a:lnTo>
                  <a:lnTo>
                    <a:pt x="39" y="273"/>
                  </a:lnTo>
                  <a:lnTo>
                    <a:pt x="29" y="283"/>
                  </a:lnTo>
                  <a:lnTo>
                    <a:pt x="29" y="293"/>
                  </a:lnTo>
                  <a:lnTo>
                    <a:pt x="9" y="303"/>
                  </a:lnTo>
                  <a:lnTo>
                    <a:pt x="0" y="313"/>
                  </a:lnTo>
                  <a:lnTo>
                    <a:pt x="9" y="322"/>
                  </a:lnTo>
                  <a:lnTo>
                    <a:pt x="9" y="332"/>
                  </a:lnTo>
                  <a:lnTo>
                    <a:pt x="9" y="342"/>
                  </a:lnTo>
                  <a:lnTo>
                    <a:pt x="9" y="352"/>
                  </a:lnTo>
                  <a:lnTo>
                    <a:pt x="29" y="352"/>
                  </a:lnTo>
                  <a:lnTo>
                    <a:pt x="48" y="352"/>
                  </a:lnTo>
                  <a:lnTo>
                    <a:pt x="58" y="361"/>
                  </a:lnTo>
                  <a:lnTo>
                    <a:pt x="88" y="361"/>
                  </a:lnTo>
                  <a:lnTo>
                    <a:pt x="107" y="371"/>
                  </a:lnTo>
                  <a:lnTo>
                    <a:pt x="107" y="391"/>
                  </a:lnTo>
                  <a:lnTo>
                    <a:pt x="127" y="381"/>
                  </a:lnTo>
                  <a:lnTo>
                    <a:pt x="136" y="391"/>
                  </a:lnTo>
                  <a:lnTo>
                    <a:pt x="127" y="410"/>
                  </a:lnTo>
                  <a:lnTo>
                    <a:pt x="146" y="420"/>
                  </a:lnTo>
                  <a:lnTo>
                    <a:pt x="136" y="430"/>
                  </a:lnTo>
                  <a:lnTo>
                    <a:pt x="136" y="439"/>
                  </a:lnTo>
                  <a:lnTo>
                    <a:pt x="136" y="459"/>
                  </a:lnTo>
                  <a:lnTo>
                    <a:pt x="127" y="478"/>
                  </a:lnTo>
                  <a:lnTo>
                    <a:pt x="136" y="488"/>
                  </a:lnTo>
                  <a:lnTo>
                    <a:pt x="136" y="527"/>
                  </a:lnTo>
                  <a:lnTo>
                    <a:pt x="146" y="537"/>
                  </a:lnTo>
                  <a:lnTo>
                    <a:pt x="136" y="556"/>
                  </a:lnTo>
                  <a:lnTo>
                    <a:pt x="146" y="586"/>
                  </a:lnTo>
                  <a:lnTo>
                    <a:pt x="146" y="595"/>
                  </a:lnTo>
                  <a:lnTo>
                    <a:pt x="166" y="586"/>
                  </a:lnTo>
                  <a:lnTo>
                    <a:pt x="166" y="576"/>
                  </a:lnTo>
                  <a:lnTo>
                    <a:pt x="175" y="556"/>
                  </a:lnTo>
                  <a:lnTo>
                    <a:pt x="166" y="54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2" name="Freeform 192"/>
            <p:cNvSpPr>
              <a:spLocks/>
            </p:cNvSpPr>
            <p:nvPr/>
          </p:nvSpPr>
          <p:spPr bwMode="auto">
            <a:xfrm>
              <a:off x="1365" y="1504"/>
              <a:ext cx="332" cy="253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9 w 331"/>
                <a:gd name="T23" fmla="*/ 175 h 253"/>
                <a:gd name="T24" fmla="*/ 9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87 h 253"/>
                <a:gd name="T68" fmla="*/ 224 w 331"/>
                <a:gd name="T69" fmla="*/ 107 h 253"/>
                <a:gd name="T70" fmla="*/ 24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146 w 331"/>
                <a:gd name="T111" fmla="*/ 214 h 2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1"/>
                <a:gd name="T169" fmla="*/ 0 h 253"/>
                <a:gd name="T170" fmla="*/ 331 w 331"/>
                <a:gd name="T171" fmla="*/ 253 h 2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9" y="175"/>
                  </a:lnTo>
                  <a:lnTo>
                    <a:pt x="9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87"/>
                  </a:lnTo>
                  <a:lnTo>
                    <a:pt x="224" y="107"/>
                  </a:lnTo>
                  <a:lnTo>
                    <a:pt x="24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  <a:lnTo>
                    <a:pt x="146" y="21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20" name="Group 189"/>
            <p:cNvGrpSpPr>
              <a:grpSpLocks/>
            </p:cNvGrpSpPr>
            <p:nvPr/>
          </p:nvGrpSpPr>
          <p:grpSpPr bwMode="auto">
            <a:xfrm>
              <a:off x="1366" y="1503"/>
              <a:ext cx="331" cy="253"/>
              <a:chOff x="1366" y="1503"/>
              <a:chExt cx="331" cy="253"/>
            </a:xfrm>
          </p:grpSpPr>
          <p:sp>
            <p:nvSpPr>
              <p:cNvPr id="337" name="Freeform 191"/>
              <p:cNvSpPr>
                <a:spLocks/>
              </p:cNvSpPr>
              <p:nvPr/>
            </p:nvSpPr>
            <p:spPr bwMode="auto">
              <a:xfrm>
                <a:off x="1365" y="1504"/>
                <a:ext cx="332" cy="253"/>
              </a:xfrm>
              <a:custGeom>
                <a:avLst/>
                <a:gdLst>
                  <a:gd name="T0" fmla="*/ 146 w 331"/>
                  <a:gd name="T1" fmla="*/ 225 h 253"/>
                  <a:gd name="T2" fmla="*/ 117 w 331"/>
                  <a:gd name="T3" fmla="*/ 235 h 253"/>
                  <a:gd name="T4" fmla="*/ 97 w 331"/>
                  <a:gd name="T5" fmla="*/ 245 h 253"/>
                  <a:gd name="T6" fmla="*/ 87 w 331"/>
                  <a:gd name="T7" fmla="*/ 245 h 253"/>
                  <a:gd name="T8" fmla="*/ 78 w 331"/>
                  <a:gd name="T9" fmla="*/ 245 h 253"/>
                  <a:gd name="T10" fmla="*/ 48 w 331"/>
                  <a:gd name="T11" fmla="*/ 245 h 253"/>
                  <a:gd name="T12" fmla="*/ 19 w 331"/>
                  <a:gd name="T13" fmla="*/ 245 h 253"/>
                  <a:gd name="T14" fmla="*/ 9 w 331"/>
                  <a:gd name="T15" fmla="*/ 245 h 253"/>
                  <a:gd name="T16" fmla="*/ 0 w 331"/>
                  <a:gd name="T17" fmla="*/ 225 h 253"/>
                  <a:gd name="T18" fmla="*/ 9 w 331"/>
                  <a:gd name="T19" fmla="*/ 206 h 253"/>
                  <a:gd name="T20" fmla="*/ 9 w 331"/>
                  <a:gd name="T21" fmla="*/ 206 h 253"/>
                  <a:gd name="T22" fmla="*/ 0 w 331"/>
                  <a:gd name="T23" fmla="*/ 186 h 253"/>
                  <a:gd name="T24" fmla="*/ 0 w 331"/>
                  <a:gd name="T25" fmla="*/ 167 h 253"/>
                  <a:gd name="T26" fmla="*/ 19 w 331"/>
                  <a:gd name="T27" fmla="*/ 167 h 253"/>
                  <a:gd name="T28" fmla="*/ 29 w 331"/>
                  <a:gd name="T29" fmla="*/ 147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86 w 331"/>
                  <a:gd name="T65" fmla="*/ 39 h 253"/>
                  <a:gd name="T66" fmla="*/ 206 w 331"/>
                  <a:gd name="T67" fmla="*/ 78 h 253"/>
                  <a:gd name="T68" fmla="*/ 235 w 331"/>
                  <a:gd name="T69" fmla="*/ 107 h 253"/>
                  <a:gd name="T70" fmla="*/ 264 w 331"/>
                  <a:gd name="T71" fmla="*/ 126 h 253"/>
                  <a:gd name="T72" fmla="*/ 293 w 331"/>
                  <a:gd name="T73" fmla="*/ 147 h 253"/>
                  <a:gd name="T74" fmla="*/ 313 w 331"/>
                  <a:gd name="T75" fmla="*/ 126 h 253"/>
                  <a:gd name="T76" fmla="*/ 323 w 331"/>
                  <a:gd name="T77" fmla="*/ 147 h 253"/>
                  <a:gd name="T78" fmla="*/ 323 w 331"/>
                  <a:gd name="T79" fmla="*/ 167 h 253"/>
                  <a:gd name="T80" fmla="*/ 323 w 331"/>
                  <a:gd name="T81" fmla="*/ 186 h 253"/>
                  <a:gd name="T82" fmla="*/ 332 w 331"/>
                  <a:gd name="T83" fmla="*/ 196 h 253"/>
                  <a:gd name="T84" fmla="*/ 342 w 331"/>
                  <a:gd name="T85" fmla="*/ 206 h 253"/>
                  <a:gd name="T86" fmla="*/ 342 w 331"/>
                  <a:gd name="T87" fmla="*/ 215 h 253"/>
                  <a:gd name="T88" fmla="*/ 332 w 331"/>
                  <a:gd name="T89" fmla="*/ 225 h 253"/>
                  <a:gd name="T90" fmla="*/ 303 w 331"/>
                  <a:gd name="T91" fmla="*/ 245 h 253"/>
                  <a:gd name="T92" fmla="*/ 284 w 331"/>
                  <a:gd name="T93" fmla="*/ 254 h 253"/>
                  <a:gd name="T94" fmla="*/ 264 w 331"/>
                  <a:gd name="T95" fmla="*/ 264 h 253"/>
                  <a:gd name="T96" fmla="*/ 245 w 331"/>
                  <a:gd name="T97" fmla="*/ 264 h 253"/>
                  <a:gd name="T98" fmla="*/ 225 w 331"/>
                  <a:gd name="T99" fmla="*/ 254 h 253"/>
                  <a:gd name="T100" fmla="*/ 206 w 331"/>
                  <a:gd name="T101" fmla="*/ 264 h 253"/>
                  <a:gd name="T102" fmla="*/ 186 w 331"/>
                  <a:gd name="T103" fmla="*/ 254 h 253"/>
                  <a:gd name="T104" fmla="*/ 165 w 331"/>
                  <a:gd name="T105" fmla="*/ 254 h 253"/>
                  <a:gd name="T106" fmla="*/ 156 w 331"/>
                  <a:gd name="T107" fmla="*/ 254 h 253"/>
                  <a:gd name="T108" fmla="*/ 156 w 331"/>
                  <a:gd name="T109" fmla="*/ 245 h 253"/>
                  <a:gd name="T110" fmla="*/ 146 w 331"/>
                  <a:gd name="T111" fmla="*/ 225 h 2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31"/>
                  <a:gd name="T169" fmla="*/ 0 h 253"/>
                  <a:gd name="T170" fmla="*/ 331 w 331"/>
                  <a:gd name="T171" fmla="*/ 253 h 25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  <a:lnTo>
                      <a:pt x="146" y="214"/>
                    </a:lnTo>
                    <a:close/>
                  </a:path>
                </a:pathLst>
              </a:custGeom>
              <a:solidFill>
                <a:srgbClr val="F21C0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8" name="Freeform 190"/>
              <p:cNvSpPr>
                <a:spLocks/>
              </p:cNvSpPr>
              <p:nvPr/>
            </p:nvSpPr>
            <p:spPr bwMode="auto">
              <a:xfrm>
                <a:off x="1365" y="1504"/>
                <a:ext cx="332" cy="253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1"/>
                  <a:gd name="T166" fmla="*/ 0 h 253"/>
                  <a:gd name="T167" fmla="*/ 331 w 331"/>
                  <a:gd name="T168" fmla="*/ 253 h 25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64" name="Freeform 188"/>
            <p:cNvSpPr>
              <a:spLocks/>
            </p:cNvSpPr>
            <p:nvPr/>
          </p:nvSpPr>
          <p:spPr bwMode="auto">
            <a:xfrm>
              <a:off x="1202" y="1679"/>
              <a:ext cx="250" cy="241"/>
            </a:xfrm>
            <a:custGeom>
              <a:avLst/>
              <a:gdLst/>
              <a:ahLst/>
              <a:cxnLst>
                <a:cxn ang="0">
                  <a:pos x="127" y="244"/>
                </a:cxn>
                <a:cxn ang="0">
                  <a:pos x="107" y="244"/>
                </a:cxn>
                <a:cxn ang="0">
                  <a:pos x="78" y="225"/>
                </a:cxn>
                <a:cxn ang="0">
                  <a:pos x="97" y="195"/>
                </a:cxn>
                <a:cxn ang="0">
                  <a:pos x="88" y="166"/>
                </a:cxn>
                <a:cxn ang="0">
                  <a:pos x="68" y="166"/>
                </a:cxn>
                <a:cxn ang="0">
                  <a:pos x="58" y="147"/>
                </a:cxn>
                <a:cxn ang="0">
                  <a:pos x="39" y="107"/>
                </a:cxn>
                <a:cxn ang="0">
                  <a:pos x="19" y="107"/>
                </a:cxn>
                <a:cxn ang="0">
                  <a:pos x="0" y="88"/>
                </a:cxn>
                <a:cxn ang="0">
                  <a:pos x="10" y="59"/>
                </a:cxn>
                <a:cxn ang="0">
                  <a:pos x="29" y="49"/>
                </a:cxn>
                <a:cxn ang="0">
                  <a:pos x="49" y="29"/>
                </a:cxn>
                <a:cxn ang="0">
                  <a:pos x="58" y="10"/>
                </a:cxn>
                <a:cxn ang="0">
                  <a:pos x="78" y="0"/>
                </a:cxn>
                <a:cxn ang="0">
                  <a:pos x="97" y="10"/>
                </a:cxn>
                <a:cxn ang="0">
                  <a:pos x="97" y="39"/>
                </a:cxn>
                <a:cxn ang="0">
                  <a:pos x="117" y="59"/>
                </a:cxn>
                <a:cxn ang="0">
                  <a:pos x="146" y="59"/>
                </a:cxn>
                <a:cxn ang="0">
                  <a:pos x="166" y="39"/>
                </a:cxn>
                <a:cxn ang="0">
                  <a:pos x="185" y="59"/>
                </a:cxn>
                <a:cxn ang="0">
                  <a:pos x="244" y="59"/>
                </a:cxn>
                <a:cxn ang="0">
                  <a:pos x="253" y="59"/>
                </a:cxn>
                <a:cxn ang="0">
                  <a:pos x="253" y="88"/>
                </a:cxn>
                <a:cxn ang="0">
                  <a:pos x="253" y="107"/>
                </a:cxn>
                <a:cxn ang="0">
                  <a:pos x="253" y="137"/>
                </a:cxn>
                <a:cxn ang="0">
                  <a:pos x="234" y="156"/>
                </a:cxn>
                <a:cxn ang="0">
                  <a:pos x="234" y="186"/>
                </a:cxn>
                <a:cxn ang="0">
                  <a:pos x="214" y="205"/>
                </a:cxn>
                <a:cxn ang="0">
                  <a:pos x="185" y="195"/>
                </a:cxn>
                <a:cxn ang="0">
                  <a:pos x="166" y="205"/>
                </a:cxn>
                <a:cxn ang="0">
                  <a:pos x="166" y="225"/>
                </a:cxn>
                <a:cxn ang="0">
                  <a:pos x="146" y="225"/>
                </a:cxn>
                <a:cxn ang="0">
                  <a:pos x="127" y="234"/>
                </a:cxn>
              </a:cxnLst>
              <a:rect l="0" t="0" r="r" b="b"/>
              <a:pathLst>
                <a:path w="253" h="244">
                  <a:moveTo>
                    <a:pt x="136" y="244"/>
                  </a:moveTo>
                  <a:lnTo>
                    <a:pt x="127" y="244"/>
                  </a:lnTo>
                  <a:lnTo>
                    <a:pt x="117" y="244"/>
                  </a:lnTo>
                  <a:lnTo>
                    <a:pt x="107" y="244"/>
                  </a:lnTo>
                  <a:lnTo>
                    <a:pt x="68" y="234"/>
                  </a:lnTo>
                  <a:lnTo>
                    <a:pt x="78" y="225"/>
                  </a:lnTo>
                  <a:lnTo>
                    <a:pt x="88" y="205"/>
                  </a:lnTo>
                  <a:lnTo>
                    <a:pt x="97" y="195"/>
                  </a:lnTo>
                  <a:lnTo>
                    <a:pt x="97" y="186"/>
                  </a:lnTo>
                  <a:lnTo>
                    <a:pt x="88" y="166"/>
                  </a:lnTo>
                  <a:lnTo>
                    <a:pt x="68" y="166"/>
                  </a:lnTo>
                  <a:lnTo>
                    <a:pt x="68" y="156"/>
                  </a:lnTo>
                  <a:lnTo>
                    <a:pt x="58" y="147"/>
                  </a:lnTo>
                  <a:lnTo>
                    <a:pt x="49" y="137"/>
                  </a:lnTo>
                  <a:lnTo>
                    <a:pt x="39" y="107"/>
                  </a:lnTo>
                  <a:lnTo>
                    <a:pt x="29" y="107"/>
                  </a:lnTo>
                  <a:lnTo>
                    <a:pt x="19" y="107"/>
                  </a:lnTo>
                  <a:lnTo>
                    <a:pt x="0" y="107"/>
                  </a:lnTo>
                  <a:lnTo>
                    <a:pt x="0" y="88"/>
                  </a:lnTo>
                  <a:lnTo>
                    <a:pt x="0" y="68"/>
                  </a:lnTo>
                  <a:lnTo>
                    <a:pt x="10" y="5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39" y="39"/>
                  </a:lnTo>
                  <a:lnTo>
                    <a:pt x="49" y="29"/>
                  </a:lnTo>
                  <a:lnTo>
                    <a:pt x="58" y="29"/>
                  </a:lnTo>
                  <a:lnTo>
                    <a:pt x="58" y="10"/>
                  </a:lnTo>
                  <a:lnTo>
                    <a:pt x="68" y="0"/>
                  </a:lnTo>
                  <a:lnTo>
                    <a:pt x="78" y="0"/>
                  </a:lnTo>
                  <a:lnTo>
                    <a:pt x="88" y="0"/>
                  </a:lnTo>
                  <a:lnTo>
                    <a:pt x="97" y="10"/>
                  </a:lnTo>
                  <a:lnTo>
                    <a:pt x="97" y="29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117" y="59"/>
                  </a:lnTo>
                  <a:lnTo>
                    <a:pt x="136" y="59"/>
                  </a:lnTo>
                  <a:lnTo>
                    <a:pt x="146" y="59"/>
                  </a:lnTo>
                  <a:lnTo>
                    <a:pt x="156" y="68"/>
                  </a:lnTo>
                  <a:lnTo>
                    <a:pt x="166" y="39"/>
                  </a:lnTo>
                  <a:lnTo>
                    <a:pt x="175" y="59"/>
                  </a:lnTo>
                  <a:lnTo>
                    <a:pt x="185" y="59"/>
                  </a:lnTo>
                  <a:lnTo>
                    <a:pt x="214" y="59"/>
                  </a:lnTo>
                  <a:lnTo>
                    <a:pt x="244" y="59"/>
                  </a:lnTo>
                  <a:lnTo>
                    <a:pt x="253" y="59"/>
                  </a:lnTo>
                  <a:lnTo>
                    <a:pt x="253" y="78"/>
                  </a:lnTo>
                  <a:lnTo>
                    <a:pt x="253" y="88"/>
                  </a:lnTo>
                  <a:lnTo>
                    <a:pt x="253" y="98"/>
                  </a:lnTo>
                  <a:lnTo>
                    <a:pt x="253" y="107"/>
                  </a:lnTo>
                  <a:lnTo>
                    <a:pt x="253" y="117"/>
                  </a:lnTo>
                  <a:lnTo>
                    <a:pt x="253" y="137"/>
                  </a:lnTo>
                  <a:lnTo>
                    <a:pt x="234" y="147"/>
                  </a:lnTo>
                  <a:lnTo>
                    <a:pt x="234" y="156"/>
                  </a:lnTo>
                  <a:lnTo>
                    <a:pt x="244" y="166"/>
                  </a:lnTo>
                  <a:lnTo>
                    <a:pt x="234" y="186"/>
                  </a:lnTo>
                  <a:lnTo>
                    <a:pt x="224" y="195"/>
                  </a:lnTo>
                  <a:lnTo>
                    <a:pt x="214" y="205"/>
                  </a:lnTo>
                  <a:lnTo>
                    <a:pt x="205" y="205"/>
                  </a:lnTo>
                  <a:lnTo>
                    <a:pt x="185" y="195"/>
                  </a:lnTo>
                  <a:lnTo>
                    <a:pt x="175" y="195"/>
                  </a:lnTo>
                  <a:lnTo>
                    <a:pt x="166" y="205"/>
                  </a:lnTo>
                  <a:lnTo>
                    <a:pt x="175" y="215"/>
                  </a:lnTo>
                  <a:lnTo>
                    <a:pt x="166" y="225"/>
                  </a:lnTo>
                  <a:lnTo>
                    <a:pt x="156" y="225"/>
                  </a:lnTo>
                  <a:lnTo>
                    <a:pt x="146" y="225"/>
                  </a:lnTo>
                  <a:lnTo>
                    <a:pt x="127" y="225"/>
                  </a:lnTo>
                  <a:lnTo>
                    <a:pt x="127" y="234"/>
                  </a:lnTo>
                  <a:lnTo>
                    <a:pt x="136" y="2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5" name="Freeform 187"/>
            <p:cNvSpPr>
              <a:spLocks/>
            </p:cNvSpPr>
            <p:nvPr/>
          </p:nvSpPr>
          <p:spPr bwMode="auto">
            <a:xfrm>
              <a:off x="1435" y="1719"/>
              <a:ext cx="262" cy="183"/>
            </a:xfrm>
            <a:custGeom>
              <a:avLst/>
              <a:gdLst/>
              <a:ahLst/>
              <a:cxnLst>
                <a:cxn ang="0">
                  <a:pos x="244" y="186"/>
                </a:cxn>
                <a:cxn ang="0">
                  <a:pos x="224" y="186"/>
                </a:cxn>
                <a:cxn ang="0">
                  <a:pos x="195" y="186"/>
                </a:cxn>
                <a:cxn ang="0">
                  <a:pos x="166" y="186"/>
                </a:cxn>
                <a:cxn ang="0">
                  <a:pos x="156" y="176"/>
                </a:cxn>
                <a:cxn ang="0">
                  <a:pos x="136" y="156"/>
                </a:cxn>
                <a:cxn ang="0">
                  <a:pos x="136" y="147"/>
                </a:cxn>
                <a:cxn ang="0">
                  <a:pos x="127" y="156"/>
                </a:cxn>
                <a:cxn ang="0">
                  <a:pos x="127" y="176"/>
                </a:cxn>
                <a:cxn ang="0">
                  <a:pos x="107" y="176"/>
                </a:cxn>
                <a:cxn ang="0">
                  <a:pos x="88" y="176"/>
                </a:cxn>
                <a:cxn ang="0">
                  <a:pos x="78" y="186"/>
                </a:cxn>
                <a:cxn ang="0">
                  <a:pos x="68" y="186"/>
                </a:cxn>
                <a:cxn ang="0">
                  <a:pos x="58" y="186"/>
                </a:cxn>
                <a:cxn ang="0">
                  <a:pos x="49" y="176"/>
                </a:cxn>
                <a:cxn ang="0">
                  <a:pos x="10" y="147"/>
                </a:cxn>
                <a:cxn ang="0">
                  <a:pos x="10" y="137"/>
                </a:cxn>
                <a:cxn ang="0">
                  <a:pos x="0" y="117"/>
                </a:cxn>
                <a:cxn ang="0">
                  <a:pos x="10" y="108"/>
                </a:cxn>
                <a:cxn ang="0">
                  <a:pos x="19" y="98"/>
                </a:cxn>
                <a:cxn ang="0">
                  <a:pos x="19" y="88"/>
                </a:cxn>
                <a:cxn ang="0">
                  <a:pos x="19" y="68"/>
                </a:cxn>
                <a:cxn ang="0">
                  <a:pos x="19" y="59"/>
                </a:cxn>
                <a:cxn ang="0">
                  <a:pos x="19" y="49"/>
                </a:cxn>
                <a:cxn ang="0">
                  <a:pos x="29" y="39"/>
                </a:cxn>
                <a:cxn ang="0">
                  <a:pos x="19" y="20"/>
                </a:cxn>
                <a:cxn ang="0">
                  <a:pos x="19" y="20"/>
                </a:cxn>
                <a:cxn ang="0">
                  <a:pos x="29" y="20"/>
                </a:cxn>
                <a:cxn ang="0">
                  <a:pos x="49" y="10"/>
                </a:cxn>
                <a:cxn ang="0">
                  <a:pos x="78" y="0"/>
                </a:cxn>
                <a:cxn ang="0">
                  <a:pos x="88" y="20"/>
                </a:cxn>
                <a:cxn ang="0">
                  <a:pos x="88" y="29"/>
                </a:cxn>
                <a:cxn ang="0">
                  <a:pos x="107" y="29"/>
                </a:cxn>
                <a:cxn ang="0">
                  <a:pos x="107" y="29"/>
                </a:cxn>
                <a:cxn ang="0">
                  <a:pos x="127" y="39"/>
                </a:cxn>
                <a:cxn ang="0">
                  <a:pos x="146" y="29"/>
                </a:cxn>
                <a:cxn ang="0">
                  <a:pos x="166" y="39"/>
                </a:cxn>
                <a:cxn ang="0">
                  <a:pos x="195" y="39"/>
                </a:cxn>
                <a:cxn ang="0">
                  <a:pos x="205" y="29"/>
                </a:cxn>
                <a:cxn ang="0">
                  <a:pos x="214" y="49"/>
                </a:cxn>
                <a:cxn ang="0">
                  <a:pos x="214" y="68"/>
                </a:cxn>
                <a:cxn ang="0">
                  <a:pos x="234" y="88"/>
                </a:cxn>
                <a:cxn ang="0">
                  <a:pos x="244" y="88"/>
                </a:cxn>
                <a:cxn ang="0">
                  <a:pos x="253" y="88"/>
                </a:cxn>
                <a:cxn ang="0">
                  <a:pos x="263" y="117"/>
                </a:cxn>
                <a:cxn ang="0">
                  <a:pos x="263" y="147"/>
                </a:cxn>
                <a:cxn ang="0">
                  <a:pos x="244" y="156"/>
                </a:cxn>
                <a:cxn ang="0">
                  <a:pos x="234" y="176"/>
                </a:cxn>
                <a:cxn ang="0">
                  <a:pos x="244" y="186"/>
                </a:cxn>
              </a:cxnLst>
              <a:rect l="0" t="0" r="r" b="b"/>
              <a:pathLst>
                <a:path w="263" h="186">
                  <a:moveTo>
                    <a:pt x="244" y="186"/>
                  </a:moveTo>
                  <a:lnTo>
                    <a:pt x="224" y="186"/>
                  </a:lnTo>
                  <a:lnTo>
                    <a:pt x="195" y="186"/>
                  </a:lnTo>
                  <a:lnTo>
                    <a:pt x="166" y="186"/>
                  </a:lnTo>
                  <a:lnTo>
                    <a:pt x="156" y="176"/>
                  </a:lnTo>
                  <a:lnTo>
                    <a:pt x="136" y="156"/>
                  </a:lnTo>
                  <a:lnTo>
                    <a:pt x="136" y="147"/>
                  </a:lnTo>
                  <a:lnTo>
                    <a:pt x="127" y="156"/>
                  </a:lnTo>
                  <a:lnTo>
                    <a:pt x="127" y="176"/>
                  </a:lnTo>
                  <a:lnTo>
                    <a:pt x="107" y="17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68" y="186"/>
                  </a:lnTo>
                  <a:lnTo>
                    <a:pt x="58" y="186"/>
                  </a:lnTo>
                  <a:lnTo>
                    <a:pt x="49" y="176"/>
                  </a:lnTo>
                  <a:lnTo>
                    <a:pt x="10" y="147"/>
                  </a:lnTo>
                  <a:lnTo>
                    <a:pt x="10" y="13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9" y="98"/>
                  </a:lnTo>
                  <a:lnTo>
                    <a:pt x="19" y="88"/>
                  </a:lnTo>
                  <a:lnTo>
                    <a:pt x="19" y="68"/>
                  </a:lnTo>
                  <a:lnTo>
                    <a:pt x="19" y="59"/>
                  </a:lnTo>
                  <a:lnTo>
                    <a:pt x="19" y="49"/>
                  </a:lnTo>
                  <a:lnTo>
                    <a:pt x="29" y="39"/>
                  </a:lnTo>
                  <a:lnTo>
                    <a:pt x="19" y="20"/>
                  </a:lnTo>
                  <a:lnTo>
                    <a:pt x="29" y="20"/>
                  </a:lnTo>
                  <a:lnTo>
                    <a:pt x="49" y="10"/>
                  </a:lnTo>
                  <a:lnTo>
                    <a:pt x="78" y="0"/>
                  </a:lnTo>
                  <a:lnTo>
                    <a:pt x="88" y="20"/>
                  </a:lnTo>
                  <a:lnTo>
                    <a:pt x="88" y="29"/>
                  </a:lnTo>
                  <a:lnTo>
                    <a:pt x="107" y="29"/>
                  </a:lnTo>
                  <a:lnTo>
                    <a:pt x="127" y="39"/>
                  </a:lnTo>
                  <a:lnTo>
                    <a:pt x="146" y="29"/>
                  </a:lnTo>
                  <a:lnTo>
                    <a:pt x="166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49"/>
                  </a:lnTo>
                  <a:lnTo>
                    <a:pt x="214" y="68"/>
                  </a:lnTo>
                  <a:lnTo>
                    <a:pt x="234" y="88"/>
                  </a:lnTo>
                  <a:lnTo>
                    <a:pt x="244" y="88"/>
                  </a:lnTo>
                  <a:lnTo>
                    <a:pt x="253" y="88"/>
                  </a:lnTo>
                  <a:lnTo>
                    <a:pt x="263" y="117"/>
                  </a:lnTo>
                  <a:lnTo>
                    <a:pt x="263" y="147"/>
                  </a:lnTo>
                  <a:lnTo>
                    <a:pt x="244" y="156"/>
                  </a:lnTo>
                  <a:lnTo>
                    <a:pt x="234" y="176"/>
                  </a:lnTo>
                  <a:lnTo>
                    <a:pt x="244" y="18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6" name="Freeform 186"/>
            <p:cNvSpPr>
              <a:spLocks/>
            </p:cNvSpPr>
            <p:nvPr/>
          </p:nvSpPr>
          <p:spPr bwMode="auto">
            <a:xfrm>
              <a:off x="1641" y="1687"/>
              <a:ext cx="250" cy="322"/>
            </a:xfrm>
            <a:custGeom>
              <a:avLst/>
              <a:gdLst>
                <a:gd name="T0" fmla="*/ 48 w 253"/>
                <a:gd name="T1" fmla="*/ 245 h 322"/>
                <a:gd name="T2" fmla="*/ 48 w 253"/>
                <a:gd name="T3" fmla="*/ 255 h 322"/>
                <a:gd name="T4" fmla="*/ 48 w 253"/>
                <a:gd name="T5" fmla="*/ 284 h 322"/>
                <a:gd name="T6" fmla="*/ 39 w 253"/>
                <a:gd name="T7" fmla="*/ 313 h 322"/>
                <a:gd name="T8" fmla="*/ 48 w 253"/>
                <a:gd name="T9" fmla="*/ 313 h 322"/>
                <a:gd name="T10" fmla="*/ 68 w 253"/>
                <a:gd name="T11" fmla="*/ 313 h 322"/>
                <a:gd name="T12" fmla="*/ 87 w 253"/>
                <a:gd name="T13" fmla="*/ 304 h 322"/>
                <a:gd name="T14" fmla="*/ 97 w 253"/>
                <a:gd name="T15" fmla="*/ 313 h 322"/>
                <a:gd name="T16" fmla="*/ 135 w 253"/>
                <a:gd name="T17" fmla="*/ 333 h 322"/>
                <a:gd name="T18" fmla="*/ 174 w 253"/>
                <a:gd name="T19" fmla="*/ 333 h 322"/>
                <a:gd name="T20" fmla="*/ 194 w 253"/>
                <a:gd name="T21" fmla="*/ 323 h 322"/>
                <a:gd name="T22" fmla="*/ 213 w 253"/>
                <a:gd name="T23" fmla="*/ 313 h 322"/>
                <a:gd name="T24" fmla="*/ 213 w 253"/>
                <a:gd name="T25" fmla="*/ 284 h 322"/>
                <a:gd name="T26" fmla="*/ 203 w 253"/>
                <a:gd name="T27" fmla="*/ 255 h 322"/>
                <a:gd name="T28" fmla="*/ 203 w 253"/>
                <a:gd name="T29" fmla="*/ 216 h 322"/>
                <a:gd name="T30" fmla="*/ 194 w 253"/>
                <a:gd name="T31" fmla="*/ 187 h 322"/>
                <a:gd name="T32" fmla="*/ 242 w 253"/>
                <a:gd name="T33" fmla="*/ 127 h 322"/>
                <a:gd name="T34" fmla="*/ 242 w 253"/>
                <a:gd name="T35" fmla="*/ 97 h 322"/>
                <a:gd name="T36" fmla="*/ 233 w 253"/>
                <a:gd name="T37" fmla="*/ 88 h 322"/>
                <a:gd name="T38" fmla="*/ 213 w 253"/>
                <a:gd name="T39" fmla="*/ 68 h 322"/>
                <a:gd name="T40" fmla="*/ 194 w 253"/>
                <a:gd name="T41" fmla="*/ 78 h 322"/>
                <a:gd name="T42" fmla="*/ 174 w 253"/>
                <a:gd name="T43" fmla="*/ 78 h 322"/>
                <a:gd name="T44" fmla="*/ 155 w 253"/>
                <a:gd name="T45" fmla="*/ 49 h 322"/>
                <a:gd name="T46" fmla="*/ 126 w 253"/>
                <a:gd name="T47" fmla="*/ 19 h 322"/>
                <a:gd name="T48" fmla="*/ 107 w 253"/>
                <a:gd name="T49" fmla="*/ 0 h 322"/>
                <a:gd name="T50" fmla="*/ 68 w 253"/>
                <a:gd name="T51" fmla="*/ 0 h 322"/>
                <a:gd name="T52" fmla="*/ 58 w 253"/>
                <a:gd name="T53" fmla="*/ 19 h 322"/>
                <a:gd name="T54" fmla="*/ 19 w 253"/>
                <a:gd name="T55" fmla="*/ 49 h 322"/>
                <a:gd name="T56" fmla="*/ 9 w 253"/>
                <a:gd name="T57" fmla="*/ 78 h 322"/>
                <a:gd name="T58" fmla="*/ 29 w 253"/>
                <a:gd name="T59" fmla="*/ 107 h 322"/>
                <a:gd name="T60" fmla="*/ 48 w 253"/>
                <a:gd name="T61" fmla="*/ 117 h 322"/>
                <a:gd name="T62" fmla="*/ 58 w 253"/>
                <a:gd name="T63" fmla="*/ 187 h 322"/>
                <a:gd name="T64" fmla="*/ 97 w 253"/>
                <a:gd name="T65" fmla="*/ 156 h 322"/>
                <a:gd name="T66" fmla="*/ 97 w 253"/>
                <a:gd name="T67" fmla="*/ 146 h 322"/>
                <a:gd name="T68" fmla="*/ 117 w 253"/>
                <a:gd name="T69" fmla="*/ 127 h 322"/>
                <a:gd name="T70" fmla="*/ 135 w 253"/>
                <a:gd name="T71" fmla="*/ 127 h 322"/>
                <a:gd name="T72" fmla="*/ 155 w 253"/>
                <a:gd name="T73" fmla="*/ 127 h 322"/>
                <a:gd name="T74" fmla="*/ 164 w 253"/>
                <a:gd name="T75" fmla="*/ 146 h 322"/>
                <a:gd name="T76" fmla="*/ 164 w 253"/>
                <a:gd name="T77" fmla="*/ 177 h 322"/>
                <a:gd name="T78" fmla="*/ 155 w 253"/>
                <a:gd name="T79" fmla="*/ 196 h 322"/>
                <a:gd name="T80" fmla="*/ 126 w 253"/>
                <a:gd name="T81" fmla="*/ 196 h 322"/>
                <a:gd name="T82" fmla="*/ 117 w 253"/>
                <a:gd name="T83" fmla="*/ 196 h 322"/>
                <a:gd name="T84" fmla="*/ 97 w 253"/>
                <a:gd name="T85" fmla="*/ 187 h 322"/>
                <a:gd name="T86" fmla="*/ 58 w 253"/>
                <a:gd name="T87" fmla="*/ 187 h 322"/>
                <a:gd name="T88" fmla="*/ 29 w 253"/>
                <a:gd name="T89" fmla="*/ 216 h 322"/>
                <a:gd name="T90" fmla="*/ 39 w 253"/>
                <a:gd name="T91" fmla="*/ 235 h 3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3"/>
                <a:gd name="T139" fmla="*/ 0 h 322"/>
                <a:gd name="T140" fmla="*/ 253 w 253"/>
                <a:gd name="T141" fmla="*/ 322 h 3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3" h="322">
                  <a:moveTo>
                    <a:pt x="39" y="234"/>
                  </a:moveTo>
                  <a:lnTo>
                    <a:pt x="48" y="234"/>
                  </a:lnTo>
                  <a:lnTo>
                    <a:pt x="58" y="234"/>
                  </a:lnTo>
                  <a:lnTo>
                    <a:pt x="48" y="244"/>
                  </a:lnTo>
                  <a:lnTo>
                    <a:pt x="58" y="263"/>
                  </a:lnTo>
                  <a:lnTo>
                    <a:pt x="48" y="273"/>
                  </a:lnTo>
                  <a:lnTo>
                    <a:pt x="39" y="283"/>
                  </a:lnTo>
                  <a:lnTo>
                    <a:pt x="39" y="302"/>
                  </a:lnTo>
                  <a:lnTo>
                    <a:pt x="39" y="312"/>
                  </a:lnTo>
                  <a:lnTo>
                    <a:pt x="48" y="302"/>
                  </a:lnTo>
                  <a:lnTo>
                    <a:pt x="58" y="312"/>
                  </a:lnTo>
                  <a:lnTo>
                    <a:pt x="68" y="302"/>
                  </a:lnTo>
                  <a:lnTo>
                    <a:pt x="68" y="293"/>
                  </a:lnTo>
                  <a:lnTo>
                    <a:pt x="87" y="293"/>
                  </a:lnTo>
                  <a:lnTo>
                    <a:pt x="97" y="302"/>
                  </a:lnTo>
                  <a:lnTo>
                    <a:pt x="117" y="302"/>
                  </a:lnTo>
                  <a:lnTo>
                    <a:pt x="146" y="322"/>
                  </a:lnTo>
                  <a:lnTo>
                    <a:pt x="166" y="312"/>
                  </a:lnTo>
                  <a:lnTo>
                    <a:pt x="185" y="322"/>
                  </a:lnTo>
                  <a:lnTo>
                    <a:pt x="205" y="322"/>
                  </a:lnTo>
                  <a:lnTo>
                    <a:pt x="205" y="312"/>
                  </a:lnTo>
                  <a:lnTo>
                    <a:pt x="224" y="312"/>
                  </a:lnTo>
                  <a:lnTo>
                    <a:pt x="224" y="302"/>
                  </a:lnTo>
                  <a:lnTo>
                    <a:pt x="224" y="283"/>
                  </a:lnTo>
                  <a:lnTo>
                    <a:pt x="224" y="273"/>
                  </a:lnTo>
                  <a:lnTo>
                    <a:pt x="234" y="263"/>
                  </a:lnTo>
                  <a:lnTo>
                    <a:pt x="214" y="244"/>
                  </a:lnTo>
                  <a:lnTo>
                    <a:pt x="214" y="224"/>
                  </a:lnTo>
                  <a:lnTo>
                    <a:pt x="214" y="205"/>
                  </a:lnTo>
                  <a:lnTo>
                    <a:pt x="205" y="195"/>
                  </a:lnTo>
                  <a:lnTo>
                    <a:pt x="205" y="176"/>
                  </a:lnTo>
                  <a:lnTo>
                    <a:pt x="244" y="146"/>
                  </a:lnTo>
                  <a:lnTo>
                    <a:pt x="253" y="127"/>
                  </a:lnTo>
                  <a:lnTo>
                    <a:pt x="253" y="107"/>
                  </a:lnTo>
                  <a:lnTo>
                    <a:pt x="253" y="97"/>
                  </a:lnTo>
                  <a:lnTo>
                    <a:pt x="253" y="88"/>
                  </a:lnTo>
                  <a:lnTo>
                    <a:pt x="244" y="88"/>
                  </a:lnTo>
                  <a:lnTo>
                    <a:pt x="234" y="68"/>
                  </a:lnTo>
                  <a:lnTo>
                    <a:pt x="224" y="68"/>
                  </a:lnTo>
                  <a:lnTo>
                    <a:pt x="214" y="78"/>
                  </a:lnTo>
                  <a:lnTo>
                    <a:pt x="205" y="78"/>
                  </a:lnTo>
                  <a:lnTo>
                    <a:pt x="195" y="78"/>
                  </a:lnTo>
                  <a:lnTo>
                    <a:pt x="185" y="78"/>
                  </a:lnTo>
                  <a:lnTo>
                    <a:pt x="185" y="58"/>
                  </a:lnTo>
                  <a:lnTo>
                    <a:pt x="166" y="49"/>
                  </a:lnTo>
                  <a:lnTo>
                    <a:pt x="127" y="39"/>
                  </a:lnTo>
                  <a:lnTo>
                    <a:pt x="127" y="19"/>
                  </a:lnTo>
                  <a:lnTo>
                    <a:pt x="127" y="0"/>
                  </a:lnTo>
                  <a:lnTo>
                    <a:pt x="107" y="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58" y="10"/>
                  </a:lnTo>
                  <a:lnTo>
                    <a:pt x="58" y="19"/>
                  </a:lnTo>
                  <a:lnTo>
                    <a:pt x="48" y="29"/>
                  </a:lnTo>
                  <a:lnTo>
                    <a:pt x="19" y="49"/>
                  </a:lnTo>
                  <a:lnTo>
                    <a:pt x="0" y="58"/>
                  </a:lnTo>
                  <a:lnTo>
                    <a:pt x="9" y="78"/>
                  </a:lnTo>
                  <a:lnTo>
                    <a:pt x="9" y="97"/>
                  </a:lnTo>
                  <a:lnTo>
                    <a:pt x="29" y="107"/>
                  </a:lnTo>
                  <a:lnTo>
                    <a:pt x="39" y="117"/>
                  </a:lnTo>
                  <a:lnTo>
                    <a:pt x="48" y="117"/>
                  </a:lnTo>
                  <a:lnTo>
                    <a:pt x="58" y="146"/>
                  </a:lnTo>
                  <a:lnTo>
                    <a:pt x="58" y="176"/>
                  </a:lnTo>
                  <a:lnTo>
                    <a:pt x="97" y="166"/>
                  </a:lnTo>
                  <a:lnTo>
                    <a:pt x="97" y="156"/>
                  </a:lnTo>
                  <a:lnTo>
                    <a:pt x="97" y="146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27" y="127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66" y="127"/>
                  </a:lnTo>
                  <a:lnTo>
                    <a:pt x="175" y="137"/>
                  </a:lnTo>
                  <a:lnTo>
                    <a:pt x="175" y="146"/>
                  </a:lnTo>
                  <a:lnTo>
                    <a:pt x="175" y="156"/>
                  </a:lnTo>
                  <a:lnTo>
                    <a:pt x="175" y="166"/>
                  </a:lnTo>
                  <a:lnTo>
                    <a:pt x="175" y="176"/>
                  </a:lnTo>
                  <a:lnTo>
                    <a:pt x="166" y="185"/>
                  </a:lnTo>
                  <a:lnTo>
                    <a:pt x="156" y="185"/>
                  </a:lnTo>
                  <a:lnTo>
                    <a:pt x="136" y="185"/>
                  </a:lnTo>
                  <a:lnTo>
                    <a:pt x="127" y="185"/>
                  </a:lnTo>
                  <a:lnTo>
                    <a:pt x="117" y="185"/>
                  </a:lnTo>
                  <a:lnTo>
                    <a:pt x="107" y="18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58" y="176"/>
                  </a:lnTo>
                  <a:lnTo>
                    <a:pt x="48" y="185"/>
                  </a:lnTo>
                  <a:lnTo>
                    <a:pt x="29" y="205"/>
                  </a:lnTo>
                  <a:lnTo>
                    <a:pt x="39" y="215"/>
                  </a:lnTo>
                  <a:lnTo>
                    <a:pt x="39" y="224"/>
                  </a:lnTo>
                  <a:lnTo>
                    <a:pt x="39" y="234"/>
                  </a:lnTo>
                  <a:close/>
                </a:path>
              </a:pathLst>
            </a:custGeom>
            <a:solidFill>
              <a:srgbClr val="F21C0A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7" name="Freeform 185"/>
            <p:cNvSpPr>
              <a:spLocks/>
            </p:cNvSpPr>
            <p:nvPr/>
          </p:nvSpPr>
          <p:spPr bwMode="auto">
            <a:xfrm>
              <a:off x="1942" y="1856"/>
              <a:ext cx="234" cy="19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0" y="29"/>
                </a:cxn>
                <a:cxn ang="0">
                  <a:pos x="10" y="39"/>
                </a:cxn>
                <a:cxn ang="0">
                  <a:pos x="0" y="58"/>
                </a:cxn>
                <a:cxn ang="0">
                  <a:pos x="10" y="68"/>
                </a:cxn>
                <a:cxn ang="0">
                  <a:pos x="20" y="68"/>
                </a:cxn>
                <a:cxn ang="0">
                  <a:pos x="39" y="78"/>
                </a:cxn>
                <a:cxn ang="0">
                  <a:pos x="49" y="88"/>
                </a:cxn>
                <a:cxn ang="0">
                  <a:pos x="39" y="107"/>
                </a:cxn>
                <a:cxn ang="0">
                  <a:pos x="59" y="107"/>
                </a:cxn>
                <a:cxn ang="0">
                  <a:pos x="59" y="136"/>
                </a:cxn>
                <a:cxn ang="0">
                  <a:pos x="78" y="156"/>
                </a:cxn>
                <a:cxn ang="0">
                  <a:pos x="88" y="175"/>
                </a:cxn>
                <a:cxn ang="0">
                  <a:pos x="107" y="185"/>
                </a:cxn>
                <a:cxn ang="0">
                  <a:pos x="127" y="195"/>
                </a:cxn>
                <a:cxn ang="0">
                  <a:pos x="137" y="195"/>
                </a:cxn>
                <a:cxn ang="0">
                  <a:pos x="137" y="175"/>
                </a:cxn>
                <a:cxn ang="0">
                  <a:pos x="146" y="175"/>
                </a:cxn>
                <a:cxn ang="0">
                  <a:pos x="166" y="185"/>
                </a:cxn>
                <a:cxn ang="0">
                  <a:pos x="185" y="195"/>
                </a:cxn>
                <a:cxn ang="0">
                  <a:pos x="195" y="195"/>
                </a:cxn>
                <a:cxn ang="0">
                  <a:pos x="205" y="175"/>
                </a:cxn>
                <a:cxn ang="0">
                  <a:pos x="215" y="185"/>
                </a:cxn>
                <a:cxn ang="0">
                  <a:pos x="224" y="175"/>
                </a:cxn>
                <a:cxn ang="0">
                  <a:pos x="234" y="175"/>
                </a:cxn>
                <a:cxn ang="0">
                  <a:pos x="234" y="146"/>
                </a:cxn>
                <a:cxn ang="0">
                  <a:pos x="224" y="156"/>
                </a:cxn>
                <a:cxn ang="0">
                  <a:pos x="215" y="146"/>
                </a:cxn>
                <a:cxn ang="0">
                  <a:pos x="195" y="136"/>
                </a:cxn>
                <a:cxn ang="0">
                  <a:pos x="205" y="127"/>
                </a:cxn>
                <a:cxn ang="0">
                  <a:pos x="215" y="117"/>
                </a:cxn>
                <a:cxn ang="0">
                  <a:pos x="215" y="97"/>
                </a:cxn>
                <a:cxn ang="0">
                  <a:pos x="205" y="97"/>
                </a:cxn>
                <a:cxn ang="0">
                  <a:pos x="185" y="88"/>
                </a:cxn>
                <a:cxn ang="0">
                  <a:pos x="176" y="68"/>
                </a:cxn>
                <a:cxn ang="0">
                  <a:pos x="176" y="58"/>
                </a:cxn>
                <a:cxn ang="0">
                  <a:pos x="156" y="58"/>
                </a:cxn>
                <a:cxn ang="0">
                  <a:pos x="146" y="68"/>
                </a:cxn>
                <a:cxn ang="0">
                  <a:pos x="137" y="68"/>
                </a:cxn>
                <a:cxn ang="0">
                  <a:pos x="127" y="49"/>
                </a:cxn>
                <a:cxn ang="0">
                  <a:pos x="98" y="29"/>
                </a:cxn>
                <a:cxn ang="0">
                  <a:pos x="98" y="19"/>
                </a:cxn>
                <a:cxn ang="0">
                  <a:pos x="88" y="29"/>
                </a:cxn>
                <a:cxn ang="0">
                  <a:pos x="78" y="29"/>
                </a:cxn>
                <a:cxn ang="0">
                  <a:pos x="88" y="10"/>
                </a:cxn>
                <a:cxn ang="0">
                  <a:pos x="59" y="10"/>
                </a:cxn>
                <a:cxn ang="0">
                  <a:pos x="49" y="0"/>
                </a:cxn>
                <a:cxn ang="0">
                  <a:pos x="39" y="10"/>
                </a:cxn>
                <a:cxn ang="0">
                  <a:pos x="29" y="10"/>
                </a:cxn>
                <a:cxn ang="0">
                  <a:pos x="10" y="10"/>
                </a:cxn>
                <a:cxn ang="0">
                  <a:pos x="0" y="10"/>
                </a:cxn>
              </a:cxnLst>
              <a:rect l="0" t="0" r="r" b="b"/>
              <a:pathLst>
                <a:path w="234" h="195">
                  <a:moveTo>
                    <a:pt x="0" y="10"/>
                  </a:moveTo>
                  <a:lnTo>
                    <a:pt x="10" y="29"/>
                  </a:lnTo>
                  <a:lnTo>
                    <a:pt x="10" y="39"/>
                  </a:lnTo>
                  <a:lnTo>
                    <a:pt x="0" y="58"/>
                  </a:lnTo>
                  <a:lnTo>
                    <a:pt x="10" y="68"/>
                  </a:lnTo>
                  <a:lnTo>
                    <a:pt x="20" y="68"/>
                  </a:lnTo>
                  <a:lnTo>
                    <a:pt x="39" y="78"/>
                  </a:lnTo>
                  <a:lnTo>
                    <a:pt x="4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59" y="136"/>
                  </a:lnTo>
                  <a:lnTo>
                    <a:pt x="78" y="156"/>
                  </a:lnTo>
                  <a:lnTo>
                    <a:pt x="88" y="175"/>
                  </a:lnTo>
                  <a:lnTo>
                    <a:pt x="107" y="185"/>
                  </a:lnTo>
                  <a:lnTo>
                    <a:pt x="127" y="195"/>
                  </a:lnTo>
                  <a:lnTo>
                    <a:pt x="137" y="195"/>
                  </a:lnTo>
                  <a:lnTo>
                    <a:pt x="137" y="175"/>
                  </a:lnTo>
                  <a:lnTo>
                    <a:pt x="146" y="175"/>
                  </a:lnTo>
                  <a:lnTo>
                    <a:pt x="166" y="185"/>
                  </a:lnTo>
                  <a:lnTo>
                    <a:pt x="185" y="195"/>
                  </a:lnTo>
                  <a:lnTo>
                    <a:pt x="195" y="195"/>
                  </a:lnTo>
                  <a:lnTo>
                    <a:pt x="205" y="175"/>
                  </a:lnTo>
                  <a:lnTo>
                    <a:pt x="215" y="185"/>
                  </a:lnTo>
                  <a:lnTo>
                    <a:pt x="224" y="175"/>
                  </a:lnTo>
                  <a:lnTo>
                    <a:pt x="234" y="175"/>
                  </a:lnTo>
                  <a:lnTo>
                    <a:pt x="234" y="146"/>
                  </a:lnTo>
                  <a:lnTo>
                    <a:pt x="224" y="156"/>
                  </a:lnTo>
                  <a:lnTo>
                    <a:pt x="215" y="146"/>
                  </a:lnTo>
                  <a:lnTo>
                    <a:pt x="195" y="136"/>
                  </a:lnTo>
                  <a:lnTo>
                    <a:pt x="205" y="127"/>
                  </a:lnTo>
                  <a:lnTo>
                    <a:pt x="215" y="117"/>
                  </a:lnTo>
                  <a:lnTo>
                    <a:pt x="215" y="97"/>
                  </a:lnTo>
                  <a:lnTo>
                    <a:pt x="205" y="97"/>
                  </a:lnTo>
                  <a:lnTo>
                    <a:pt x="185" y="88"/>
                  </a:lnTo>
                  <a:lnTo>
                    <a:pt x="176" y="68"/>
                  </a:lnTo>
                  <a:lnTo>
                    <a:pt x="176" y="58"/>
                  </a:lnTo>
                  <a:lnTo>
                    <a:pt x="156" y="58"/>
                  </a:lnTo>
                  <a:lnTo>
                    <a:pt x="146" y="68"/>
                  </a:lnTo>
                  <a:lnTo>
                    <a:pt x="137" y="68"/>
                  </a:lnTo>
                  <a:lnTo>
                    <a:pt x="127" y="49"/>
                  </a:lnTo>
                  <a:lnTo>
                    <a:pt x="98" y="29"/>
                  </a:lnTo>
                  <a:lnTo>
                    <a:pt x="98" y="19"/>
                  </a:lnTo>
                  <a:lnTo>
                    <a:pt x="88" y="29"/>
                  </a:lnTo>
                  <a:lnTo>
                    <a:pt x="78" y="29"/>
                  </a:lnTo>
                  <a:lnTo>
                    <a:pt x="88" y="10"/>
                  </a:lnTo>
                  <a:lnTo>
                    <a:pt x="59" y="10"/>
                  </a:lnTo>
                  <a:lnTo>
                    <a:pt x="49" y="0"/>
                  </a:lnTo>
                  <a:lnTo>
                    <a:pt x="39" y="10"/>
                  </a:lnTo>
                  <a:lnTo>
                    <a:pt x="29" y="10"/>
                  </a:lnTo>
                  <a:lnTo>
                    <a:pt x="1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8" name="Freeform 184"/>
            <p:cNvSpPr>
              <a:spLocks/>
            </p:cNvSpPr>
            <p:nvPr/>
          </p:nvSpPr>
          <p:spPr bwMode="auto">
            <a:xfrm>
              <a:off x="1835" y="1815"/>
              <a:ext cx="222" cy="290"/>
            </a:xfrm>
            <a:custGeom>
              <a:avLst/>
              <a:gdLst/>
              <a:ahLst/>
              <a:cxnLst>
                <a:cxn ang="0">
                  <a:pos x="10" y="195"/>
                </a:cxn>
                <a:cxn ang="0">
                  <a:pos x="19" y="205"/>
                </a:cxn>
                <a:cxn ang="0">
                  <a:pos x="19" y="224"/>
                </a:cxn>
                <a:cxn ang="0">
                  <a:pos x="29" y="224"/>
                </a:cxn>
                <a:cxn ang="0">
                  <a:pos x="39" y="234"/>
                </a:cxn>
                <a:cxn ang="0">
                  <a:pos x="39" y="244"/>
                </a:cxn>
                <a:cxn ang="0">
                  <a:pos x="49" y="253"/>
                </a:cxn>
                <a:cxn ang="0">
                  <a:pos x="58" y="273"/>
                </a:cxn>
                <a:cxn ang="0">
                  <a:pos x="58" y="292"/>
                </a:cxn>
                <a:cxn ang="0">
                  <a:pos x="88" y="283"/>
                </a:cxn>
                <a:cxn ang="0">
                  <a:pos x="107" y="273"/>
                </a:cxn>
                <a:cxn ang="0">
                  <a:pos x="127" y="273"/>
                </a:cxn>
                <a:cxn ang="0">
                  <a:pos x="146" y="273"/>
                </a:cxn>
                <a:cxn ang="0">
                  <a:pos x="156" y="253"/>
                </a:cxn>
                <a:cxn ang="0">
                  <a:pos x="166" y="253"/>
                </a:cxn>
                <a:cxn ang="0">
                  <a:pos x="195" y="263"/>
                </a:cxn>
                <a:cxn ang="0">
                  <a:pos x="205" y="253"/>
                </a:cxn>
                <a:cxn ang="0">
                  <a:pos x="205" y="244"/>
                </a:cxn>
                <a:cxn ang="0">
                  <a:pos x="224" y="234"/>
                </a:cxn>
                <a:cxn ang="0">
                  <a:pos x="214" y="224"/>
                </a:cxn>
                <a:cxn ang="0">
                  <a:pos x="195" y="214"/>
                </a:cxn>
                <a:cxn ang="0">
                  <a:pos x="175" y="195"/>
                </a:cxn>
                <a:cxn ang="0">
                  <a:pos x="156" y="175"/>
                </a:cxn>
                <a:cxn ang="0">
                  <a:pos x="156" y="146"/>
                </a:cxn>
                <a:cxn ang="0">
                  <a:pos x="136" y="146"/>
                </a:cxn>
                <a:cxn ang="0">
                  <a:pos x="146" y="127"/>
                </a:cxn>
                <a:cxn ang="0">
                  <a:pos x="136" y="117"/>
                </a:cxn>
                <a:cxn ang="0">
                  <a:pos x="127" y="107"/>
                </a:cxn>
                <a:cxn ang="0">
                  <a:pos x="107" y="107"/>
                </a:cxn>
                <a:cxn ang="0">
                  <a:pos x="107" y="97"/>
                </a:cxn>
                <a:cxn ang="0">
                  <a:pos x="117" y="78"/>
                </a:cxn>
                <a:cxn ang="0">
                  <a:pos x="117" y="68"/>
                </a:cxn>
                <a:cxn ang="0">
                  <a:pos x="107" y="49"/>
                </a:cxn>
                <a:cxn ang="0">
                  <a:pos x="88" y="49"/>
                </a:cxn>
                <a:cxn ang="0">
                  <a:pos x="58" y="19"/>
                </a:cxn>
                <a:cxn ang="0">
                  <a:pos x="58" y="10"/>
                </a:cxn>
                <a:cxn ang="0">
                  <a:pos x="58" y="0"/>
                </a:cxn>
                <a:cxn ang="0">
                  <a:pos x="39" y="19"/>
                </a:cxn>
                <a:cxn ang="0">
                  <a:pos x="10" y="49"/>
                </a:cxn>
                <a:cxn ang="0">
                  <a:pos x="0" y="68"/>
                </a:cxn>
                <a:cxn ang="0">
                  <a:pos x="19" y="78"/>
                </a:cxn>
                <a:cxn ang="0">
                  <a:pos x="19" y="97"/>
                </a:cxn>
                <a:cxn ang="0">
                  <a:pos x="19" y="117"/>
                </a:cxn>
                <a:cxn ang="0">
                  <a:pos x="39" y="136"/>
                </a:cxn>
                <a:cxn ang="0">
                  <a:pos x="29" y="146"/>
                </a:cxn>
                <a:cxn ang="0">
                  <a:pos x="29" y="156"/>
                </a:cxn>
                <a:cxn ang="0">
                  <a:pos x="29" y="175"/>
                </a:cxn>
                <a:cxn ang="0">
                  <a:pos x="29" y="185"/>
                </a:cxn>
                <a:cxn ang="0">
                  <a:pos x="10" y="185"/>
                </a:cxn>
                <a:cxn ang="0">
                  <a:pos x="10" y="195"/>
                </a:cxn>
              </a:cxnLst>
              <a:rect l="0" t="0" r="r" b="b"/>
              <a:pathLst>
                <a:path w="224" h="292">
                  <a:moveTo>
                    <a:pt x="10" y="195"/>
                  </a:moveTo>
                  <a:lnTo>
                    <a:pt x="19" y="205"/>
                  </a:lnTo>
                  <a:lnTo>
                    <a:pt x="19" y="224"/>
                  </a:lnTo>
                  <a:lnTo>
                    <a:pt x="29" y="224"/>
                  </a:lnTo>
                  <a:lnTo>
                    <a:pt x="39" y="234"/>
                  </a:lnTo>
                  <a:lnTo>
                    <a:pt x="39" y="244"/>
                  </a:lnTo>
                  <a:lnTo>
                    <a:pt x="49" y="253"/>
                  </a:lnTo>
                  <a:lnTo>
                    <a:pt x="58" y="273"/>
                  </a:lnTo>
                  <a:lnTo>
                    <a:pt x="58" y="292"/>
                  </a:lnTo>
                  <a:lnTo>
                    <a:pt x="88" y="283"/>
                  </a:lnTo>
                  <a:lnTo>
                    <a:pt x="107" y="27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53"/>
                  </a:lnTo>
                  <a:lnTo>
                    <a:pt x="166" y="253"/>
                  </a:lnTo>
                  <a:lnTo>
                    <a:pt x="195" y="263"/>
                  </a:lnTo>
                  <a:lnTo>
                    <a:pt x="205" y="253"/>
                  </a:lnTo>
                  <a:lnTo>
                    <a:pt x="205" y="244"/>
                  </a:lnTo>
                  <a:lnTo>
                    <a:pt x="224" y="234"/>
                  </a:lnTo>
                  <a:lnTo>
                    <a:pt x="214" y="224"/>
                  </a:lnTo>
                  <a:lnTo>
                    <a:pt x="195" y="214"/>
                  </a:lnTo>
                  <a:lnTo>
                    <a:pt x="175" y="195"/>
                  </a:lnTo>
                  <a:lnTo>
                    <a:pt x="156" y="175"/>
                  </a:lnTo>
                  <a:lnTo>
                    <a:pt x="156" y="146"/>
                  </a:lnTo>
                  <a:lnTo>
                    <a:pt x="136" y="146"/>
                  </a:lnTo>
                  <a:lnTo>
                    <a:pt x="146" y="127"/>
                  </a:lnTo>
                  <a:lnTo>
                    <a:pt x="136" y="117"/>
                  </a:lnTo>
                  <a:lnTo>
                    <a:pt x="127" y="107"/>
                  </a:lnTo>
                  <a:lnTo>
                    <a:pt x="107" y="107"/>
                  </a:lnTo>
                  <a:lnTo>
                    <a:pt x="107" y="97"/>
                  </a:lnTo>
                  <a:lnTo>
                    <a:pt x="117" y="78"/>
                  </a:lnTo>
                  <a:lnTo>
                    <a:pt x="117" y="68"/>
                  </a:lnTo>
                  <a:lnTo>
                    <a:pt x="107" y="49"/>
                  </a:lnTo>
                  <a:lnTo>
                    <a:pt x="88" y="49"/>
                  </a:lnTo>
                  <a:lnTo>
                    <a:pt x="58" y="19"/>
                  </a:lnTo>
                  <a:lnTo>
                    <a:pt x="58" y="10"/>
                  </a:lnTo>
                  <a:lnTo>
                    <a:pt x="58" y="0"/>
                  </a:lnTo>
                  <a:lnTo>
                    <a:pt x="39" y="19"/>
                  </a:lnTo>
                  <a:lnTo>
                    <a:pt x="10" y="49"/>
                  </a:lnTo>
                  <a:lnTo>
                    <a:pt x="0" y="68"/>
                  </a:lnTo>
                  <a:lnTo>
                    <a:pt x="19" y="78"/>
                  </a:lnTo>
                  <a:lnTo>
                    <a:pt x="19" y="97"/>
                  </a:lnTo>
                  <a:lnTo>
                    <a:pt x="19" y="117"/>
                  </a:lnTo>
                  <a:lnTo>
                    <a:pt x="39" y="136"/>
                  </a:lnTo>
                  <a:lnTo>
                    <a:pt x="29" y="146"/>
                  </a:lnTo>
                  <a:lnTo>
                    <a:pt x="29" y="156"/>
                  </a:lnTo>
                  <a:lnTo>
                    <a:pt x="29" y="175"/>
                  </a:lnTo>
                  <a:lnTo>
                    <a:pt x="29" y="185"/>
                  </a:lnTo>
                  <a:lnTo>
                    <a:pt x="10" y="185"/>
                  </a:lnTo>
                  <a:lnTo>
                    <a:pt x="10" y="19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9" name="Freeform 183"/>
            <p:cNvSpPr>
              <a:spLocks/>
            </p:cNvSpPr>
            <p:nvPr/>
          </p:nvSpPr>
          <p:spPr bwMode="auto">
            <a:xfrm>
              <a:off x="1891" y="2030"/>
              <a:ext cx="498" cy="273"/>
            </a:xfrm>
            <a:custGeom>
              <a:avLst/>
              <a:gdLst/>
              <a:ahLst/>
              <a:cxnLst>
                <a:cxn ang="0">
                  <a:pos x="10" y="108"/>
                </a:cxn>
                <a:cxn ang="0">
                  <a:pos x="0" y="78"/>
                </a:cxn>
                <a:cxn ang="0">
                  <a:pos x="49" y="59"/>
                </a:cxn>
                <a:cxn ang="0">
                  <a:pos x="88" y="59"/>
                </a:cxn>
                <a:cxn ang="0">
                  <a:pos x="117" y="39"/>
                </a:cxn>
                <a:cxn ang="0">
                  <a:pos x="147" y="39"/>
                </a:cxn>
                <a:cxn ang="0">
                  <a:pos x="176" y="20"/>
                </a:cxn>
                <a:cxn ang="0">
                  <a:pos x="186" y="0"/>
                </a:cxn>
                <a:cxn ang="0">
                  <a:pos x="215" y="10"/>
                </a:cxn>
                <a:cxn ang="0">
                  <a:pos x="254" y="20"/>
                </a:cxn>
                <a:cxn ang="0">
                  <a:pos x="264" y="10"/>
                </a:cxn>
                <a:cxn ang="0">
                  <a:pos x="293" y="0"/>
                </a:cxn>
                <a:cxn ang="0">
                  <a:pos x="312" y="20"/>
                </a:cxn>
                <a:cxn ang="0">
                  <a:pos x="381" y="0"/>
                </a:cxn>
                <a:cxn ang="0">
                  <a:pos x="410" y="0"/>
                </a:cxn>
                <a:cxn ang="0">
                  <a:pos x="429" y="30"/>
                </a:cxn>
                <a:cxn ang="0">
                  <a:pos x="459" y="49"/>
                </a:cxn>
                <a:cxn ang="0">
                  <a:pos x="488" y="88"/>
                </a:cxn>
                <a:cxn ang="0">
                  <a:pos x="498" y="117"/>
                </a:cxn>
                <a:cxn ang="0">
                  <a:pos x="459" y="137"/>
                </a:cxn>
                <a:cxn ang="0">
                  <a:pos x="429" y="117"/>
                </a:cxn>
                <a:cxn ang="0">
                  <a:pos x="410" y="127"/>
                </a:cxn>
                <a:cxn ang="0">
                  <a:pos x="400" y="147"/>
                </a:cxn>
                <a:cxn ang="0">
                  <a:pos x="351" y="137"/>
                </a:cxn>
                <a:cxn ang="0">
                  <a:pos x="332" y="147"/>
                </a:cxn>
                <a:cxn ang="0">
                  <a:pos x="312" y="157"/>
                </a:cxn>
                <a:cxn ang="0">
                  <a:pos x="283" y="157"/>
                </a:cxn>
                <a:cxn ang="0">
                  <a:pos x="293" y="176"/>
                </a:cxn>
                <a:cxn ang="0">
                  <a:pos x="273" y="196"/>
                </a:cxn>
                <a:cxn ang="0">
                  <a:pos x="264" y="205"/>
                </a:cxn>
                <a:cxn ang="0">
                  <a:pos x="234" y="225"/>
                </a:cxn>
                <a:cxn ang="0">
                  <a:pos x="234" y="264"/>
                </a:cxn>
                <a:cxn ang="0">
                  <a:pos x="215" y="274"/>
                </a:cxn>
                <a:cxn ang="0">
                  <a:pos x="195" y="274"/>
                </a:cxn>
                <a:cxn ang="0">
                  <a:pos x="176" y="264"/>
                </a:cxn>
                <a:cxn ang="0">
                  <a:pos x="166" y="244"/>
                </a:cxn>
                <a:cxn ang="0">
                  <a:pos x="108" y="254"/>
                </a:cxn>
                <a:cxn ang="0">
                  <a:pos x="98" y="274"/>
                </a:cxn>
                <a:cxn ang="0">
                  <a:pos x="78" y="254"/>
                </a:cxn>
                <a:cxn ang="0">
                  <a:pos x="59" y="244"/>
                </a:cxn>
                <a:cxn ang="0">
                  <a:pos x="69" y="215"/>
                </a:cxn>
                <a:cxn ang="0">
                  <a:pos x="59" y="186"/>
                </a:cxn>
                <a:cxn ang="0">
                  <a:pos x="49" y="157"/>
                </a:cxn>
                <a:cxn ang="0">
                  <a:pos x="20" y="137"/>
                </a:cxn>
              </a:cxnLst>
              <a:rect l="0" t="0" r="r" b="b"/>
              <a:pathLst>
                <a:path w="498" h="274">
                  <a:moveTo>
                    <a:pt x="10" y="127"/>
                  </a:moveTo>
                  <a:lnTo>
                    <a:pt x="10" y="108"/>
                  </a:lnTo>
                  <a:lnTo>
                    <a:pt x="0" y="98"/>
                  </a:lnTo>
                  <a:lnTo>
                    <a:pt x="0" y="78"/>
                  </a:lnTo>
                  <a:lnTo>
                    <a:pt x="30" y="69"/>
                  </a:lnTo>
                  <a:lnTo>
                    <a:pt x="49" y="59"/>
                  </a:lnTo>
                  <a:lnTo>
                    <a:pt x="69" y="59"/>
                  </a:lnTo>
                  <a:lnTo>
                    <a:pt x="88" y="59"/>
                  </a:lnTo>
                  <a:lnTo>
                    <a:pt x="108" y="39"/>
                  </a:lnTo>
                  <a:lnTo>
                    <a:pt x="117" y="39"/>
                  </a:lnTo>
                  <a:lnTo>
                    <a:pt x="137" y="49"/>
                  </a:lnTo>
                  <a:lnTo>
                    <a:pt x="147" y="39"/>
                  </a:lnTo>
                  <a:lnTo>
                    <a:pt x="147" y="30"/>
                  </a:lnTo>
                  <a:lnTo>
                    <a:pt x="176" y="20"/>
                  </a:lnTo>
                  <a:lnTo>
                    <a:pt x="186" y="20"/>
                  </a:lnTo>
                  <a:lnTo>
                    <a:pt x="186" y="0"/>
                  </a:lnTo>
                  <a:lnTo>
                    <a:pt x="205" y="0"/>
                  </a:lnTo>
                  <a:lnTo>
                    <a:pt x="215" y="10"/>
                  </a:lnTo>
                  <a:lnTo>
                    <a:pt x="234" y="20"/>
                  </a:lnTo>
                  <a:lnTo>
                    <a:pt x="254" y="20"/>
                  </a:lnTo>
                  <a:lnTo>
                    <a:pt x="254" y="0"/>
                  </a:lnTo>
                  <a:lnTo>
                    <a:pt x="264" y="10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293" y="10"/>
                  </a:lnTo>
                  <a:lnTo>
                    <a:pt x="312" y="20"/>
                  </a:lnTo>
                  <a:lnTo>
                    <a:pt x="361" y="20"/>
                  </a:lnTo>
                  <a:lnTo>
                    <a:pt x="381" y="0"/>
                  </a:lnTo>
                  <a:lnTo>
                    <a:pt x="390" y="0"/>
                  </a:lnTo>
                  <a:lnTo>
                    <a:pt x="410" y="0"/>
                  </a:lnTo>
                  <a:lnTo>
                    <a:pt x="410" y="20"/>
                  </a:lnTo>
                  <a:lnTo>
                    <a:pt x="429" y="30"/>
                  </a:lnTo>
                  <a:lnTo>
                    <a:pt x="449" y="39"/>
                  </a:lnTo>
                  <a:lnTo>
                    <a:pt x="459" y="49"/>
                  </a:lnTo>
                  <a:lnTo>
                    <a:pt x="469" y="69"/>
                  </a:lnTo>
                  <a:lnTo>
                    <a:pt x="488" y="88"/>
                  </a:lnTo>
                  <a:lnTo>
                    <a:pt x="498" y="98"/>
                  </a:lnTo>
                  <a:lnTo>
                    <a:pt x="498" y="117"/>
                  </a:lnTo>
                  <a:lnTo>
                    <a:pt x="478" y="127"/>
                  </a:lnTo>
                  <a:lnTo>
                    <a:pt x="459" y="137"/>
                  </a:lnTo>
                  <a:lnTo>
                    <a:pt x="449" y="127"/>
                  </a:lnTo>
                  <a:lnTo>
                    <a:pt x="429" y="117"/>
                  </a:lnTo>
                  <a:lnTo>
                    <a:pt x="420" y="117"/>
                  </a:lnTo>
                  <a:lnTo>
                    <a:pt x="410" y="127"/>
                  </a:lnTo>
                  <a:lnTo>
                    <a:pt x="410" y="137"/>
                  </a:lnTo>
                  <a:lnTo>
                    <a:pt x="400" y="147"/>
                  </a:lnTo>
                  <a:lnTo>
                    <a:pt x="381" y="166"/>
                  </a:lnTo>
                  <a:lnTo>
                    <a:pt x="351" y="137"/>
                  </a:lnTo>
                  <a:lnTo>
                    <a:pt x="342" y="137"/>
                  </a:lnTo>
                  <a:lnTo>
                    <a:pt x="332" y="147"/>
                  </a:lnTo>
                  <a:lnTo>
                    <a:pt x="312" y="147"/>
                  </a:lnTo>
                  <a:lnTo>
                    <a:pt x="312" y="157"/>
                  </a:lnTo>
                  <a:lnTo>
                    <a:pt x="293" y="137"/>
                  </a:lnTo>
                  <a:lnTo>
                    <a:pt x="283" y="157"/>
                  </a:lnTo>
                  <a:lnTo>
                    <a:pt x="293" y="166"/>
                  </a:lnTo>
                  <a:lnTo>
                    <a:pt x="293" y="176"/>
                  </a:lnTo>
                  <a:lnTo>
                    <a:pt x="283" y="176"/>
                  </a:lnTo>
                  <a:lnTo>
                    <a:pt x="273" y="196"/>
                  </a:lnTo>
                  <a:lnTo>
                    <a:pt x="273" y="205"/>
                  </a:lnTo>
                  <a:lnTo>
                    <a:pt x="264" y="205"/>
                  </a:lnTo>
                  <a:lnTo>
                    <a:pt x="254" y="225"/>
                  </a:lnTo>
                  <a:lnTo>
                    <a:pt x="234" y="225"/>
                  </a:lnTo>
                  <a:lnTo>
                    <a:pt x="234" y="235"/>
                  </a:lnTo>
                  <a:lnTo>
                    <a:pt x="234" y="264"/>
                  </a:lnTo>
                  <a:lnTo>
                    <a:pt x="215" y="27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76" y="274"/>
                  </a:lnTo>
                  <a:lnTo>
                    <a:pt x="176" y="264"/>
                  </a:lnTo>
                  <a:lnTo>
                    <a:pt x="176" y="254"/>
                  </a:lnTo>
                  <a:lnTo>
                    <a:pt x="166" y="244"/>
                  </a:lnTo>
                  <a:lnTo>
                    <a:pt x="137" y="264"/>
                  </a:lnTo>
                  <a:lnTo>
                    <a:pt x="108" y="254"/>
                  </a:lnTo>
                  <a:lnTo>
                    <a:pt x="108" y="264"/>
                  </a:lnTo>
                  <a:lnTo>
                    <a:pt x="98" y="274"/>
                  </a:lnTo>
                  <a:lnTo>
                    <a:pt x="88" y="274"/>
                  </a:lnTo>
                  <a:lnTo>
                    <a:pt x="78" y="254"/>
                  </a:lnTo>
                  <a:lnTo>
                    <a:pt x="78" y="244"/>
                  </a:lnTo>
                  <a:lnTo>
                    <a:pt x="59" y="244"/>
                  </a:lnTo>
                  <a:lnTo>
                    <a:pt x="59" y="225"/>
                  </a:lnTo>
                  <a:lnTo>
                    <a:pt x="69" y="215"/>
                  </a:lnTo>
                  <a:lnTo>
                    <a:pt x="69" y="196"/>
                  </a:lnTo>
                  <a:lnTo>
                    <a:pt x="59" y="186"/>
                  </a:lnTo>
                  <a:lnTo>
                    <a:pt x="59" y="166"/>
                  </a:lnTo>
                  <a:lnTo>
                    <a:pt x="49" y="157"/>
                  </a:lnTo>
                  <a:lnTo>
                    <a:pt x="39" y="147"/>
                  </a:lnTo>
                  <a:lnTo>
                    <a:pt x="20" y="137"/>
                  </a:lnTo>
                  <a:lnTo>
                    <a:pt x="10" y="12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0" name="Freeform 182"/>
            <p:cNvSpPr>
              <a:spLocks/>
            </p:cNvSpPr>
            <p:nvPr/>
          </p:nvSpPr>
          <p:spPr bwMode="auto">
            <a:xfrm>
              <a:off x="2167" y="2167"/>
              <a:ext cx="253" cy="206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0" y="59"/>
                </a:cxn>
                <a:cxn ang="0">
                  <a:pos x="0" y="39"/>
                </a:cxn>
                <a:cxn ang="0">
                  <a:pos x="10" y="39"/>
                </a:cxn>
                <a:cxn ang="0">
                  <a:pos x="20" y="29"/>
                </a:cxn>
                <a:cxn ang="0">
                  <a:pos x="10" y="20"/>
                </a:cxn>
                <a:cxn ang="0">
                  <a:pos x="20" y="10"/>
                </a:cxn>
                <a:cxn ang="0">
                  <a:pos x="39" y="20"/>
                </a:cxn>
                <a:cxn ang="0">
                  <a:pos x="39" y="10"/>
                </a:cxn>
                <a:cxn ang="0">
                  <a:pos x="49" y="10"/>
                </a:cxn>
                <a:cxn ang="0">
                  <a:pos x="69" y="0"/>
                </a:cxn>
                <a:cxn ang="0">
                  <a:pos x="78" y="10"/>
                </a:cxn>
                <a:cxn ang="0">
                  <a:pos x="108" y="29"/>
                </a:cxn>
                <a:cxn ang="0">
                  <a:pos x="117" y="29"/>
                </a:cxn>
                <a:cxn ang="0">
                  <a:pos x="117" y="39"/>
                </a:cxn>
                <a:cxn ang="0">
                  <a:pos x="117" y="49"/>
                </a:cxn>
                <a:cxn ang="0">
                  <a:pos x="117" y="59"/>
                </a:cxn>
                <a:cxn ang="0">
                  <a:pos x="137" y="59"/>
                </a:cxn>
                <a:cxn ang="0">
                  <a:pos x="156" y="59"/>
                </a:cxn>
                <a:cxn ang="0">
                  <a:pos x="166" y="68"/>
                </a:cxn>
                <a:cxn ang="0">
                  <a:pos x="196" y="78"/>
                </a:cxn>
                <a:cxn ang="0">
                  <a:pos x="215" y="78"/>
                </a:cxn>
                <a:cxn ang="0">
                  <a:pos x="225" y="98"/>
                </a:cxn>
                <a:cxn ang="0">
                  <a:pos x="235" y="88"/>
                </a:cxn>
                <a:cxn ang="0">
                  <a:pos x="244" y="98"/>
                </a:cxn>
                <a:cxn ang="0">
                  <a:pos x="235" y="117"/>
                </a:cxn>
                <a:cxn ang="0">
                  <a:pos x="254" y="127"/>
                </a:cxn>
                <a:cxn ang="0">
                  <a:pos x="244" y="137"/>
                </a:cxn>
                <a:cxn ang="0">
                  <a:pos x="244" y="156"/>
                </a:cxn>
                <a:cxn ang="0">
                  <a:pos x="244" y="166"/>
                </a:cxn>
                <a:cxn ang="0">
                  <a:pos x="235" y="185"/>
                </a:cxn>
                <a:cxn ang="0">
                  <a:pos x="244" y="195"/>
                </a:cxn>
                <a:cxn ang="0">
                  <a:pos x="225" y="205"/>
                </a:cxn>
                <a:cxn ang="0">
                  <a:pos x="215" y="185"/>
                </a:cxn>
                <a:cxn ang="0">
                  <a:pos x="205" y="176"/>
                </a:cxn>
                <a:cxn ang="0">
                  <a:pos x="186" y="176"/>
                </a:cxn>
                <a:cxn ang="0">
                  <a:pos x="176" y="176"/>
                </a:cxn>
                <a:cxn ang="0">
                  <a:pos x="147" y="176"/>
                </a:cxn>
                <a:cxn ang="0">
                  <a:pos x="117" y="176"/>
                </a:cxn>
                <a:cxn ang="0">
                  <a:pos x="108" y="176"/>
                </a:cxn>
                <a:cxn ang="0">
                  <a:pos x="88" y="176"/>
                </a:cxn>
                <a:cxn ang="0">
                  <a:pos x="78" y="156"/>
                </a:cxn>
                <a:cxn ang="0">
                  <a:pos x="88" y="137"/>
                </a:cxn>
                <a:cxn ang="0">
                  <a:pos x="69" y="127"/>
                </a:cxn>
                <a:cxn ang="0">
                  <a:pos x="59" y="117"/>
                </a:cxn>
                <a:cxn ang="0">
                  <a:pos x="69" y="107"/>
                </a:cxn>
                <a:cxn ang="0">
                  <a:pos x="69" y="88"/>
                </a:cxn>
                <a:cxn ang="0">
                  <a:pos x="59" y="88"/>
                </a:cxn>
                <a:cxn ang="0">
                  <a:pos x="49" y="88"/>
                </a:cxn>
                <a:cxn ang="0">
                  <a:pos x="20" y="78"/>
                </a:cxn>
                <a:cxn ang="0">
                  <a:pos x="0" y="68"/>
                </a:cxn>
              </a:cxnLst>
              <a:rect l="0" t="0" r="r" b="b"/>
              <a:pathLst>
                <a:path w="254" h="205">
                  <a:moveTo>
                    <a:pt x="0" y="68"/>
                  </a:moveTo>
                  <a:lnTo>
                    <a:pt x="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29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39" y="2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117" y="59"/>
                  </a:lnTo>
                  <a:lnTo>
                    <a:pt x="137" y="59"/>
                  </a:lnTo>
                  <a:lnTo>
                    <a:pt x="156" y="59"/>
                  </a:lnTo>
                  <a:lnTo>
                    <a:pt x="166" y="68"/>
                  </a:lnTo>
                  <a:lnTo>
                    <a:pt x="196" y="78"/>
                  </a:lnTo>
                  <a:lnTo>
                    <a:pt x="215" y="78"/>
                  </a:lnTo>
                  <a:lnTo>
                    <a:pt x="225" y="98"/>
                  </a:lnTo>
                  <a:lnTo>
                    <a:pt x="235" y="88"/>
                  </a:lnTo>
                  <a:lnTo>
                    <a:pt x="244" y="98"/>
                  </a:lnTo>
                  <a:lnTo>
                    <a:pt x="235" y="117"/>
                  </a:lnTo>
                  <a:lnTo>
                    <a:pt x="254" y="127"/>
                  </a:lnTo>
                  <a:lnTo>
                    <a:pt x="244" y="137"/>
                  </a:lnTo>
                  <a:lnTo>
                    <a:pt x="244" y="156"/>
                  </a:lnTo>
                  <a:lnTo>
                    <a:pt x="244" y="166"/>
                  </a:lnTo>
                  <a:lnTo>
                    <a:pt x="235" y="185"/>
                  </a:lnTo>
                  <a:lnTo>
                    <a:pt x="244" y="195"/>
                  </a:lnTo>
                  <a:lnTo>
                    <a:pt x="225" y="205"/>
                  </a:lnTo>
                  <a:lnTo>
                    <a:pt x="215" y="185"/>
                  </a:lnTo>
                  <a:lnTo>
                    <a:pt x="205" y="176"/>
                  </a:lnTo>
                  <a:lnTo>
                    <a:pt x="186" y="176"/>
                  </a:lnTo>
                  <a:lnTo>
                    <a:pt x="176" y="176"/>
                  </a:lnTo>
                  <a:lnTo>
                    <a:pt x="147" y="176"/>
                  </a:lnTo>
                  <a:lnTo>
                    <a:pt x="117" y="176"/>
                  </a:lnTo>
                  <a:lnTo>
                    <a:pt x="108" y="176"/>
                  </a:lnTo>
                  <a:lnTo>
                    <a:pt x="88" y="176"/>
                  </a:lnTo>
                  <a:lnTo>
                    <a:pt x="78" y="156"/>
                  </a:lnTo>
                  <a:lnTo>
                    <a:pt x="88" y="137"/>
                  </a:lnTo>
                  <a:lnTo>
                    <a:pt x="69" y="127"/>
                  </a:lnTo>
                  <a:lnTo>
                    <a:pt x="59" y="117"/>
                  </a:lnTo>
                  <a:lnTo>
                    <a:pt x="69" y="107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49" y="88"/>
                  </a:lnTo>
                  <a:lnTo>
                    <a:pt x="20" y="7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1" name="Freeform 181"/>
            <p:cNvSpPr>
              <a:spLocks/>
            </p:cNvSpPr>
            <p:nvPr/>
          </p:nvSpPr>
          <p:spPr bwMode="auto">
            <a:xfrm>
              <a:off x="2606" y="633"/>
              <a:ext cx="419" cy="595"/>
            </a:xfrm>
            <a:custGeom>
              <a:avLst/>
              <a:gdLst/>
              <a:ahLst/>
              <a:cxnLst>
                <a:cxn ang="0">
                  <a:pos x="30" y="137"/>
                </a:cxn>
                <a:cxn ang="0">
                  <a:pos x="117" y="137"/>
                </a:cxn>
                <a:cxn ang="0">
                  <a:pos x="147" y="98"/>
                </a:cxn>
                <a:cxn ang="0">
                  <a:pos x="147" y="49"/>
                </a:cxn>
                <a:cxn ang="0">
                  <a:pos x="215" y="20"/>
                </a:cxn>
                <a:cxn ang="0">
                  <a:pos x="254" y="10"/>
                </a:cxn>
                <a:cxn ang="0">
                  <a:pos x="313" y="29"/>
                </a:cxn>
                <a:cxn ang="0">
                  <a:pos x="322" y="49"/>
                </a:cxn>
                <a:cxn ang="0">
                  <a:pos x="361" y="49"/>
                </a:cxn>
                <a:cxn ang="0">
                  <a:pos x="381" y="68"/>
                </a:cxn>
                <a:cxn ang="0">
                  <a:pos x="400" y="78"/>
                </a:cxn>
                <a:cxn ang="0">
                  <a:pos x="391" y="127"/>
                </a:cxn>
                <a:cxn ang="0">
                  <a:pos x="381" y="98"/>
                </a:cxn>
                <a:cxn ang="0">
                  <a:pos x="371" y="108"/>
                </a:cxn>
                <a:cxn ang="0">
                  <a:pos x="371" y="137"/>
                </a:cxn>
                <a:cxn ang="0">
                  <a:pos x="381" y="147"/>
                </a:cxn>
                <a:cxn ang="0">
                  <a:pos x="361" y="156"/>
                </a:cxn>
                <a:cxn ang="0">
                  <a:pos x="332" y="156"/>
                </a:cxn>
                <a:cxn ang="0">
                  <a:pos x="371" y="166"/>
                </a:cxn>
                <a:cxn ang="0">
                  <a:pos x="391" y="215"/>
                </a:cxn>
                <a:cxn ang="0">
                  <a:pos x="420" y="234"/>
                </a:cxn>
                <a:cxn ang="0">
                  <a:pos x="420" y="312"/>
                </a:cxn>
                <a:cxn ang="0">
                  <a:pos x="400" y="381"/>
                </a:cxn>
                <a:cxn ang="0">
                  <a:pos x="410" y="459"/>
                </a:cxn>
                <a:cxn ang="0">
                  <a:pos x="410" y="478"/>
                </a:cxn>
                <a:cxn ang="0">
                  <a:pos x="400" y="498"/>
                </a:cxn>
                <a:cxn ang="0">
                  <a:pos x="391" y="537"/>
                </a:cxn>
                <a:cxn ang="0">
                  <a:pos x="371" y="566"/>
                </a:cxn>
                <a:cxn ang="0">
                  <a:pos x="352" y="576"/>
                </a:cxn>
                <a:cxn ang="0">
                  <a:pos x="293" y="586"/>
                </a:cxn>
                <a:cxn ang="0">
                  <a:pos x="244" y="586"/>
                </a:cxn>
                <a:cxn ang="0">
                  <a:pos x="176" y="537"/>
                </a:cxn>
                <a:cxn ang="0">
                  <a:pos x="147" y="439"/>
                </a:cxn>
                <a:cxn ang="0">
                  <a:pos x="137" y="381"/>
                </a:cxn>
                <a:cxn ang="0">
                  <a:pos x="127" y="351"/>
                </a:cxn>
                <a:cxn ang="0">
                  <a:pos x="127" y="322"/>
                </a:cxn>
                <a:cxn ang="0">
                  <a:pos x="117" y="293"/>
                </a:cxn>
                <a:cxn ang="0">
                  <a:pos x="127" y="264"/>
                </a:cxn>
                <a:cxn ang="0">
                  <a:pos x="117" y="244"/>
                </a:cxn>
                <a:cxn ang="0">
                  <a:pos x="98" y="293"/>
                </a:cxn>
                <a:cxn ang="0">
                  <a:pos x="78" y="293"/>
                </a:cxn>
                <a:cxn ang="0">
                  <a:pos x="30" y="273"/>
                </a:cxn>
                <a:cxn ang="0">
                  <a:pos x="0" y="156"/>
                </a:cxn>
              </a:cxnLst>
              <a:rect l="0" t="0" r="r" b="b"/>
              <a:pathLst>
                <a:path w="420" h="595">
                  <a:moveTo>
                    <a:pt x="0" y="156"/>
                  </a:moveTo>
                  <a:lnTo>
                    <a:pt x="10" y="147"/>
                  </a:lnTo>
                  <a:lnTo>
                    <a:pt x="30" y="137"/>
                  </a:lnTo>
                  <a:lnTo>
                    <a:pt x="39" y="137"/>
                  </a:lnTo>
                  <a:lnTo>
                    <a:pt x="88" y="137"/>
                  </a:lnTo>
                  <a:lnTo>
                    <a:pt x="117" y="137"/>
                  </a:lnTo>
                  <a:lnTo>
                    <a:pt x="117" y="127"/>
                  </a:lnTo>
                  <a:lnTo>
                    <a:pt x="127" y="117"/>
                  </a:lnTo>
                  <a:lnTo>
                    <a:pt x="147" y="98"/>
                  </a:lnTo>
                  <a:lnTo>
                    <a:pt x="147" y="88"/>
                  </a:lnTo>
                  <a:lnTo>
                    <a:pt x="147" y="59"/>
                  </a:lnTo>
                  <a:lnTo>
                    <a:pt x="147" y="49"/>
                  </a:lnTo>
                  <a:lnTo>
                    <a:pt x="176" y="29"/>
                  </a:lnTo>
                  <a:lnTo>
                    <a:pt x="186" y="20"/>
                  </a:lnTo>
                  <a:lnTo>
                    <a:pt x="215" y="20"/>
                  </a:lnTo>
                  <a:lnTo>
                    <a:pt x="215" y="10"/>
                  </a:lnTo>
                  <a:lnTo>
                    <a:pt x="225" y="0"/>
                  </a:lnTo>
                  <a:lnTo>
                    <a:pt x="254" y="10"/>
                  </a:lnTo>
                  <a:lnTo>
                    <a:pt x="264" y="20"/>
                  </a:lnTo>
                  <a:lnTo>
                    <a:pt x="273" y="20"/>
                  </a:lnTo>
                  <a:lnTo>
                    <a:pt x="313" y="29"/>
                  </a:lnTo>
                  <a:lnTo>
                    <a:pt x="322" y="29"/>
                  </a:lnTo>
                  <a:lnTo>
                    <a:pt x="332" y="39"/>
                  </a:lnTo>
                  <a:lnTo>
                    <a:pt x="322" y="49"/>
                  </a:lnTo>
                  <a:lnTo>
                    <a:pt x="332" y="59"/>
                  </a:lnTo>
                  <a:lnTo>
                    <a:pt x="342" y="49"/>
                  </a:lnTo>
                  <a:lnTo>
                    <a:pt x="361" y="49"/>
                  </a:lnTo>
                  <a:lnTo>
                    <a:pt x="361" y="68"/>
                  </a:lnTo>
                  <a:lnTo>
                    <a:pt x="371" y="78"/>
                  </a:lnTo>
                  <a:lnTo>
                    <a:pt x="381" y="68"/>
                  </a:lnTo>
                  <a:lnTo>
                    <a:pt x="391" y="78"/>
                  </a:lnTo>
                  <a:lnTo>
                    <a:pt x="400" y="68"/>
                  </a:lnTo>
                  <a:lnTo>
                    <a:pt x="400" y="78"/>
                  </a:lnTo>
                  <a:lnTo>
                    <a:pt x="400" y="98"/>
                  </a:lnTo>
                  <a:lnTo>
                    <a:pt x="400" y="108"/>
                  </a:lnTo>
                  <a:lnTo>
                    <a:pt x="391" y="127"/>
                  </a:lnTo>
                  <a:lnTo>
                    <a:pt x="391" y="117"/>
                  </a:lnTo>
                  <a:lnTo>
                    <a:pt x="381" y="108"/>
                  </a:lnTo>
                  <a:lnTo>
                    <a:pt x="381" y="98"/>
                  </a:lnTo>
                  <a:lnTo>
                    <a:pt x="381" y="88"/>
                  </a:lnTo>
                  <a:lnTo>
                    <a:pt x="371" y="88"/>
                  </a:lnTo>
                  <a:lnTo>
                    <a:pt x="371" y="108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1" y="137"/>
                  </a:lnTo>
                  <a:lnTo>
                    <a:pt x="361" y="137"/>
                  </a:lnTo>
                  <a:lnTo>
                    <a:pt x="371" y="147"/>
                  </a:lnTo>
                  <a:lnTo>
                    <a:pt x="381" y="147"/>
                  </a:lnTo>
                  <a:lnTo>
                    <a:pt x="381" y="156"/>
                  </a:lnTo>
                  <a:lnTo>
                    <a:pt x="371" y="156"/>
                  </a:lnTo>
                  <a:lnTo>
                    <a:pt x="361" y="156"/>
                  </a:lnTo>
                  <a:lnTo>
                    <a:pt x="342" y="156"/>
                  </a:lnTo>
                  <a:lnTo>
                    <a:pt x="332" y="156"/>
                  </a:lnTo>
                  <a:lnTo>
                    <a:pt x="342" y="166"/>
                  </a:lnTo>
                  <a:lnTo>
                    <a:pt x="361" y="176"/>
                  </a:lnTo>
                  <a:lnTo>
                    <a:pt x="371" y="166"/>
                  </a:lnTo>
                  <a:lnTo>
                    <a:pt x="381" y="176"/>
                  </a:lnTo>
                  <a:lnTo>
                    <a:pt x="391" y="195"/>
                  </a:lnTo>
                  <a:lnTo>
                    <a:pt x="391" y="215"/>
                  </a:lnTo>
                  <a:lnTo>
                    <a:pt x="400" y="225"/>
                  </a:lnTo>
                  <a:lnTo>
                    <a:pt x="410" y="225"/>
                  </a:lnTo>
                  <a:lnTo>
                    <a:pt x="420" y="234"/>
                  </a:lnTo>
                  <a:lnTo>
                    <a:pt x="420" y="254"/>
                  </a:lnTo>
                  <a:lnTo>
                    <a:pt x="420" y="283"/>
                  </a:lnTo>
                  <a:lnTo>
                    <a:pt x="420" y="312"/>
                  </a:lnTo>
                  <a:lnTo>
                    <a:pt x="420" y="342"/>
                  </a:lnTo>
                  <a:lnTo>
                    <a:pt x="410" y="361"/>
                  </a:lnTo>
                  <a:lnTo>
                    <a:pt x="400" y="381"/>
                  </a:lnTo>
                  <a:lnTo>
                    <a:pt x="410" y="400"/>
                  </a:lnTo>
                  <a:lnTo>
                    <a:pt x="410" y="429"/>
                  </a:lnTo>
                  <a:lnTo>
                    <a:pt x="410" y="459"/>
                  </a:lnTo>
                  <a:lnTo>
                    <a:pt x="420" y="459"/>
                  </a:lnTo>
                  <a:lnTo>
                    <a:pt x="420" y="469"/>
                  </a:lnTo>
                  <a:lnTo>
                    <a:pt x="410" y="478"/>
                  </a:lnTo>
                  <a:lnTo>
                    <a:pt x="410" y="488"/>
                  </a:lnTo>
                  <a:lnTo>
                    <a:pt x="400" y="498"/>
                  </a:lnTo>
                  <a:lnTo>
                    <a:pt x="410" y="508"/>
                  </a:lnTo>
                  <a:lnTo>
                    <a:pt x="410" y="527"/>
                  </a:lnTo>
                  <a:lnTo>
                    <a:pt x="391" y="537"/>
                  </a:lnTo>
                  <a:lnTo>
                    <a:pt x="391" y="547"/>
                  </a:lnTo>
                  <a:lnTo>
                    <a:pt x="391" y="556"/>
                  </a:lnTo>
                  <a:lnTo>
                    <a:pt x="371" y="566"/>
                  </a:lnTo>
                  <a:lnTo>
                    <a:pt x="371" y="576"/>
                  </a:lnTo>
                  <a:lnTo>
                    <a:pt x="361" y="576"/>
                  </a:lnTo>
                  <a:lnTo>
                    <a:pt x="352" y="576"/>
                  </a:lnTo>
                  <a:lnTo>
                    <a:pt x="332" y="586"/>
                  </a:lnTo>
                  <a:lnTo>
                    <a:pt x="313" y="586"/>
                  </a:lnTo>
                  <a:lnTo>
                    <a:pt x="293" y="586"/>
                  </a:lnTo>
                  <a:lnTo>
                    <a:pt x="273" y="595"/>
                  </a:lnTo>
                  <a:lnTo>
                    <a:pt x="254" y="586"/>
                  </a:lnTo>
                  <a:lnTo>
                    <a:pt x="244" y="586"/>
                  </a:lnTo>
                  <a:lnTo>
                    <a:pt x="225" y="576"/>
                  </a:lnTo>
                  <a:lnTo>
                    <a:pt x="205" y="576"/>
                  </a:lnTo>
                  <a:lnTo>
                    <a:pt x="176" y="537"/>
                  </a:lnTo>
                  <a:lnTo>
                    <a:pt x="176" y="517"/>
                  </a:lnTo>
                  <a:lnTo>
                    <a:pt x="156" y="469"/>
                  </a:lnTo>
                  <a:lnTo>
                    <a:pt x="147" y="439"/>
                  </a:lnTo>
                  <a:lnTo>
                    <a:pt x="137" y="410"/>
                  </a:lnTo>
                  <a:lnTo>
                    <a:pt x="137" y="390"/>
                  </a:lnTo>
                  <a:lnTo>
                    <a:pt x="137" y="381"/>
                  </a:lnTo>
                  <a:lnTo>
                    <a:pt x="117" y="371"/>
                  </a:lnTo>
                  <a:lnTo>
                    <a:pt x="127" y="361"/>
                  </a:lnTo>
                  <a:lnTo>
                    <a:pt x="127" y="351"/>
                  </a:lnTo>
                  <a:lnTo>
                    <a:pt x="127" y="342"/>
                  </a:lnTo>
                  <a:lnTo>
                    <a:pt x="117" y="332"/>
                  </a:lnTo>
                  <a:lnTo>
                    <a:pt x="127" y="322"/>
                  </a:lnTo>
                  <a:lnTo>
                    <a:pt x="108" y="322"/>
                  </a:lnTo>
                  <a:lnTo>
                    <a:pt x="108" y="303"/>
                  </a:lnTo>
                  <a:lnTo>
                    <a:pt x="117" y="293"/>
                  </a:lnTo>
                  <a:lnTo>
                    <a:pt x="117" y="283"/>
                  </a:lnTo>
                  <a:lnTo>
                    <a:pt x="127" y="273"/>
                  </a:lnTo>
                  <a:lnTo>
                    <a:pt x="127" y="264"/>
                  </a:lnTo>
                  <a:lnTo>
                    <a:pt x="127" y="254"/>
                  </a:lnTo>
                  <a:lnTo>
                    <a:pt x="117" y="244"/>
                  </a:lnTo>
                  <a:lnTo>
                    <a:pt x="117" y="264"/>
                  </a:lnTo>
                  <a:lnTo>
                    <a:pt x="108" y="273"/>
                  </a:lnTo>
                  <a:lnTo>
                    <a:pt x="98" y="293"/>
                  </a:lnTo>
                  <a:lnTo>
                    <a:pt x="88" y="293"/>
                  </a:lnTo>
                  <a:lnTo>
                    <a:pt x="88" y="312"/>
                  </a:lnTo>
                  <a:lnTo>
                    <a:pt x="78" y="293"/>
                  </a:lnTo>
                  <a:lnTo>
                    <a:pt x="59" y="293"/>
                  </a:lnTo>
                  <a:lnTo>
                    <a:pt x="39" y="293"/>
                  </a:lnTo>
                  <a:lnTo>
                    <a:pt x="30" y="273"/>
                  </a:lnTo>
                  <a:lnTo>
                    <a:pt x="39" y="254"/>
                  </a:lnTo>
                  <a:lnTo>
                    <a:pt x="49" y="244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2" name="Freeform 180"/>
            <p:cNvSpPr>
              <a:spLocks/>
            </p:cNvSpPr>
            <p:nvPr/>
          </p:nvSpPr>
          <p:spPr bwMode="auto">
            <a:xfrm>
              <a:off x="2068" y="2236"/>
              <a:ext cx="183" cy="174"/>
            </a:xfrm>
            <a:custGeom>
              <a:avLst/>
              <a:gdLst/>
              <a:ahLst/>
              <a:cxnLst>
                <a:cxn ang="0">
                  <a:pos x="0" y="117"/>
                </a:cxn>
                <a:cxn ang="0">
                  <a:pos x="0" y="98"/>
                </a:cxn>
                <a:cxn ang="0">
                  <a:pos x="10" y="88"/>
                </a:cxn>
                <a:cxn ang="0">
                  <a:pos x="10" y="69"/>
                </a:cxn>
                <a:cxn ang="0">
                  <a:pos x="29" y="59"/>
                </a:cxn>
                <a:cxn ang="0">
                  <a:pos x="39" y="69"/>
                </a:cxn>
                <a:cxn ang="0">
                  <a:pos x="58" y="59"/>
                </a:cxn>
                <a:cxn ang="0">
                  <a:pos x="58" y="59"/>
                </a:cxn>
                <a:cxn ang="0">
                  <a:pos x="58" y="30"/>
                </a:cxn>
                <a:cxn ang="0">
                  <a:pos x="58" y="20"/>
                </a:cxn>
                <a:cxn ang="0">
                  <a:pos x="78" y="10"/>
                </a:cxn>
                <a:cxn ang="0">
                  <a:pos x="88" y="0"/>
                </a:cxn>
                <a:cxn ang="0">
                  <a:pos x="97" y="0"/>
                </a:cxn>
                <a:cxn ang="0">
                  <a:pos x="117" y="10"/>
                </a:cxn>
                <a:cxn ang="0">
                  <a:pos x="146" y="20"/>
                </a:cxn>
                <a:cxn ang="0">
                  <a:pos x="166" y="20"/>
                </a:cxn>
                <a:cxn ang="0">
                  <a:pos x="175" y="20"/>
                </a:cxn>
                <a:cxn ang="0">
                  <a:pos x="175" y="39"/>
                </a:cxn>
                <a:cxn ang="0">
                  <a:pos x="166" y="49"/>
                </a:cxn>
                <a:cxn ang="0">
                  <a:pos x="175" y="59"/>
                </a:cxn>
                <a:cxn ang="0">
                  <a:pos x="185" y="69"/>
                </a:cxn>
                <a:cxn ang="0">
                  <a:pos x="175" y="88"/>
                </a:cxn>
                <a:cxn ang="0">
                  <a:pos x="185" y="108"/>
                </a:cxn>
                <a:cxn ang="0">
                  <a:pos x="156" y="117"/>
                </a:cxn>
                <a:cxn ang="0">
                  <a:pos x="127" y="117"/>
                </a:cxn>
                <a:cxn ang="0">
                  <a:pos x="117" y="108"/>
                </a:cxn>
                <a:cxn ang="0">
                  <a:pos x="107" y="127"/>
                </a:cxn>
                <a:cxn ang="0">
                  <a:pos x="117" y="127"/>
                </a:cxn>
                <a:cxn ang="0">
                  <a:pos x="117" y="137"/>
                </a:cxn>
                <a:cxn ang="0">
                  <a:pos x="107" y="147"/>
                </a:cxn>
                <a:cxn ang="0">
                  <a:pos x="107" y="147"/>
                </a:cxn>
                <a:cxn ang="0">
                  <a:pos x="97" y="156"/>
                </a:cxn>
                <a:cxn ang="0">
                  <a:pos x="78" y="176"/>
                </a:cxn>
                <a:cxn ang="0">
                  <a:pos x="58" y="176"/>
                </a:cxn>
                <a:cxn ang="0">
                  <a:pos x="58" y="166"/>
                </a:cxn>
                <a:cxn ang="0">
                  <a:pos x="49" y="156"/>
                </a:cxn>
                <a:cxn ang="0">
                  <a:pos x="29" y="156"/>
                </a:cxn>
                <a:cxn ang="0">
                  <a:pos x="29" y="147"/>
                </a:cxn>
                <a:cxn ang="0">
                  <a:pos x="19" y="137"/>
                </a:cxn>
                <a:cxn ang="0">
                  <a:pos x="10" y="127"/>
                </a:cxn>
                <a:cxn ang="0">
                  <a:pos x="0" y="117"/>
                </a:cxn>
              </a:cxnLst>
              <a:rect l="0" t="0" r="r" b="b"/>
              <a:pathLst>
                <a:path w="185" h="176">
                  <a:moveTo>
                    <a:pt x="0" y="117"/>
                  </a:moveTo>
                  <a:lnTo>
                    <a:pt x="0" y="98"/>
                  </a:lnTo>
                  <a:lnTo>
                    <a:pt x="10" y="88"/>
                  </a:lnTo>
                  <a:lnTo>
                    <a:pt x="10" y="69"/>
                  </a:lnTo>
                  <a:lnTo>
                    <a:pt x="29" y="59"/>
                  </a:lnTo>
                  <a:lnTo>
                    <a:pt x="39" y="69"/>
                  </a:lnTo>
                  <a:lnTo>
                    <a:pt x="58" y="59"/>
                  </a:lnTo>
                  <a:lnTo>
                    <a:pt x="58" y="30"/>
                  </a:lnTo>
                  <a:lnTo>
                    <a:pt x="58" y="20"/>
                  </a:lnTo>
                  <a:lnTo>
                    <a:pt x="78" y="10"/>
                  </a:lnTo>
                  <a:lnTo>
                    <a:pt x="88" y="0"/>
                  </a:lnTo>
                  <a:lnTo>
                    <a:pt x="97" y="0"/>
                  </a:lnTo>
                  <a:lnTo>
                    <a:pt x="117" y="10"/>
                  </a:lnTo>
                  <a:lnTo>
                    <a:pt x="146" y="20"/>
                  </a:lnTo>
                  <a:lnTo>
                    <a:pt x="166" y="20"/>
                  </a:lnTo>
                  <a:lnTo>
                    <a:pt x="175" y="2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75" y="59"/>
                  </a:lnTo>
                  <a:lnTo>
                    <a:pt x="185" y="69"/>
                  </a:lnTo>
                  <a:lnTo>
                    <a:pt x="175" y="88"/>
                  </a:lnTo>
                  <a:lnTo>
                    <a:pt x="185" y="108"/>
                  </a:lnTo>
                  <a:lnTo>
                    <a:pt x="156" y="117"/>
                  </a:lnTo>
                  <a:lnTo>
                    <a:pt x="127" y="117"/>
                  </a:lnTo>
                  <a:lnTo>
                    <a:pt x="117" y="108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17" y="137"/>
                  </a:lnTo>
                  <a:lnTo>
                    <a:pt x="107" y="147"/>
                  </a:lnTo>
                  <a:lnTo>
                    <a:pt x="97" y="156"/>
                  </a:lnTo>
                  <a:lnTo>
                    <a:pt x="78" y="176"/>
                  </a:lnTo>
                  <a:lnTo>
                    <a:pt x="58" y="176"/>
                  </a:lnTo>
                  <a:lnTo>
                    <a:pt x="58" y="166"/>
                  </a:lnTo>
                  <a:lnTo>
                    <a:pt x="49" y="156"/>
                  </a:lnTo>
                  <a:lnTo>
                    <a:pt x="29" y="156"/>
                  </a:lnTo>
                  <a:lnTo>
                    <a:pt x="29" y="147"/>
                  </a:lnTo>
                  <a:lnTo>
                    <a:pt x="19" y="137"/>
                  </a:lnTo>
                  <a:lnTo>
                    <a:pt x="10" y="12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3" name="Freeform 179"/>
            <p:cNvSpPr>
              <a:spLocks/>
            </p:cNvSpPr>
            <p:nvPr/>
          </p:nvSpPr>
          <p:spPr bwMode="auto">
            <a:xfrm>
              <a:off x="1795" y="2158"/>
              <a:ext cx="284" cy="241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19" y="69"/>
                </a:cxn>
                <a:cxn ang="0">
                  <a:pos x="19" y="59"/>
                </a:cxn>
                <a:cxn ang="0">
                  <a:pos x="29" y="49"/>
                </a:cxn>
                <a:cxn ang="0">
                  <a:pos x="29" y="49"/>
                </a:cxn>
                <a:cxn ang="0">
                  <a:pos x="29" y="69"/>
                </a:cxn>
                <a:cxn ang="0">
                  <a:pos x="49" y="49"/>
                </a:cxn>
                <a:cxn ang="0">
                  <a:pos x="39" y="49"/>
                </a:cxn>
                <a:cxn ang="0">
                  <a:pos x="39" y="39"/>
                </a:cxn>
                <a:cxn ang="0">
                  <a:pos x="49" y="39"/>
                </a:cxn>
                <a:cxn ang="0">
                  <a:pos x="68" y="49"/>
                </a:cxn>
                <a:cxn ang="0">
                  <a:pos x="78" y="39"/>
                </a:cxn>
                <a:cxn ang="0">
                  <a:pos x="78" y="30"/>
                </a:cxn>
                <a:cxn ang="0">
                  <a:pos x="88" y="20"/>
                </a:cxn>
                <a:cxn ang="0">
                  <a:pos x="88" y="10"/>
                </a:cxn>
                <a:cxn ang="0">
                  <a:pos x="97" y="0"/>
                </a:cxn>
                <a:cxn ang="0">
                  <a:pos x="107" y="0"/>
                </a:cxn>
                <a:cxn ang="0">
                  <a:pos x="117" y="10"/>
                </a:cxn>
                <a:cxn ang="0">
                  <a:pos x="136" y="20"/>
                </a:cxn>
                <a:cxn ang="0">
                  <a:pos x="146" y="30"/>
                </a:cxn>
                <a:cxn ang="0">
                  <a:pos x="156" y="39"/>
                </a:cxn>
                <a:cxn ang="0">
                  <a:pos x="156" y="59"/>
                </a:cxn>
                <a:cxn ang="0">
                  <a:pos x="166" y="69"/>
                </a:cxn>
                <a:cxn ang="0">
                  <a:pos x="166" y="88"/>
                </a:cxn>
                <a:cxn ang="0">
                  <a:pos x="156" y="98"/>
                </a:cxn>
                <a:cxn ang="0">
                  <a:pos x="156" y="117"/>
                </a:cxn>
                <a:cxn ang="0">
                  <a:pos x="175" y="117"/>
                </a:cxn>
                <a:cxn ang="0">
                  <a:pos x="175" y="127"/>
                </a:cxn>
                <a:cxn ang="0">
                  <a:pos x="185" y="147"/>
                </a:cxn>
                <a:cxn ang="0">
                  <a:pos x="185" y="147"/>
                </a:cxn>
                <a:cxn ang="0">
                  <a:pos x="195" y="137"/>
                </a:cxn>
                <a:cxn ang="0">
                  <a:pos x="205" y="127"/>
                </a:cxn>
                <a:cxn ang="0">
                  <a:pos x="234" y="137"/>
                </a:cxn>
                <a:cxn ang="0">
                  <a:pos x="263" y="117"/>
                </a:cxn>
                <a:cxn ang="0">
                  <a:pos x="273" y="127"/>
                </a:cxn>
                <a:cxn ang="0">
                  <a:pos x="273" y="137"/>
                </a:cxn>
                <a:cxn ang="0">
                  <a:pos x="273" y="147"/>
                </a:cxn>
                <a:cxn ang="0">
                  <a:pos x="283" y="147"/>
                </a:cxn>
                <a:cxn ang="0">
                  <a:pos x="283" y="166"/>
                </a:cxn>
                <a:cxn ang="0">
                  <a:pos x="273" y="186"/>
                </a:cxn>
                <a:cxn ang="0">
                  <a:pos x="273" y="195"/>
                </a:cxn>
                <a:cxn ang="0">
                  <a:pos x="273" y="225"/>
                </a:cxn>
                <a:cxn ang="0">
                  <a:pos x="253" y="244"/>
                </a:cxn>
                <a:cxn ang="0">
                  <a:pos x="234" y="244"/>
                </a:cxn>
                <a:cxn ang="0">
                  <a:pos x="214" y="234"/>
                </a:cxn>
                <a:cxn ang="0">
                  <a:pos x="185" y="234"/>
                </a:cxn>
                <a:cxn ang="0">
                  <a:pos x="166" y="234"/>
                </a:cxn>
                <a:cxn ang="0">
                  <a:pos x="156" y="215"/>
                </a:cxn>
                <a:cxn ang="0">
                  <a:pos x="146" y="195"/>
                </a:cxn>
                <a:cxn ang="0">
                  <a:pos x="136" y="186"/>
                </a:cxn>
                <a:cxn ang="0">
                  <a:pos x="127" y="176"/>
                </a:cxn>
                <a:cxn ang="0">
                  <a:pos x="117" y="186"/>
                </a:cxn>
                <a:cxn ang="0">
                  <a:pos x="107" y="186"/>
                </a:cxn>
                <a:cxn ang="0">
                  <a:pos x="97" y="186"/>
                </a:cxn>
                <a:cxn ang="0">
                  <a:pos x="78" y="156"/>
                </a:cxn>
                <a:cxn ang="0">
                  <a:pos x="78" y="137"/>
                </a:cxn>
                <a:cxn ang="0">
                  <a:pos x="78" y="127"/>
                </a:cxn>
                <a:cxn ang="0">
                  <a:pos x="68" y="108"/>
                </a:cxn>
                <a:cxn ang="0">
                  <a:pos x="49" y="98"/>
                </a:cxn>
                <a:cxn ang="0">
                  <a:pos x="29" y="98"/>
                </a:cxn>
                <a:cxn ang="0">
                  <a:pos x="0" y="69"/>
                </a:cxn>
              </a:cxnLst>
              <a:rect l="0" t="0" r="r" b="b"/>
              <a:pathLst>
                <a:path w="283" h="244">
                  <a:moveTo>
                    <a:pt x="0" y="69"/>
                  </a:moveTo>
                  <a:lnTo>
                    <a:pt x="19" y="6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29" y="69"/>
                  </a:lnTo>
                  <a:lnTo>
                    <a:pt x="49" y="49"/>
                  </a:lnTo>
                  <a:lnTo>
                    <a:pt x="39" y="49"/>
                  </a:lnTo>
                  <a:lnTo>
                    <a:pt x="39" y="39"/>
                  </a:lnTo>
                  <a:lnTo>
                    <a:pt x="49" y="39"/>
                  </a:lnTo>
                  <a:lnTo>
                    <a:pt x="68" y="49"/>
                  </a:lnTo>
                  <a:lnTo>
                    <a:pt x="78" y="39"/>
                  </a:lnTo>
                  <a:lnTo>
                    <a:pt x="7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7" y="0"/>
                  </a:lnTo>
                  <a:lnTo>
                    <a:pt x="107" y="0"/>
                  </a:lnTo>
                  <a:lnTo>
                    <a:pt x="117" y="10"/>
                  </a:lnTo>
                  <a:lnTo>
                    <a:pt x="136" y="20"/>
                  </a:lnTo>
                  <a:lnTo>
                    <a:pt x="146" y="30"/>
                  </a:lnTo>
                  <a:lnTo>
                    <a:pt x="156" y="39"/>
                  </a:lnTo>
                  <a:lnTo>
                    <a:pt x="156" y="59"/>
                  </a:lnTo>
                  <a:lnTo>
                    <a:pt x="166" y="69"/>
                  </a:lnTo>
                  <a:lnTo>
                    <a:pt x="166" y="88"/>
                  </a:lnTo>
                  <a:lnTo>
                    <a:pt x="156" y="98"/>
                  </a:lnTo>
                  <a:lnTo>
                    <a:pt x="156" y="117"/>
                  </a:lnTo>
                  <a:lnTo>
                    <a:pt x="175" y="117"/>
                  </a:lnTo>
                  <a:lnTo>
                    <a:pt x="175" y="127"/>
                  </a:lnTo>
                  <a:lnTo>
                    <a:pt x="185" y="147"/>
                  </a:lnTo>
                  <a:lnTo>
                    <a:pt x="195" y="137"/>
                  </a:lnTo>
                  <a:lnTo>
                    <a:pt x="205" y="127"/>
                  </a:lnTo>
                  <a:lnTo>
                    <a:pt x="234" y="137"/>
                  </a:lnTo>
                  <a:lnTo>
                    <a:pt x="263" y="117"/>
                  </a:lnTo>
                  <a:lnTo>
                    <a:pt x="273" y="127"/>
                  </a:lnTo>
                  <a:lnTo>
                    <a:pt x="273" y="137"/>
                  </a:lnTo>
                  <a:lnTo>
                    <a:pt x="273" y="147"/>
                  </a:lnTo>
                  <a:lnTo>
                    <a:pt x="283" y="147"/>
                  </a:lnTo>
                  <a:lnTo>
                    <a:pt x="283" y="166"/>
                  </a:lnTo>
                  <a:lnTo>
                    <a:pt x="273" y="186"/>
                  </a:lnTo>
                  <a:lnTo>
                    <a:pt x="273" y="195"/>
                  </a:lnTo>
                  <a:lnTo>
                    <a:pt x="273" y="225"/>
                  </a:lnTo>
                  <a:lnTo>
                    <a:pt x="253" y="244"/>
                  </a:lnTo>
                  <a:lnTo>
                    <a:pt x="234" y="244"/>
                  </a:lnTo>
                  <a:lnTo>
                    <a:pt x="214" y="234"/>
                  </a:lnTo>
                  <a:lnTo>
                    <a:pt x="185" y="234"/>
                  </a:lnTo>
                  <a:lnTo>
                    <a:pt x="166" y="234"/>
                  </a:lnTo>
                  <a:lnTo>
                    <a:pt x="156" y="215"/>
                  </a:lnTo>
                  <a:lnTo>
                    <a:pt x="146" y="195"/>
                  </a:lnTo>
                  <a:lnTo>
                    <a:pt x="136" y="186"/>
                  </a:lnTo>
                  <a:lnTo>
                    <a:pt x="127" y="17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86"/>
                  </a:lnTo>
                  <a:lnTo>
                    <a:pt x="78" y="156"/>
                  </a:lnTo>
                  <a:lnTo>
                    <a:pt x="78" y="137"/>
                  </a:lnTo>
                  <a:lnTo>
                    <a:pt x="78" y="127"/>
                  </a:lnTo>
                  <a:lnTo>
                    <a:pt x="68" y="108"/>
                  </a:lnTo>
                  <a:lnTo>
                    <a:pt x="49" y="98"/>
                  </a:lnTo>
                  <a:lnTo>
                    <a:pt x="29" y="98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4" name="Freeform 178"/>
            <p:cNvSpPr>
              <a:spLocks/>
            </p:cNvSpPr>
            <p:nvPr/>
          </p:nvSpPr>
          <p:spPr bwMode="auto">
            <a:xfrm>
              <a:off x="2088" y="2332"/>
              <a:ext cx="456" cy="389"/>
            </a:xfrm>
            <a:custGeom>
              <a:avLst/>
              <a:gdLst/>
              <a:ahLst/>
              <a:cxnLst>
                <a:cxn ang="0">
                  <a:pos x="156" y="234"/>
                </a:cxn>
                <a:cxn ang="0">
                  <a:pos x="176" y="254"/>
                </a:cxn>
                <a:cxn ang="0">
                  <a:pos x="195" y="234"/>
                </a:cxn>
                <a:cxn ang="0">
                  <a:pos x="225" y="254"/>
                </a:cxn>
                <a:cxn ang="0">
                  <a:pos x="225" y="312"/>
                </a:cxn>
                <a:cxn ang="0">
                  <a:pos x="254" y="312"/>
                </a:cxn>
                <a:cxn ang="0">
                  <a:pos x="264" y="341"/>
                </a:cxn>
                <a:cxn ang="0">
                  <a:pos x="293" y="351"/>
                </a:cxn>
                <a:cxn ang="0">
                  <a:pos x="274" y="361"/>
                </a:cxn>
                <a:cxn ang="0">
                  <a:pos x="293" y="380"/>
                </a:cxn>
                <a:cxn ang="0">
                  <a:pos x="332" y="351"/>
                </a:cxn>
                <a:cxn ang="0">
                  <a:pos x="361" y="322"/>
                </a:cxn>
                <a:cxn ang="0">
                  <a:pos x="352" y="293"/>
                </a:cxn>
                <a:cxn ang="0">
                  <a:pos x="371" y="302"/>
                </a:cxn>
                <a:cxn ang="0">
                  <a:pos x="439" y="293"/>
                </a:cxn>
                <a:cxn ang="0">
                  <a:pos x="439" y="254"/>
                </a:cxn>
                <a:cxn ang="0">
                  <a:pos x="430" y="234"/>
                </a:cxn>
                <a:cxn ang="0">
                  <a:pos x="449" y="205"/>
                </a:cxn>
                <a:cxn ang="0">
                  <a:pos x="459" y="185"/>
                </a:cxn>
                <a:cxn ang="0">
                  <a:pos x="430" y="185"/>
                </a:cxn>
                <a:cxn ang="0">
                  <a:pos x="449" y="166"/>
                </a:cxn>
                <a:cxn ang="0">
                  <a:pos x="459" y="146"/>
                </a:cxn>
                <a:cxn ang="0">
                  <a:pos x="410" y="156"/>
                </a:cxn>
                <a:cxn ang="0">
                  <a:pos x="400" y="175"/>
                </a:cxn>
                <a:cxn ang="0">
                  <a:pos x="361" y="166"/>
                </a:cxn>
                <a:cxn ang="0">
                  <a:pos x="322" y="136"/>
                </a:cxn>
                <a:cxn ang="0">
                  <a:pos x="322" y="97"/>
                </a:cxn>
                <a:cxn ang="0">
                  <a:pos x="322" y="68"/>
                </a:cxn>
                <a:cxn ang="0">
                  <a:pos x="322" y="29"/>
                </a:cxn>
                <a:cxn ang="0">
                  <a:pos x="293" y="19"/>
                </a:cxn>
                <a:cxn ang="0">
                  <a:pos x="264" y="10"/>
                </a:cxn>
                <a:cxn ang="0">
                  <a:pos x="225" y="10"/>
                </a:cxn>
                <a:cxn ang="0">
                  <a:pos x="186" y="10"/>
                </a:cxn>
                <a:cxn ang="0">
                  <a:pos x="137" y="10"/>
                </a:cxn>
                <a:cxn ang="0">
                  <a:pos x="98" y="10"/>
                </a:cxn>
                <a:cxn ang="0">
                  <a:pos x="98" y="29"/>
                </a:cxn>
                <a:cxn ang="0">
                  <a:pos x="88" y="49"/>
                </a:cxn>
                <a:cxn ang="0">
                  <a:pos x="78" y="58"/>
                </a:cxn>
                <a:cxn ang="0">
                  <a:pos x="49" y="78"/>
                </a:cxn>
                <a:cxn ang="0">
                  <a:pos x="30" y="58"/>
                </a:cxn>
                <a:cxn ang="0">
                  <a:pos x="0" y="78"/>
                </a:cxn>
                <a:cxn ang="0">
                  <a:pos x="39" y="88"/>
                </a:cxn>
                <a:cxn ang="0">
                  <a:pos x="59" y="107"/>
                </a:cxn>
                <a:cxn ang="0">
                  <a:pos x="78" y="136"/>
                </a:cxn>
                <a:cxn ang="0">
                  <a:pos x="98" y="127"/>
                </a:cxn>
                <a:cxn ang="0">
                  <a:pos x="137" y="136"/>
                </a:cxn>
                <a:cxn ang="0">
                  <a:pos x="137" y="175"/>
                </a:cxn>
                <a:cxn ang="0">
                  <a:pos x="147" y="215"/>
                </a:cxn>
              </a:cxnLst>
              <a:rect l="0" t="0" r="r" b="b"/>
              <a:pathLst>
                <a:path w="459" h="390">
                  <a:moveTo>
                    <a:pt x="147" y="215"/>
                  </a:moveTo>
                  <a:lnTo>
                    <a:pt x="156" y="234"/>
                  </a:lnTo>
                  <a:lnTo>
                    <a:pt x="176" y="234"/>
                  </a:lnTo>
                  <a:lnTo>
                    <a:pt x="176" y="254"/>
                  </a:lnTo>
                  <a:lnTo>
                    <a:pt x="195" y="254"/>
                  </a:lnTo>
                  <a:lnTo>
                    <a:pt x="195" y="234"/>
                  </a:lnTo>
                  <a:lnTo>
                    <a:pt x="215" y="244"/>
                  </a:lnTo>
                  <a:lnTo>
                    <a:pt x="225" y="254"/>
                  </a:lnTo>
                  <a:lnTo>
                    <a:pt x="225" y="283"/>
                  </a:lnTo>
                  <a:lnTo>
                    <a:pt x="225" y="312"/>
                  </a:lnTo>
                  <a:lnTo>
                    <a:pt x="244" y="302"/>
                  </a:lnTo>
                  <a:lnTo>
                    <a:pt x="254" y="312"/>
                  </a:lnTo>
                  <a:lnTo>
                    <a:pt x="254" y="322"/>
                  </a:lnTo>
                  <a:lnTo>
                    <a:pt x="264" y="341"/>
                  </a:lnTo>
                  <a:lnTo>
                    <a:pt x="274" y="351"/>
                  </a:lnTo>
                  <a:lnTo>
                    <a:pt x="293" y="351"/>
                  </a:lnTo>
                  <a:lnTo>
                    <a:pt x="293" y="361"/>
                  </a:lnTo>
                  <a:lnTo>
                    <a:pt x="274" y="361"/>
                  </a:lnTo>
                  <a:lnTo>
                    <a:pt x="283" y="390"/>
                  </a:lnTo>
                  <a:lnTo>
                    <a:pt x="293" y="380"/>
                  </a:lnTo>
                  <a:lnTo>
                    <a:pt x="313" y="351"/>
                  </a:lnTo>
                  <a:lnTo>
                    <a:pt x="332" y="351"/>
                  </a:lnTo>
                  <a:lnTo>
                    <a:pt x="352" y="351"/>
                  </a:lnTo>
                  <a:lnTo>
                    <a:pt x="361" y="322"/>
                  </a:lnTo>
                  <a:lnTo>
                    <a:pt x="352" y="302"/>
                  </a:lnTo>
                  <a:lnTo>
                    <a:pt x="352" y="293"/>
                  </a:lnTo>
                  <a:lnTo>
                    <a:pt x="361" y="293"/>
                  </a:lnTo>
                  <a:lnTo>
                    <a:pt x="371" y="302"/>
                  </a:lnTo>
                  <a:lnTo>
                    <a:pt x="420" y="293"/>
                  </a:lnTo>
                  <a:lnTo>
                    <a:pt x="439" y="293"/>
                  </a:lnTo>
                  <a:lnTo>
                    <a:pt x="449" y="273"/>
                  </a:lnTo>
                  <a:lnTo>
                    <a:pt x="439" y="254"/>
                  </a:lnTo>
                  <a:lnTo>
                    <a:pt x="430" y="234"/>
                  </a:lnTo>
                  <a:lnTo>
                    <a:pt x="430" y="224"/>
                  </a:lnTo>
                  <a:lnTo>
                    <a:pt x="449" y="205"/>
                  </a:lnTo>
                  <a:lnTo>
                    <a:pt x="459" y="195"/>
                  </a:lnTo>
                  <a:lnTo>
                    <a:pt x="459" y="185"/>
                  </a:lnTo>
                  <a:lnTo>
                    <a:pt x="439" y="195"/>
                  </a:lnTo>
                  <a:lnTo>
                    <a:pt x="430" y="185"/>
                  </a:lnTo>
                  <a:lnTo>
                    <a:pt x="430" y="166"/>
                  </a:lnTo>
                  <a:lnTo>
                    <a:pt x="449" y="166"/>
                  </a:lnTo>
                  <a:lnTo>
                    <a:pt x="459" y="156"/>
                  </a:lnTo>
                  <a:lnTo>
                    <a:pt x="459" y="146"/>
                  </a:lnTo>
                  <a:lnTo>
                    <a:pt x="439" y="146"/>
                  </a:lnTo>
                  <a:lnTo>
                    <a:pt x="410" y="156"/>
                  </a:lnTo>
                  <a:lnTo>
                    <a:pt x="410" y="175"/>
                  </a:lnTo>
                  <a:lnTo>
                    <a:pt x="400" y="175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56"/>
                  </a:lnTo>
                  <a:lnTo>
                    <a:pt x="322" y="136"/>
                  </a:lnTo>
                  <a:lnTo>
                    <a:pt x="332" y="117"/>
                  </a:lnTo>
                  <a:lnTo>
                    <a:pt x="322" y="97"/>
                  </a:lnTo>
                  <a:lnTo>
                    <a:pt x="332" y="78"/>
                  </a:lnTo>
                  <a:lnTo>
                    <a:pt x="322" y="68"/>
                  </a:lnTo>
                  <a:lnTo>
                    <a:pt x="322" y="29"/>
                  </a:lnTo>
                  <a:lnTo>
                    <a:pt x="303" y="39"/>
                  </a:lnTo>
                  <a:lnTo>
                    <a:pt x="293" y="19"/>
                  </a:lnTo>
                  <a:lnTo>
                    <a:pt x="283" y="10"/>
                  </a:lnTo>
                  <a:lnTo>
                    <a:pt x="264" y="10"/>
                  </a:lnTo>
                  <a:lnTo>
                    <a:pt x="254" y="0"/>
                  </a:lnTo>
                  <a:lnTo>
                    <a:pt x="225" y="10"/>
                  </a:lnTo>
                  <a:lnTo>
                    <a:pt x="205" y="10"/>
                  </a:lnTo>
                  <a:lnTo>
                    <a:pt x="186" y="10"/>
                  </a:lnTo>
                  <a:lnTo>
                    <a:pt x="166" y="10"/>
                  </a:lnTo>
                  <a:lnTo>
                    <a:pt x="137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88" y="19"/>
                  </a:lnTo>
                  <a:lnTo>
                    <a:pt x="98" y="29"/>
                  </a:lnTo>
                  <a:lnTo>
                    <a:pt x="98" y="39"/>
                  </a:lnTo>
                  <a:lnTo>
                    <a:pt x="88" y="49"/>
                  </a:lnTo>
                  <a:lnTo>
                    <a:pt x="78" y="58"/>
                  </a:lnTo>
                  <a:lnTo>
                    <a:pt x="59" y="78"/>
                  </a:lnTo>
                  <a:lnTo>
                    <a:pt x="49" y="78"/>
                  </a:lnTo>
                  <a:lnTo>
                    <a:pt x="39" y="68"/>
                  </a:lnTo>
                  <a:lnTo>
                    <a:pt x="30" y="58"/>
                  </a:lnTo>
                  <a:lnTo>
                    <a:pt x="10" y="58"/>
                  </a:lnTo>
                  <a:lnTo>
                    <a:pt x="0" y="78"/>
                  </a:lnTo>
                  <a:lnTo>
                    <a:pt x="20" y="88"/>
                  </a:lnTo>
                  <a:lnTo>
                    <a:pt x="3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69" y="127"/>
                  </a:lnTo>
                  <a:lnTo>
                    <a:pt x="78" y="136"/>
                  </a:lnTo>
                  <a:lnTo>
                    <a:pt x="88" y="136"/>
                  </a:lnTo>
                  <a:lnTo>
                    <a:pt x="98" y="127"/>
                  </a:lnTo>
                  <a:lnTo>
                    <a:pt x="117" y="136"/>
                  </a:lnTo>
                  <a:lnTo>
                    <a:pt x="137" y="136"/>
                  </a:lnTo>
                  <a:lnTo>
                    <a:pt x="147" y="156"/>
                  </a:lnTo>
                  <a:lnTo>
                    <a:pt x="137" y="175"/>
                  </a:lnTo>
                  <a:lnTo>
                    <a:pt x="147" y="195"/>
                  </a:lnTo>
                  <a:lnTo>
                    <a:pt x="147" y="2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5" name="Freeform 177"/>
            <p:cNvSpPr>
              <a:spLocks/>
            </p:cNvSpPr>
            <p:nvPr/>
          </p:nvSpPr>
          <p:spPr bwMode="auto">
            <a:xfrm>
              <a:off x="2350" y="2567"/>
              <a:ext cx="470" cy="575"/>
            </a:xfrm>
            <a:custGeom>
              <a:avLst/>
              <a:gdLst/>
              <a:ahLst/>
              <a:cxnLst>
                <a:cxn ang="0">
                  <a:pos x="68" y="117"/>
                </a:cxn>
                <a:cxn ang="0">
                  <a:pos x="88" y="88"/>
                </a:cxn>
                <a:cxn ang="0">
                  <a:pos x="88" y="59"/>
                </a:cxn>
                <a:cxn ang="0">
                  <a:pos x="107" y="68"/>
                </a:cxn>
                <a:cxn ang="0">
                  <a:pos x="175" y="59"/>
                </a:cxn>
                <a:cxn ang="0">
                  <a:pos x="175" y="20"/>
                </a:cxn>
                <a:cxn ang="0">
                  <a:pos x="166" y="0"/>
                </a:cxn>
                <a:cxn ang="0">
                  <a:pos x="205" y="0"/>
                </a:cxn>
                <a:cxn ang="0">
                  <a:pos x="253" y="0"/>
                </a:cxn>
                <a:cxn ang="0">
                  <a:pos x="283" y="29"/>
                </a:cxn>
                <a:cxn ang="0">
                  <a:pos x="331" y="39"/>
                </a:cxn>
                <a:cxn ang="0">
                  <a:pos x="331" y="49"/>
                </a:cxn>
                <a:cxn ang="0">
                  <a:pos x="331" y="68"/>
                </a:cxn>
                <a:cxn ang="0">
                  <a:pos x="361" y="117"/>
                </a:cxn>
                <a:cxn ang="0">
                  <a:pos x="390" y="137"/>
                </a:cxn>
                <a:cxn ang="0">
                  <a:pos x="419" y="156"/>
                </a:cxn>
                <a:cxn ang="0">
                  <a:pos x="439" y="176"/>
                </a:cxn>
                <a:cxn ang="0">
                  <a:pos x="458" y="195"/>
                </a:cxn>
                <a:cxn ang="0">
                  <a:pos x="468" y="215"/>
                </a:cxn>
                <a:cxn ang="0">
                  <a:pos x="448" y="234"/>
                </a:cxn>
                <a:cxn ang="0">
                  <a:pos x="448" y="254"/>
                </a:cxn>
                <a:cxn ang="0">
                  <a:pos x="419" y="254"/>
                </a:cxn>
                <a:cxn ang="0">
                  <a:pos x="409" y="273"/>
                </a:cxn>
                <a:cxn ang="0">
                  <a:pos x="380" y="263"/>
                </a:cxn>
                <a:cxn ang="0">
                  <a:pos x="361" y="273"/>
                </a:cxn>
                <a:cxn ang="0">
                  <a:pos x="341" y="254"/>
                </a:cxn>
                <a:cxn ang="0">
                  <a:pos x="361" y="234"/>
                </a:cxn>
                <a:cxn ang="0">
                  <a:pos x="331" y="205"/>
                </a:cxn>
                <a:cxn ang="0">
                  <a:pos x="283" y="244"/>
                </a:cxn>
                <a:cxn ang="0">
                  <a:pos x="273" y="273"/>
                </a:cxn>
                <a:cxn ang="0">
                  <a:pos x="322" y="302"/>
                </a:cxn>
                <a:cxn ang="0">
                  <a:pos x="351" y="322"/>
                </a:cxn>
                <a:cxn ang="0">
                  <a:pos x="390" y="332"/>
                </a:cxn>
                <a:cxn ang="0">
                  <a:pos x="429" y="332"/>
                </a:cxn>
                <a:cxn ang="0">
                  <a:pos x="419" y="361"/>
                </a:cxn>
                <a:cxn ang="0">
                  <a:pos x="390" y="381"/>
                </a:cxn>
                <a:cxn ang="0">
                  <a:pos x="361" y="381"/>
                </a:cxn>
                <a:cxn ang="0">
                  <a:pos x="322" y="381"/>
                </a:cxn>
                <a:cxn ang="0">
                  <a:pos x="283" y="410"/>
                </a:cxn>
                <a:cxn ang="0">
                  <a:pos x="263" y="439"/>
                </a:cxn>
                <a:cxn ang="0">
                  <a:pos x="253" y="468"/>
                </a:cxn>
                <a:cxn ang="0">
                  <a:pos x="234" y="478"/>
                </a:cxn>
                <a:cxn ang="0">
                  <a:pos x="214" y="517"/>
                </a:cxn>
                <a:cxn ang="0">
                  <a:pos x="185" y="537"/>
                </a:cxn>
                <a:cxn ang="0">
                  <a:pos x="166" y="546"/>
                </a:cxn>
                <a:cxn ang="0">
                  <a:pos x="127" y="576"/>
                </a:cxn>
                <a:cxn ang="0">
                  <a:pos x="107" y="546"/>
                </a:cxn>
                <a:cxn ang="0">
                  <a:pos x="68" y="537"/>
                </a:cxn>
                <a:cxn ang="0">
                  <a:pos x="49" y="517"/>
                </a:cxn>
                <a:cxn ang="0">
                  <a:pos x="29" y="517"/>
                </a:cxn>
                <a:cxn ang="0">
                  <a:pos x="39" y="488"/>
                </a:cxn>
                <a:cxn ang="0">
                  <a:pos x="29" y="449"/>
                </a:cxn>
                <a:cxn ang="0">
                  <a:pos x="49" y="429"/>
                </a:cxn>
                <a:cxn ang="0">
                  <a:pos x="58" y="400"/>
                </a:cxn>
                <a:cxn ang="0">
                  <a:pos x="19" y="410"/>
                </a:cxn>
                <a:cxn ang="0">
                  <a:pos x="10" y="371"/>
                </a:cxn>
                <a:cxn ang="0">
                  <a:pos x="29" y="361"/>
                </a:cxn>
                <a:cxn ang="0">
                  <a:pos x="10" y="342"/>
                </a:cxn>
                <a:cxn ang="0">
                  <a:pos x="29" y="273"/>
                </a:cxn>
                <a:cxn ang="0">
                  <a:pos x="29" y="254"/>
                </a:cxn>
                <a:cxn ang="0">
                  <a:pos x="10" y="224"/>
                </a:cxn>
                <a:cxn ang="0">
                  <a:pos x="19" y="176"/>
                </a:cxn>
                <a:cxn ang="0">
                  <a:pos x="49" y="117"/>
                </a:cxn>
              </a:cxnLst>
              <a:rect l="0" t="0" r="r" b="b"/>
              <a:pathLst>
                <a:path w="468" h="576">
                  <a:moveTo>
                    <a:pt x="49" y="117"/>
                  </a:moveTo>
                  <a:lnTo>
                    <a:pt x="68" y="117"/>
                  </a:lnTo>
                  <a:lnTo>
                    <a:pt x="88" y="117"/>
                  </a:lnTo>
                  <a:lnTo>
                    <a:pt x="88" y="88"/>
                  </a:lnTo>
                  <a:lnTo>
                    <a:pt x="88" y="68"/>
                  </a:lnTo>
                  <a:lnTo>
                    <a:pt x="88" y="59"/>
                  </a:lnTo>
                  <a:lnTo>
                    <a:pt x="107" y="68"/>
                  </a:lnTo>
                  <a:lnTo>
                    <a:pt x="156" y="59"/>
                  </a:lnTo>
                  <a:lnTo>
                    <a:pt x="175" y="59"/>
                  </a:lnTo>
                  <a:lnTo>
                    <a:pt x="185" y="49"/>
                  </a:lnTo>
                  <a:lnTo>
                    <a:pt x="175" y="20"/>
                  </a:lnTo>
                  <a:lnTo>
                    <a:pt x="166" y="0"/>
                  </a:lnTo>
                  <a:lnTo>
                    <a:pt x="175" y="0"/>
                  </a:lnTo>
                  <a:lnTo>
                    <a:pt x="205" y="0"/>
                  </a:lnTo>
                  <a:lnTo>
                    <a:pt x="234" y="0"/>
                  </a:lnTo>
                  <a:lnTo>
                    <a:pt x="253" y="0"/>
                  </a:lnTo>
                  <a:lnTo>
                    <a:pt x="263" y="20"/>
                  </a:lnTo>
                  <a:lnTo>
                    <a:pt x="283" y="29"/>
                  </a:lnTo>
                  <a:lnTo>
                    <a:pt x="302" y="39"/>
                  </a:lnTo>
                  <a:lnTo>
                    <a:pt x="331" y="39"/>
                  </a:lnTo>
                  <a:lnTo>
                    <a:pt x="341" y="49"/>
                  </a:lnTo>
                  <a:lnTo>
                    <a:pt x="331" y="49"/>
                  </a:lnTo>
                  <a:lnTo>
                    <a:pt x="331" y="59"/>
                  </a:lnTo>
                  <a:lnTo>
                    <a:pt x="331" y="68"/>
                  </a:lnTo>
                  <a:lnTo>
                    <a:pt x="351" y="78"/>
                  </a:lnTo>
                  <a:lnTo>
                    <a:pt x="361" y="117"/>
                  </a:lnTo>
                  <a:lnTo>
                    <a:pt x="380" y="117"/>
                  </a:lnTo>
                  <a:lnTo>
                    <a:pt x="390" y="137"/>
                  </a:lnTo>
                  <a:lnTo>
                    <a:pt x="400" y="137"/>
                  </a:lnTo>
                  <a:lnTo>
                    <a:pt x="419" y="156"/>
                  </a:lnTo>
                  <a:lnTo>
                    <a:pt x="419" y="166"/>
                  </a:lnTo>
                  <a:lnTo>
                    <a:pt x="439" y="176"/>
                  </a:lnTo>
                  <a:lnTo>
                    <a:pt x="458" y="185"/>
                  </a:lnTo>
                  <a:lnTo>
                    <a:pt x="458" y="195"/>
                  </a:lnTo>
                  <a:lnTo>
                    <a:pt x="468" y="195"/>
                  </a:lnTo>
                  <a:lnTo>
                    <a:pt x="468" y="215"/>
                  </a:lnTo>
                  <a:lnTo>
                    <a:pt x="448" y="224"/>
                  </a:lnTo>
                  <a:lnTo>
                    <a:pt x="448" y="234"/>
                  </a:lnTo>
                  <a:lnTo>
                    <a:pt x="439" y="244"/>
                  </a:lnTo>
                  <a:lnTo>
                    <a:pt x="448" y="254"/>
                  </a:lnTo>
                  <a:lnTo>
                    <a:pt x="448" y="263"/>
                  </a:lnTo>
                  <a:lnTo>
                    <a:pt x="419" y="254"/>
                  </a:lnTo>
                  <a:lnTo>
                    <a:pt x="419" y="273"/>
                  </a:lnTo>
                  <a:lnTo>
                    <a:pt x="409" y="273"/>
                  </a:lnTo>
                  <a:lnTo>
                    <a:pt x="400" y="263"/>
                  </a:lnTo>
                  <a:lnTo>
                    <a:pt x="380" y="263"/>
                  </a:lnTo>
                  <a:lnTo>
                    <a:pt x="380" y="273"/>
                  </a:lnTo>
                  <a:lnTo>
                    <a:pt x="361" y="273"/>
                  </a:lnTo>
                  <a:lnTo>
                    <a:pt x="361" y="254"/>
                  </a:lnTo>
                  <a:lnTo>
                    <a:pt x="341" y="254"/>
                  </a:lnTo>
                  <a:lnTo>
                    <a:pt x="331" y="244"/>
                  </a:lnTo>
                  <a:lnTo>
                    <a:pt x="361" y="234"/>
                  </a:lnTo>
                  <a:lnTo>
                    <a:pt x="351" y="215"/>
                  </a:lnTo>
                  <a:lnTo>
                    <a:pt x="331" y="205"/>
                  </a:lnTo>
                  <a:lnTo>
                    <a:pt x="292" y="215"/>
                  </a:lnTo>
                  <a:lnTo>
                    <a:pt x="283" y="244"/>
                  </a:lnTo>
                  <a:lnTo>
                    <a:pt x="273" y="254"/>
                  </a:lnTo>
                  <a:lnTo>
                    <a:pt x="273" y="273"/>
                  </a:lnTo>
                  <a:lnTo>
                    <a:pt x="292" y="302"/>
                  </a:lnTo>
                  <a:lnTo>
                    <a:pt x="322" y="302"/>
                  </a:lnTo>
                  <a:lnTo>
                    <a:pt x="341" y="332"/>
                  </a:lnTo>
                  <a:lnTo>
                    <a:pt x="351" y="322"/>
                  </a:lnTo>
                  <a:lnTo>
                    <a:pt x="370" y="332"/>
                  </a:lnTo>
                  <a:lnTo>
                    <a:pt x="390" y="332"/>
                  </a:lnTo>
                  <a:lnTo>
                    <a:pt x="419" y="332"/>
                  </a:lnTo>
                  <a:lnTo>
                    <a:pt x="429" y="332"/>
                  </a:lnTo>
                  <a:lnTo>
                    <a:pt x="429" y="342"/>
                  </a:lnTo>
                  <a:lnTo>
                    <a:pt x="419" y="361"/>
                  </a:lnTo>
                  <a:lnTo>
                    <a:pt x="400" y="361"/>
                  </a:lnTo>
                  <a:lnTo>
                    <a:pt x="390" y="381"/>
                  </a:lnTo>
                  <a:lnTo>
                    <a:pt x="370" y="390"/>
                  </a:lnTo>
                  <a:lnTo>
                    <a:pt x="361" y="381"/>
                  </a:lnTo>
                  <a:lnTo>
                    <a:pt x="341" y="381"/>
                  </a:lnTo>
                  <a:lnTo>
                    <a:pt x="322" y="381"/>
                  </a:lnTo>
                  <a:lnTo>
                    <a:pt x="302" y="400"/>
                  </a:lnTo>
                  <a:lnTo>
                    <a:pt x="283" y="410"/>
                  </a:lnTo>
                  <a:lnTo>
                    <a:pt x="273" y="420"/>
                  </a:lnTo>
                  <a:lnTo>
                    <a:pt x="263" y="439"/>
                  </a:lnTo>
                  <a:lnTo>
                    <a:pt x="253" y="459"/>
                  </a:lnTo>
                  <a:lnTo>
                    <a:pt x="253" y="468"/>
                  </a:lnTo>
                  <a:lnTo>
                    <a:pt x="244" y="478"/>
                  </a:lnTo>
                  <a:lnTo>
                    <a:pt x="234" y="478"/>
                  </a:lnTo>
                  <a:lnTo>
                    <a:pt x="224" y="498"/>
                  </a:lnTo>
                  <a:lnTo>
                    <a:pt x="214" y="517"/>
                  </a:lnTo>
                  <a:lnTo>
                    <a:pt x="205" y="537"/>
                  </a:lnTo>
                  <a:lnTo>
                    <a:pt x="185" y="537"/>
                  </a:lnTo>
                  <a:lnTo>
                    <a:pt x="175" y="537"/>
                  </a:lnTo>
                  <a:lnTo>
                    <a:pt x="166" y="546"/>
                  </a:lnTo>
                  <a:lnTo>
                    <a:pt x="146" y="566"/>
                  </a:lnTo>
                  <a:lnTo>
                    <a:pt x="127" y="576"/>
                  </a:lnTo>
                  <a:lnTo>
                    <a:pt x="107" y="566"/>
                  </a:lnTo>
                  <a:lnTo>
                    <a:pt x="107" y="546"/>
                  </a:lnTo>
                  <a:lnTo>
                    <a:pt x="88" y="537"/>
                  </a:lnTo>
                  <a:lnTo>
                    <a:pt x="68" y="537"/>
                  </a:lnTo>
                  <a:lnTo>
                    <a:pt x="49" y="537"/>
                  </a:lnTo>
                  <a:lnTo>
                    <a:pt x="49" y="517"/>
                  </a:lnTo>
                  <a:lnTo>
                    <a:pt x="39" y="517"/>
                  </a:lnTo>
                  <a:lnTo>
                    <a:pt x="29" y="517"/>
                  </a:lnTo>
                  <a:lnTo>
                    <a:pt x="29" y="488"/>
                  </a:lnTo>
                  <a:lnTo>
                    <a:pt x="39" y="488"/>
                  </a:lnTo>
                  <a:lnTo>
                    <a:pt x="39" y="45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9" y="429"/>
                  </a:lnTo>
                  <a:lnTo>
                    <a:pt x="68" y="420"/>
                  </a:lnTo>
                  <a:lnTo>
                    <a:pt x="58" y="400"/>
                  </a:lnTo>
                  <a:lnTo>
                    <a:pt x="39" y="400"/>
                  </a:lnTo>
                  <a:lnTo>
                    <a:pt x="19" y="410"/>
                  </a:lnTo>
                  <a:lnTo>
                    <a:pt x="10" y="390"/>
                  </a:lnTo>
                  <a:lnTo>
                    <a:pt x="10" y="371"/>
                  </a:lnTo>
                  <a:lnTo>
                    <a:pt x="0" y="361"/>
                  </a:lnTo>
                  <a:lnTo>
                    <a:pt x="29" y="361"/>
                  </a:lnTo>
                  <a:lnTo>
                    <a:pt x="29" y="351"/>
                  </a:lnTo>
                  <a:lnTo>
                    <a:pt x="10" y="342"/>
                  </a:lnTo>
                  <a:lnTo>
                    <a:pt x="29" y="293"/>
                  </a:lnTo>
                  <a:lnTo>
                    <a:pt x="29" y="273"/>
                  </a:lnTo>
                  <a:lnTo>
                    <a:pt x="39" y="263"/>
                  </a:lnTo>
                  <a:lnTo>
                    <a:pt x="29" y="254"/>
                  </a:lnTo>
                  <a:lnTo>
                    <a:pt x="10" y="244"/>
                  </a:lnTo>
                  <a:lnTo>
                    <a:pt x="10" y="224"/>
                  </a:lnTo>
                  <a:lnTo>
                    <a:pt x="10" y="205"/>
                  </a:lnTo>
                  <a:lnTo>
                    <a:pt x="19" y="176"/>
                  </a:lnTo>
                  <a:lnTo>
                    <a:pt x="29" y="146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6" name="Freeform 176"/>
            <p:cNvSpPr>
              <a:spLocks/>
            </p:cNvSpPr>
            <p:nvPr/>
          </p:nvSpPr>
          <p:spPr bwMode="auto">
            <a:xfrm>
              <a:off x="2409" y="2274"/>
              <a:ext cx="321" cy="293"/>
            </a:xfrm>
            <a:custGeom>
              <a:avLst/>
              <a:gdLst/>
              <a:ahLst/>
              <a:cxnLst>
                <a:cxn ang="0">
                  <a:pos x="10" y="215"/>
                </a:cxn>
                <a:cxn ang="0">
                  <a:pos x="39" y="225"/>
                </a:cxn>
                <a:cxn ang="0">
                  <a:pos x="69" y="225"/>
                </a:cxn>
                <a:cxn ang="0">
                  <a:pos x="78" y="234"/>
                </a:cxn>
                <a:cxn ang="0">
                  <a:pos x="88" y="234"/>
                </a:cxn>
                <a:cxn ang="0">
                  <a:pos x="88" y="215"/>
                </a:cxn>
                <a:cxn ang="0">
                  <a:pos x="117" y="205"/>
                </a:cxn>
                <a:cxn ang="0">
                  <a:pos x="137" y="205"/>
                </a:cxn>
                <a:cxn ang="0">
                  <a:pos x="137" y="215"/>
                </a:cxn>
                <a:cxn ang="0">
                  <a:pos x="127" y="225"/>
                </a:cxn>
                <a:cxn ang="0">
                  <a:pos x="108" y="225"/>
                </a:cxn>
                <a:cxn ang="0">
                  <a:pos x="108" y="244"/>
                </a:cxn>
                <a:cxn ang="0">
                  <a:pos x="117" y="254"/>
                </a:cxn>
                <a:cxn ang="0">
                  <a:pos x="137" y="244"/>
                </a:cxn>
                <a:cxn ang="0">
                  <a:pos x="137" y="264"/>
                </a:cxn>
                <a:cxn ang="0">
                  <a:pos x="127" y="264"/>
                </a:cxn>
                <a:cxn ang="0">
                  <a:pos x="108" y="283"/>
                </a:cxn>
                <a:cxn ang="0">
                  <a:pos x="108" y="293"/>
                </a:cxn>
                <a:cxn ang="0">
                  <a:pos x="127" y="293"/>
                </a:cxn>
                <a:cxn ang="0">
                  <a:pos x="147" y="293"/>
                </a:cxn>
                <a:cxn ang="0">
                  <a:pos x="195" y="293"/>
                </a:cxn>
                <a:cxn ang="0">
                  <a:pos x="195" y="283"/>
                </a:cxn>
                <a:cxn ang="0">
                  <a:pos x="186" y="254"/>
                </a:cxn>
                <a:cxn ang="0">
                  <a:pos x="195" y="234"/>
                </a:cxn>
                <a:cxn ang="0">
                  <a:pos x="205" y="234"/>
                </a:cxn>
                <a:cxn ang="0">
                  <a:pos x="225" y="234"/>
                </a:cxn>
                <a:cxn ang="0">
                  <a:pos x="244" y="215"/>
                </a:cxn>
                <a:cxn ang="0">
                  <a:pos x="234" y="205"/>
                </a:cxn>
                <a:cxn ang="0">
                  <a:pos x="244" y="176"/>
                </a:cxn>
                <a:cxn ang="0">
                  <a:pos x="283" y="147"/>
                </a:cxn>
                <a:cxn ang="0">
                  <a:pos x="303" y="117"/>
                </a:cxn>
                <a:cxn ang="0">
                  <a:pos x="312" y="88"/>
                </a:cxn>
                <a:cxn ang="0">
                  <a:pos x="322" y="69"/>
                </a:cxn>
                <a:cxn ang="0">
                  <a:pos x="303" y="69"/>
                </a:cxn>
                <a:cxn ang="0">
                  <a:pos x="293" y="39"/>
                </a:cxn>
                <a:cxn ang="0">
                  <a:pos x="264" y="30"/>
                </a:cxn>
                <a:cxn ang="0">
                  <a:pos x="244" y="10"/>
                </a:cxn>
                <a:cxn ang="0">
                  <a:pos x="234" y="0"/>
                </a:cxn>
                <a:cxn ang="0">
                  <a:pos x="205" y="10"/>
                </a:cxn>
                <a:cxn ang="0">
                  <a:pos x="186" y="20"/>
                </a:cxn>
                <a:cxn ang="0">
                  <a:pos x="195" y="39"/>
                </a:cxn>
                <a:cxn ang="0">
                  <a:pos x="176" y="49"/>
                </a:cxn>
                <a:cxn ang="0">
                  <a:pos x="166" y="78"/>
                </a:cxn>
                <a:cxn ang="0">
                  <a:pos x="137" y="88"/>
                </a:cxn>
                <a:cxn ang="0">
                  <a:pos x="108" y="69"/>
                </a:cxn>
                <a:cxn ang="0">
                  <a:pos x="88" y="88"/>
                </a:cxn>
                <a:cxn ang="0">
                  <a:pos x="88" y="108"/>
                </a:cxn>
                <a:cxn ang="0">
                  <a:pos x="88" y="137"/>
                </a:cxn>
                <a:cxn ang="0">
                  <a:pos x="59" y="147"/>
                </a:cxn>
                <a:cxn ang="0">
                  <a:pos x="49" y="137"/>
                </a:cxn>
                <a:cxn ang="0">
                  <a:pos x="39" y="147"/>
                </a:cxn>
                <a:cxn ang="0">
                  <a:pos x="49" y="156"/>
                </a:cxn>
                <a:cxn ang="0">
                  <a:pos x="30" y="176"/>
                </a:cxn>
                <a:cxn ang="0">
                  <a:pos x="30" y="186"/>
                </a:cxn>
                <a:cxn ang="0">
                  <a:pos x="10" y="195"/>
                </a:cxn>
                <a:cxn ang="0">
                  <a:pos x="10" y="176"/>
                </a:cxn>
                <a:cxn ang="0">
                  <a:pos x="0" y="205"/>
                </a:cxn>
                <a:cxn ang="0">
                  <a:pos x="10" y="215"/>
                </a:cxn>
              </a:cxnLst>
              <a:rect l="0" t="0" r="r" b="b"/>
              <a:pathLst>
                <a:path w="322" h="293">
                  <a:moveTo>
                    <a:pt x="10" y="215"/>
                  </a:moveTo>
                  <a:lnTo>
                    <a:pt x="39" y="225"/>
                  </a:lnTo>
                  <a:lnTo>
                    <a:pt x="69" y="225"/>
                  </a:lnTo>
                  <a:lnTo>
                    <a:pt x="78" y="234"/>
                  </a:lnTo>
                  <a:lnTo>
                    <a:pt x="88" y="234"/>
                  </a:lnTo>
                  <a:lnTo>
                    <a:pt x="88" y="215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37" y="215"/>
                  </a:lnTo>
                  <a:lnTo>
                    <a:pt x="127" y="225"/>
                  </a:lnTo>
                  <a:lnTo>
                    <a:pt x="108" y="225"/>
                  </a:lnTo>
                  <a:lnTo>
                    <a:pt x="108" y="244"/>
                  </a:lnTo>
                  <a:lnTo>
                    <a:pt x="117" y="254"/>
                  </a:lnTo>
                  <a:lnTo>
                    <a:pt x="137" y="244"/>
                  </a:lnTo>
                  <a:lnTo>
                    <a:pt x="137" y="264"/>
                  </a:lnTo>
                  <a:lnTo>
                    <a:pt x="127" y="26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93"/>
                  </a:lnTo>
                  <a:lnTo>
                    <a:pt x="147" y="293"/>
                  </a:lnTo>
                  <a:lnTo>
                    <a:pt x="195" y="293"/>
                  </a:lnTo>
                  <a:lnTo>
                    <a:pt x="195" y="283"/>
                  </a:lnTo>
                  <a:lnTo>
                    <a:pt x="186" y="254"/>
                  </a:lnTo>
                  <a:lnTo>
                    <a:pt x="195" y="234"/>
                  </a:lnTo>
                  <a:lnTo>
                    <a:pt x="205" y="234"/>
                  </a:lnTo>
                  <a:lnTo>
                    <a:pt x="225" y="234"/>
                  </a:lnTo>
                  <a:lnTo>
                    <a:pt x="244" y="215"/>
                  </a:lnTo>
                  <a:lnTo>
                    <a:pt x="234" y="205"/>
                  </a:lnTo>
                  <a:lnTo>
                    <a:pt x="244" y="176"/>
                  </a:lnTo>
                  <a:lnTo>
                    <a:pt x="283" y="147"/>
                  </a:lnTo>
                  <a:lnTo>
                    <a:pt x="303" y="117"/>
                  </a:lnTo>
                  <a:lnTo>
                    <a:pt x="312" y="88"/>
                  </a:lnTo>
                  <a:lnTo>
                    <a:pt x="322" y="69"/>
                  </a:lnTo>
                  <a:lnTo>
                    <a:pt x="303" y="69"/>
                  </a:lnTo>
                  <a:lnTo>
                    <a:pt x="293" y="39"/>
                  </a:lnTo>
                  <a:lnTo>
                    <a:pt x="264" y="30"/>
                  </a:lnTo>
                  <a:lnTo>
                    <a:pt x="244" y="10"/>
                  </a:lnTo>
                  <a:lnTo>
                    <a:pt x="234" y="0"/>
                  </a:lnTo>
                  <a:lnTo>
                    <a:pt x="205" y="10"/>
                  </a:lnTo>
                  <a:lnTo>
                    <a:pt x="186" y="20"/>
                  </a:lnTo>
                  <a:lnTo>
                    <a:pt x="195" y="39"/>
                  </a:lnTo>
                  <a:lnTo>
                    <a:pt x="176" y="49"/>
                  </a:lnTo>
                  <a:lnTo>
                    <a:pt x="166" y="78"/>
                  </a:lnTo>
                  <a:lnTo>
                    <a:pt x="137" y="88"/>
                  </a:lnTo>
                  <a:lnTo>
                    <a:pt x="108" y="69"/>
                  </a:lnTo>
                  <a:lnTo>
                    <a:pt x="88" y="88"/>
                  </a:lnTo>
                  <a:lnTo>
                    <a:pt x="88" y="108"/>
                  </a:lnTo>
                  <a:lnTo>
                    <a:pt x="88" y="137"/>
                  </a:lnTo>
                  <a:lnTo>
                    <a:pt x="59" y="147"/>
                  </a:lnTo>
                  <a:lnTo>
                    <a:pt x="49" y="137"/>
                  </a:lnTo>
                  <a:lnTo>
                    <a:pt x="39" y="147"/>
                  </a:lnTo>
                  <a:lnTo>
                    <a:pt x="49" y="156"/>
                  </a:lnTo>
                  <a:lnTo>
                    <a:pt x="30" y="176"/>
                  </a:lnTo>
                  <a:lnTo>
                    <a:pt x="30" y="186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205"/>
                  </a:lnTo>
                  <a:lnTo>
                    <a:pt x="10" y="2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7" name="Freeform 175"/>
            <p:cNvSpPr>
              <a:spLocks/>
            </p:cNvSpPr>
            <p:nvPr/>
          </p:nvSpPr>
          <p:spPr bwMode="auto">
            <a:xfrm>
              <a:off x="2049" y="2652"/>
              <a:ext cx="597" cy="694"/>
            </a:xfrm>
            <a:custGeom>
              <a:avLst/>
              <a:gdLst/>
              <a:ahLst/>
              <a:cxnLst>
                <a:cxn ang="0">
                  <a:pos x="215" y="58"/>
                </a:cxn>
                <a:cxn ang="0">
                  <a:pos x="273" y="19"/>
                </a:cxn>
                <a:cxn ang="0">
                  <a:pos x="303" y="19"/>
                </a:cxn>
                <a:cxn ang="0">
                  <a:pos x="332" y="39"/>
                </a:cxn>
                <a:cxn ang="0">
                  <a:pos x="332" y="58"/>
                </a:cxn>
                <a:cxn ang="0">
                  <a:pos x="313" y="136"/>
                </a:cxn>
                <a:cxn ang="0">
                  <a:pos x="342" y="175"/>
                </a:cxn>
                <a:cxn ang="0">
                  <a:pos x="313" y="254"/>
                </a:cxn>
                <a:cxn ang="0">
                  <a:pos x="303" y="273"/>
                </a:cxn>
                <a:cxn ang="0">
                  <a:pos x="322" y="322"/>
                </a:cxn>
                <a:cxn ang="0">
                  <a:pos x="371" y="341"/>
                </a:cxn>
                <a:cxn ang="0">
                  <a:pos x="332" y="361"/>
                </a:cxn>
                <a:cxn ang="0">
                  <a:pos x="332" y="400"/>
                </a:cxn>
                <a:cxn ang="0">
                  <a:pos x="352" y="439"/>
                </a:cxn>
                <a:cxn ang="0">
                  <a:pos x="391" y="449"/>
                </a:cxn>
                <a:cxn ang="0">
                  <a:pos x="430" y="488"/>
                </a:cxn>
                <a:cxn ang="0">
                  <a:pos x="478" y="449"/>
                </a:cxn>
                <a:cxn ang="0">
                  <a:pos x="517" y="439"/>
                </a:cxn>
                <a:cxn ang="0">
                  <a:pos x="527" y="458"/>
                </a:cxn>
                <a:cxn ang="0">
                  <a:pos x="586" y="488"/>
                </a:cxn>
                <a:cxn ang="0">
                  <a:pos x="547" y="517"/>
                </a:cxn>
                <a:cxn ang="0">
                  <a:pos x="556" y="556"/>
                </a:cxn>
                <a:cxn ang="0">
                  <a:pos x="566" y="595"/>
                </a:cxn>
                <a:cxn ang="0">
                  <a:pos x="595" y="654"/>
                </a:cxn>
                <a:cxn ang="0">
                  <a:pos x="566" y="683"/>
                </a:cxn>
                <a:cxn ang="0">
                  <a:pos x="498" y="683"/>
                </a:cxn>
                <a:cxn ang="0">
                  <a:pos x="469" y="644"/>
                </a:cxn>
                <a:cxn ang="0">
                  <a:pos x="430" y="634"/>
                </a:cxn>
                <a:cxn ang="0">
                  <a:pos x="391" y="585"/>
                </a:cxn>
                <a:cxn ang="0">
                  <a:pos x="391" y="536"/>
                </a:cxn>
                <a:cxn ang="0">
                  <a:pos x="332" y="527"/>
                </a:cxn>
                <a:cxn ang="0">
                  <a:pos x="293" y="488"/>
                </a:cxn>
                <a:cxn ang="0">
                  <a:pos x="254" y="478"/>
                </a:cxn>
                <a:cxn ang="0">
                  <a:pos x="205" y="488"/>
                </a:cxn>
                <a:cxn ang="0">
                  <a:pos x="176" y="449"/>
                </a:cxn>
                <a:cxn ang="0">
                  <a:pos x="147" y="410"/>
                </a:cxn>
                <a:cxn ang="0">
                  <a:pos x="117" y="419"/>
                </a:cxn>
                <a:cxn ang="0">
                  <a:pos x="127" y="351"/>
                </a:cxn>
                <a:cxn ang="0">
                  <a:pos x="127" y="293"/>
                </a:cxn>
                <a:cxn ang="0">
                  <a:pos x="78" y="263"/>
                </a:cxn>
                <a:cxn ang="0">
                  <a:pos x="30" y="214"/>
                </a:cxn>
                <a:cxn ang="0">
                  <a:pos x="20" y="185"/>
                </a:cxn>
                <a:cxn ang="0">
                  <a:pos x="20" y="156"/>
                </a:cxn>
                <a:cxn ang="0">
                  <a:pos x="98" y="136"/>
                </a:cxn>
                <a:cxn ang="0">
                  <a:pos x="117" y="127"/>
                </a:cxn>
                <a:cxn ang="0">
                  <a:pos x="195" y="107"/>
                </a:cxn>
              </a:cxnLst>
              <a:rect l="0" t="0" r="r" b="b"/>
              <a:pathLst>
                <a:path w="595" h="693">
                  <a:moveTo>
                    <a:pt x="205" y="97"/>
                  </a:moveTo>
                  <a:lnTo>
                    <a:pt x="215" y="68"/>
                  </a:lnTo>
                  <a:lnTo>
                    <a:pt x="215" y="58"/>
                  </a:lnTo>
                  <a:lnTo>
                    <a:pt x="234" y="49"/>
                  </a:lnTo>
                  <a:lnTo>
                    <a:pt x="264" y="39"/>
                  </a:lnTo>
                  <a:lnTo>
                    <a:pt x="273" y="19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303" y="19"/>
                  </a:lnTo>
                  <a:lnTo>
                    <a:pt x="313" y="29"/>
                  </a:lnTo>
                  <a:lnTo>
                    <a:pt x="332" y="29"/>
                  </a:lnTo>
                  <a:lnTo>
                    <a:pt x="332" y="39"/>
                  </a:lnTo>
                  <a:lnTo>
                    <a:pt x="313" y="39"/>
                  </a:lnTo>
                  <a:lnTo>
                    <a:pt x="322" y="68"/>
                  </a:lnTo>
                  <a:lnTo>
                    <a:pt x="332" y="58"/>
                  </a:lnTo>
                  <a:lnTo>
                    <a:pt x="322" y="88"/>
                  </a:lnTo>
                  <a:lnTo>
                    <a:pt x="313" y="117"/>
                  </a:lnTo>
                  <a:lnTo>
                    <a:pt x="313" y="136"/>
                  </a:lnTo>
                  <a:lnTo>
                    <a:pt x="313" y="156"/>
                  </a:lnTo>
                  <a:lnTo>
                    <a:pt x="332" y="166"/>
                  </a:lnTo>
                  <a:lnTo>
                    <a:pt x="342" y="175"/>
                  </a:lnTo>
                  <a:lnTo>
                    <a:pt x="332" y="185"/>
                  </a:lnTo>
                  <a:lnTo>
                    <a:pt x="332" y="214"/>
                  </a:lnTo>
                  <a:lnTo>
                    <a:pt x="313" y="254"/>
                  </a:lnTo>
                  <a:lnTo>
                    <a:pt x="332" y="263"/>
                  </a:lnTo>
                  <a:lnTo>
                    <a:pt x="332" y="273"/>
                  </a:lnTo>
                  <a:lnTo>
                    <a:pt x="303" y="273"/>
                  </a:lnTo>
                  <a:lnTo>
                    <a:pt x="313" y="293"/>
                  </a:lnTo>
                  <a:lnTo>
                    <a:pt x="313" y="302"/>
                  </a:lnTo>
                  <a:lnTo>
                    <a:pt x="322" y="322"/>
                  </a:lnTo>
                  <a:lnTo>
                    <a:pt x="342" y="312"/>
                  </a:lnTo>
                  <a:lnTo>
                    <a:pt x="361" y="312"/>
                  </a:lnTo>
                  <a:lnTo>
                    <a:pt x="371" y="341"/>
                  </a:lnTo>
                  <a:lnTo>
                    <a:pt x="352" y="341"/>
                  </a:lnTo>
                  <a:lnTo>
                    <a:pt x="342" y="361"/>
                  </a:lnTo>
                  <a:lnTo>
                    <a:pt x="332" y="361"/>
                  </a:lnTo>
                  <a:lnTo>
                    <a:pt x="342" y="371"/>
                  </a:lnTo>
                  <a:lnTo>
                    <a:pt x="342" y="400"/>
                  </a:lnTo>
                  <a:lnTo>
                    <a:pt x="332" y="400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52" y="439"/>
                  </a:lnTo>
                  <a:lnTo>
                    <a:pt x="352" y="449"/>
                  </a:lnTo>
                  <a:lnTo>
                    <a:pt x="371" y="449"/>
                  </a:lnTo>
                  <a:lnTo>
                    <a:pt x="391" y="449"/>
                  </a:lnTo>
                  <a:lnTo>
                    <a:pt x="410" y="458"/>
                  </a:lnTo>
                  <a:lnTo>
                    <a:pt x="410" y="478"/>
                  </a:lnTo>
                  <a:lnTo>
                    <a:pt x="430" y="488"/>
                  </a:lnTo>
                  <a:lnTo>
                    <a:pt x="449" y="478"/>
                  </a:lnTo>
                  <a:lnTo>
                    <a:pt x="469" y="458"/>
                  </a:lnTo>
                  <a:lnTo>
                    <a:pt x="478" y="449"/>
                  </a:lnTo>
                  <a:lnTo>
                    <a:pt x="488" y="449"/>
                  </a:lnTo>
                  <a:lnTo>
                    <a:pt x="508" y="449"/>
                  </a:lnTo>
                  <a:lnTo>
                    <a:pt x="517" y="439"/>
                  </a:lnTo>
                  <a:lnTo>
                    <a:pt x="517" y="449"/>
                  </a:lnTo>
                  <a:lnTo>
                    <a:pt x="517" y="458"/>
                  </a:lnTo>
                  <a:lnTo>
                    <a:pt x="527" y="458"/>
                  </a:lnTo>
                  <a:lnTo>
                    <a:pt x="547" y="458"/>
                  </a:lnTo>
                  <a:lnTo>
                    <a:pt x="566" y="468"/>
                  </a:lnTo>
                  <a:lnTo>
                    <a:pt x="586" y="488"/>
                  </a:lnTo>
                  <a:lnTo>
                    <a:pt x="586" y="497"/>
                  </a:lnTo>
                  <a:lnTo>
                    <a:pt x="556" y="507"/>
                  </a:lnTo>
                  <a:lnTo>
                    <a:pt x="547" y="517"/>
                  </a:lnTo>
                  <a:lnTo>
                    <a:pt x="556" y="527"/>
                  </a:lnTo>
                  <a:lnTo>
                    <a:pt x="547" y="546"/>
                  </a:lnTo>
                  <a:lnTo>
                    <a:pt x="556" y="556"/>
                  </a:lnTo>
                  <a:lnTo>
                    <a:pt x="566" y="575"/>
                  </a:lnTo>
                  <a:lnTo>
                    <a:pt x="556" y="585"/>
                  </a:lnTo>
                  <a:lnTo>
                    <a:pt x="566" y="595"/>
                  </a:lnTo>
                  <a:lnTo>
                    <a:pt x="566" y="605"/>
                  </a:lnTo>
                  <a:lnTo>
                    <a:pt x="586" y="634"/>
                  </a:lnTo>
                  <a:lnTo>
                    <a:pt x="595" y="654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66" y="683"/>
                  </a:lnTo>
                  <a:lnTo>
                    <a:pt x="547" y="693"/>
                  </a:lnTo>
                  <a:lnTo>
                    <a:pt x="527" y="693"/>
                  </a:lnTo>
                  <a:lnTo>
                    <a:pt x="498" y="683"/>
                  </a:lnTo>
                  <a:lnTo>
                    <a:pt x="488" y="663"/>
                  </a:lnTo>
                  <a:lnTo>
                    <a:pt x="478" y="634"/>
                  </a:lnTo>
                  <a:lnTo>
                    <a:pt x="469" y="644"/>
                  </a:lnTo>
                  <a:lnTo>
                    <a:pt x="449" y="654"/>
                  </a:lnTo>
                  <a:lnTo>
                    <a:pt x="420" y="654"/>
                  </a:lnTo>
                  <a:lnTo>
                    <a:pt x="430" y="634"/>
                  </a:lnTo>
                  <a:lnTo>
                    <a:pt x="400" y="615"/>
                  </a:lnTo>
                  <a:lnTo>
                    <a:pt x="391" y="595"/>
                  </a:lnTo>
                  <a:lnTo>
                    <a:pt x="391" y="585"/>
                  </a:lnTo>
                  <a:lnTo>
                    <a:pt x="391" y="575"/>
                  </a:lnTo>
                  <a:lnTo>
                    <a:pt x="400" y="556"/>
                  </a:lnTo>
                  <a:lnTo>
                    <a:pt x="391" y="536"/>
                  </a:lnTo>
                  <a:lnTo>
                    <a:pt x="361" y="517"/>
                  </a:lnTo>
                  <a:lnTo>
                    <a:pt x="342" y="527"/>
                  </a:lnTo>
                  <a:lnTo>
                    <a:pt x="332" y="527"/>
                  </a:lnTo>
                  <a:lnTo>
                    <a:pt x="313" y="517"/>
                  </a:lnTo>
                  <a:lnTo>
                    <a:pt x="322" y="497"/>
                  </a:lnTo>
                  <a:lnTo>
                    <a:pt x="293" y="488"/>
                  </a:lnTo>
                  <a:lnTo>
                    <a:pt x="273" y="488"/>
                  </a:lnTo>
                  <a:lnTo>
                    <a:pt x="273" y="468"/>
                  </a:lnTo>
                  <a:lnTo>
                    <a:pt x="254" y="478"/>
                  </a:lnTo>
                  <a:lnTo>
                    <a:pt x="244" y="468"/>
                  </a:lnTo>
                  <a:lnTo>
                    <a:pt x="234" y="478"/>
                  </a:lnTo>
                  <a:lnTo>
                    <a:pt x="205" y="488"/>
                  </a:lnTo>
                  <a:lnTo>
                    <a:pt x="186" y="468"/>
                  </a:lnTo>
                  <a:lnTo>
                    <a:pt x="186" y="458"/>
                  </a:lnTo>
                  <a:lnTo>
                    <a:pt x="176" y="449"/>
                  </a:lnTo>
                  <a:lnTo>
                    <a:pt x="176" y="390"/>
                  </a:lnTo>
                  <a:lnTo>
                    <a:pt x="166" y="390"/>
                  </a:lnTo>
                  <a:lnTo>
                    <a:pt x="147" y="410"/>
                  </a:lnTo>
                  <a:lnTo>
                    <a:pt x="137" y="419"/>
                  </a:lnTo>
                  <a:lnTo>
                    <a:pt x="117" y="429"/>
                  </a:lnTo>
                  <a:lnTo>
                    <a:pt x="117" y="419"/>
                  </a:lnTo>
                  <a:lnTo>
                    <a:pt x="127" y="410"/>
                  </a:lnTo>
                  <a:lnTo>
                    <a:pt x="127" y="390"/>
                  </a:lnTo>
                  <a:lnTo>
                    <a:pt x="127" y="351"/>
                  </a:lnTo>
                  <a:lnTo>
                    <a:pt x="117" y="341"/>
                  </a:lnTo>
                  <a:lnTo>
                    <a:pt x="127" y="312"/>
                  </a:lnTo>
                  <a:lnTo>
                    <a:pt x="127" y="293"/>
                  </a:lnTo>
                  <a:lnTo>
                    <a:pt x="108" y="283"/>
                  </a:lnTo>
                  <a:lnTo>
                    <a:pt x="88" y="263"/>
                  </a:lnTo>
                  <a:lnTo>
                    <a:pt x="78" y="263"/>
                  </a:lnTo>
                  <a:lnTo>
                    <a:pt x="78" y="224"/>
                  </a:lnTo>
                  <a:lnTo>
                    <a:pt x="49" y="214"/>
                  </a:lnTo>
                  <a:lnTo>
                    <a:pt x="30" y="214"/>
                  </a:lnTo>
                  <a:lnTo>
                    <a:pt x="20" y="214"/>
                  </a:lnTo>
                  <a:lnTo>
                    <a:pt x="0" y="205"/>
                  </a:lnTo>
                  <a:lnTo>
                    <a:pt x="20" y="185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20" y="156"/>
                  </a:lnTo>
                  <a:lnTo>
                    <a:pt x="49" y="156"/>
                  </a:lnTo>
                  <a:lnTo>
                    <a:pt x="78" y="156"/>
                  </a:lnTo>
                  <a:lnTo>
                    <a:pt x="98" y="136"/>
                  </a:lnTo>
                  <a:lnTo>
                    <a:pt x="98" y="127"/>
                  </a:lnTo>
                  <a:lnTo>
                    <a:pt x="108" y="117"/>
                  </a:lnTo>
                  <a:lnTo>
                    <a:pt x="117" y="127"/>
                  </a:lnTo>
                  <a:lnTo>
                    <a:pt x="137" y="107"/>
                  </a:lnTo>
                  <a:lnTo>
                    <a:pt x="166" y="107"/>
                  </a:lnTo>
                  <a:lnTo>
                    <a:pt x="195" y="107"/>
                  </a:lnTo>
                  <a:lnTo>
                    <a:pt x="205" y="9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8" name="Freeform 174"/>
            <p:cNvSpPr>
              <a:spLocks/>
            </p:cNvSpPr>
            <p:nvPr/>
          </p:nvSpPr>
          <p:spPr bwMode="auto">
            <a:xfrm>
              <a:off x="2907" y="2858"/>
              <a:ext cx="431" cy="325"/>
            </a:xfrm>
            <a:custGeom>
              <a:avLst/>
              <a:gdLst/>
              <a:ahLst/>
              <a:cxnLst>
                <a:cxn ang="0">
                  <a:pos x="78" y="88"/>
                </a:cxn>
                <a:cxn ang="0">
                  <a:pos x="39" y="97"/>
                </a:cxn>
                <a:cxn ang="0">
                  <a:pos x="10" y="107"/>
                </a:cxn>
                <a:cxn ang="0">
                  <a:pos x="0" y="136"/>
                </a:cxn>
                <a:cxn ang="0">
                  <a:pos x="19" y="156"/>
                </a:cxn>
                <a:cxn ang="0">
                  <a:pos x="49" y="175"/>
                </a:cxn>
                <a:cxn ang="0">
                  <a:pos x="49" y="205"/>
                </a:cxn>
                <a:cxn ang="0">
                  <a:pos x="39" y="214"/>
                </a:cxn>
                <a:cxn ang="0">
                  <a:pos x="58" y="253"/>
                </a:cxn>
                <a:cxn ang="0">
                  <a:pos x="78" y="263"/>
                </a:cxn>
                <a:cxn ang="0">
                  <a:pos x="107" y="263"/>
                </a:cxn>
                <a:cxn ang="0">
                  <a:pos x="146" y="273"/>
                </a:cxn>
                <a:cxn ang="0">
                  <a:pos x="156" y="292"/>
                </a:cxn>
                <a:cxn ang="0">
                  <a:pos x="185" y="273"/>
                </a:cxn>
                <a:cxn ang="0">
                  <a:pos x="214" y="273"/>
                </a:cxn>
                <a:cxn ang="0">
                  <a:pos x="234" y="292"/>
                </a:cxn>
                <a:cxn ang="0">
                  <a:pos x="263" y="292"/>
                </a:cxn>
                <a:cxn ang="0">
                  <a:pos x="312" y="302"/>
                </a:cxn>
                <a:cxn ang="0">
                  <a:pos x="341" y="312"/>
                </a:cxn>
                <a:cxn ang="0">
                  <a:pos x="370" y="322"/>
                </a:cxn>
                <a:cxn ang="0">
                  <a:pos x="380" y="292"/>
                </a:cxn>
                <a:cxn ang="0">
                  <a:pos x="409" y="312"/>
                </a:cxn>
                <a:cxn ang="0">
                  <a:pos x="419" y="273"/>
                </a:cxn>
                <a:cxn ang="0">
                  <a:pos x="409" y="234"/>
                </a:cxn>
                <a:cxn ang="0">
                  <a:pos x="370" y="224"/>
                </a:cxn>
                <a:cxn ang="0">
                  <a:pos x="351" y="205"/>
                </a:cxn>
                <a:cxn ang="0">
                  <a:pos x="322" y="166"/>
                </a:cxn>
                <a:cxn ang="0">
                  <a:pos x="292" y="117"/>
                </a:cxn>
                <a:cxn ang="0">
                  <a:pos x="263" y="78"/>
                </a:cxn>
                <a:cxn ang="0">
                  <a:pos x="283" y="39"/>
                </a:cxn>
                <a:cxn ang="0">
                  <a:pos x="263" y="29"/>
                </a:cxn>
                <a:cxn ang="0">
                  <a:pos x="214" y="49"/>
                </a:cxn>
                <a:cxn ang="0">
                  <a:pos x="195" y="39"/>
                </a:cxn>
                <a:cxn ang="0">
                  <a:pos x="175" y="19"/>
                </a:cxn>
                <a:cxn ang="0">
                  <a:pos x="127" y="0"/>
                </a:cxn>
                <a:cxn ang="0">
                  <a:pos x="88" y="9"/>
                </a:cxn>
                <a:cxn ang="0">
                  <a:pos x="88" y="39"/>
                </a:cxn>
                <a:cxn ang="0">
                  <a:pos x="78" y="68"/>
                </a:cxn>
              </a:cxnLst>
              <a:rect l="0" t="0" r="r" b="b"/>
              <a:pathLst>
                <a:path w="429" h="322">
                  <a:moveTo>
                    <a:pt x="78" y="68"/>
                  </a:moveTo>
                  <a:lnTo>
                    <a:pt x="78" y="88"/>
                  </a:lnTo>
                  <a:lnTo>
                    <a:pt x="49" y="88"/>
                  </a:lnTo>
                  <a:lnTo>
                    <a:pt x="39" y="97"/>
                  </a:lnTo>
                  <a:lnTo>
                    <a:pt x="29" y="117"/>
                  </a:lnTo>
                  <a:lnTo>
                    <a:pt x="10" y="107"/>
                  </a:lnTo>
                  <a:lnTo>
                    <a:pt x="10" y="127"/>
                  </a:lnTo>
                  <a:lnTo>
                    <a:pt x="0" y="136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75"/>
                  </a:lnTo>
                  <a:lnTo>
                    <a:pt x="49" y="175"/>
                  </a:lnTo>
                  <a:lnTo>
                    <a:pt x="58" y="18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39" y="214"/>
                  </a:lnTo>
                  <a:lnTo>
                    <a:pt x="49" y="244"/>
                  </a:lnTo>
                  <a:lnTo>
                    <a:pt x="58" y="253"/>
                  </a:lnTo>
                  <a:lnTo>
                    <a:pt x="68" y="273"/>
                  </a:lnTo>
                  <a:lnTo>
                    <a:pt x="78" y="263"/>
                  </a:lnTo>
                  <a:lnTo>
                    <a:pt x="97" y="253"/>
                  </a:lnTo>
                  <a:lnTo>
                    <a:pt x="107" y="26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83"/>
                  </a:lnTo>
                  <a:lnTo>
                    <a:pt x="156" y="292"/>
                  </a:lnTo>
                  <a:lnTo>
                    <a:pt x="166" y="273"/>
                  </a:lnTo>
                  <a:lnTo>
                    <a:pt x="185" y="273"/>
                  </a:lnTo>
                  <a:lnTo>
                    <a:pt x="205" y="283"/>
                  </a:lnTo>
                  <a:lnTo>
                    <a:pt x="214" y="273"/>
                  </a:lnTo>
                  <a:lnTo>
                    <a:pt x="224" y="283"/>
                  </a:lnTo>
                  <a:lnTo>
                    <a:pt x="234" y="292"/>
                  </a:lnTo>
                  <a:lnTo>
                    <a:pt x="253" y="292"/>
                  </a:lnTo>
                  <a:lnTo>
                    <a:pt x="263" y="292"/>
                  </a:lnTo>
                  <a:lnTo>
                    <a:pt x="292" y="302"/>
                  </a:lnTo>
                  <a:lnTo>
                    <a:pt x="312" y="302"/>
                  </a:lnTo>
                  <a:lnTo>
                    <a:pt x="331" y="312"/>
                  </a:lnTo>
                  <a:lnTo>
                    <a:pt x="341" y="312"/>
                  </a:lnTo>
                  <a:lnTo>
                    <a:pt x="351" y="312"/>
                  </a:lnTo>
                  <a:lnTo>
                    <a:pt x="370" y="322"/>
                  </a:lnTo>
                  <a:lnTo>
                    <a:pt x="380" y="312"/>
                  </a:lnTo>
                  <a:lnTo>
                    <a:pt x="380" y="292"/>
                  </a:lnTo>
                  <a:lnTo>
                    <a:pt x="390" y="292"/>
                  </a:lnTo>
                  <a:lnTo>
                    <a:pt x="409" y="312"/>
                  </a:lnTo>
                  <a:lnTo>
                    <a:pt x="429" y="302"/>
                  </a:lnTo>
                  <a:lnTo>
                    <a:pt x="419" y="273"/>
                  </a:lnTo>
                  <a:lnTo>
                    <a:pt x="409" y="253"/>
                  </a:lnTo>
                  <a:lnTo>
                    <a:pt x="409" y="234"/>
                  </a:lnTo>
                  <a:lnTo>
                    <a:pt x="390" y="244"/>
                  </a:lnTo>
                  <a:lnTo>
                    <a:pt x="370" y="224"/>
                  </a:lnTo>
                  <a:lnTo>
                    <a:pt x="351" y="214"/>
                  </a:lnTo>
                  <a:lnTo>
                    <a:pt x="351" y="205"/>
                  </a:lnTo>
                  <a:lnTo>
                    <a:pt x="341" y="175"/>
                  </a:lnTo>
                  <a:lnTo>
                    <a:pt x="322" y="166"/>
                  </a:lnTo>
                  <a:lnTo>
                    <a:pt x="292" y="146"/>
                  </a:lnTo>
                  <a:lnTo>
                    <a:pt x="292" y="117"/>
                  </a:lnTo>
                  <a:lnTo>
                    <a:pt x="273" y="97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39"/>
                  </a:lnTo>
                  <a:lnTo>
                    <a:pt x="283" y="19"/>
                  </a:lnTo>
                  <a:lnTo>
                    <a:pt x="263" y="29"/>
                  </a:lnTo>
                  <a:lnTo>
                    <a:pt x="224" y="39"/>
                  </a:lnTo>
                  <a:lnTo>
                    <a:pt x="214" y="49"/>
                  </a:lnTo>
                  <a:lnTo>
                    <a:pt x="205" y="49"/>
                  </a:lnTo>
                  <a:lnTo>
                    <a:pt x="195" y="39"/>
                  </a:lnTo>
                  <a:lnTo>
                    <a:pt x="195" y="19"/>
                  </a:lnTo>
                  <a:lnTo>
                    <a:pt x="175" y="19"/>
                  </a:lnTo>
                  <a:lnTo>
                    <a:pt x="156" y="0"/>
                  </a:lnTo>
                  <a:lnTo>
                    <a:pt x="127" y="0"/>
                  </a:lnTo>
                  <a:lnTo>
                    <a:pt x="107" y="9"/>
                  </a:lnTo>
                  <a:lnTo>
                    <a:pt x="88" y="9"/>
                  </a:lnTo>
                  <a:lnTo>
                    <a:pt x="78" y="29"/>
                  </a:lnTo>
                  <a:lnTo>
                    <a:pt x="88" y="39"/>
                  </a:lnTo>
                  <a:lnTo>
                    <a:pt x="78" y="49"/>
                  </a:lnTo>
                  <a:lnTo>
                    <a:pt x="78" y="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9" name="Freeform 173"/>
            <p:cNvSpPr>
              <a:spLocks/>
            </p:cNvSpPr>
            <p:nvPr/>
          </p:nvSpPr>
          <p:spPr bwMode="auto">
            <a:xfrm>
              <a:off x="2732" y="2236"/>
              <a:ext cx="613" cy="671"/>
            </a:xfrm>
            <a:custGeom>
              <a:avLst/>
              <a:gdLst/>
              <a:ahLst/>
              <a:cxnLst>
                <a:cxn ang="0">
                  <a:pos x="615" y="517"/>
                </a:cxn>
                <a:cxn ang="0">
                  <a:pos x="605" y="576"/>
                </a:cxn>
                <a:cxn ang="0">
                  <a:pos x="546" y="576"/>
                </a:cxn>
                <a:cxn ang="0">
                  <a:pos x="488" y="605"/>
                </a:cxn>
                <a:cxn ang="0">
                  <a:pos x="488" y="644"/>
                </a:cxn>
                <a:cxn ang="0">
                  <a:pos x="439" y="654"/>
                </a:cxn>
                <a:cxn ang="0">
                  <a:pos x="390" y="674"/>
                </a:cxn>
                <a:cxn ang="0">
                  <a:pos x="371" y="664"/>
                </a:cxn>
                <a:cxn ang="0">
                  <a:pos x="351" y="634"/>
                </a:cxn>
                <a:cxn ang="0">
                  <a:pos x="303" y="615"/>
                </a:cxn>
                <a:cxn ang="0">
                  <a:pos x="264" y="634"/>
                </a:cxn>
                <a:cxn ang="0">
                  <a:pos x="244" y="595"/>
                </a:cxn>
                <a:cxn ang="0">
                  <a:pos x="205" y="586"/>
                </a:cxn>
                <a:cxn ang="0">
                  <a:pos x="156" y="556"/>
                </a:cxn>
                <a:cxn ang="0">
                  <a:pos x="107" y="517"/>
                </a:cxn>
                <a:cxn ang="0">
                  <a:pos x="78" y="527"/>
                </a:cxn>
                <a:cxn ang="0">
                  <a:pos x="59" y="508"/>
                </a:cxn>
                <a:cxn ang="0">
                  <a:pos x="39" y="488"/>
                </a:cxn>
                <a:cxn ang="0">
                  <a:pos x="10" y="469"/>
                </a:cxn>
                <a:cxn ang="0">
                  <a:pos x="10" y="430"/>
                </a:cxn>
                <a:cxn ang="0">
                  <a:pos x="39" y="400"/>
                </a:cxn>
                <a:cxn ang="0">
                  <a:pos x="68" y="391"/>
                </a:cxn>
                <a:cxn ang="0">
                  <a:pos x="98" y="400"/>
                </a:cxn>
                <a:cxn ang="0">
                  <a:pos x="127" y="361"/>
                </a:cxn>
                <a:cxn ang="0">
                  <a:pos x="156" y="342"/>
                </a:cxn>
                <a:cxn ang="0">
                  <a:pos x="166" y="361"/>
                </a:cxn>
                <a:cxn ang="0">
                  <a:pos x="195" y="361"/>
                </a:cxn>
                <a:cxn ang="0">
                  <a:pos x="215" y="322"/>
                </a:cxn>
                <a:cxn ang="0">
                  <a:pos x="254" y="332"/>
                </a:cxn>
                <a:cxn ang="0">
                  <a:pos x="293" y="293"/>
                </a:cxn>
                <a:cxn ang="0">
                  <a:pos x="273" y="273"/>
                </a:cxn>
                <a:cxn ang="0">
                  <a:pos x="303" y="215"/>
                </a:cxn>
                <a:cxn ang="0">
                  <a:pos x="322" y="176"/>
                </a:cxn>
                <a:cxn ang="0">
                  <a:pos x="381" y="137"/>
                </a:cxn>
                <a:cxn ang="0">
                  <a:pos x="439" y="88"/>
                </a:cxn>
                <a:cxn ang="0">
                  <a:pos x="459" y="49"/>
                </a:cxn>
                <a:cxn ang="0">
                  <a:pos x="478" y="20"/>
                </a:cxn>
                <a:cxn ang="0">
                  <a:pos x="507" y="0"/>
                </a:cxn>
                <a:cxn ang="0">
                  <a:pos x="517" y="20"/>
                </a:cxn>
                <a:cxn ang="0">
                  <a:pos x="546" y="49"/>
                </a:cxn>
                <a:cxn ang="0">
                  <a:pos x="605" y="137"/>
                </a:cxn>
                <a:cxn ang="0">
                  <a:pos x="605" y="186"/>
                </a:cxn>
                <a:cxn ang="0">
                  <a:pos x="595" y="225"/>
                </a:cxn>
                <a:cxn ang="0">
                  <a:pos x="595" y="293"/>
                </a:cxn>
                <a:cxn ang="0">
                  <a:pos x="566" y="361"/>
                </a:cxn>
                <a:cxn ang="0">
                  <a:pos x="615" y="410"/>
                </a:cxn>
                <a:cxn ang="0">
                  <a:pos x="605" y="459"/>
                </a:cxn>
              </a:cxnLst>
              <a:rect l="0" t="0" r="r" b="b"/>
              <a:pathLst>
                <a:path w="615" h="674">
                  <a:moveTo>
                    <a:pt x="615" y="498"/>
                  </a:moveTo>
                  <a:lnTo>
                    <a:pt x="615" y="517"/>
                  </a:lnTo>
                  <a:lnTo>
                    <a:pt x="605" y="547"/>
                  </a:lnTo>
                  <a:lnTo>
                    <a:pt x="605" y="576"/>
                  </a:lnTo>
                  <a:lnTo>
                    <a:pt x="566" y="586"/>
                  </a:lnTo>
                  <a:lnTo>
                    <a:pt x="546" y="576"/>
                  </a:lnTo>
                  <a:lnTo>
                    <a:pt x="498" y="576"/>
                  </a:lnTo>
                  <a:lnTo>
                    <a:pt x="488" y="605"/>
                  </a:lnTo>
                  <a:lnTo>
                    <a:pt x="488" y="625"/>
                  </a:lnTo>
                  <a:lnTo>
                    <a:pt x="488" y="644"/>
                  </a:lnTo>
                  <a:lnTo>
                    <a:pt x="449" y="644"/>
                  </a:lnTo>
                  <a:lnTo>
                    <a:pt x="439" y="654"/>
                  </a:lnTo>
                  <a:lnTo>
                    <a:pt x="400" y="664"/>
                  </a:lnTo>
                  <a:lnTo>
                    <a:pt x="390" y="674"/>
                  </a:lnTo>
                  <a:lnTo>
                    <a:pt x="381" y="674"/>
                  </a:lnTo>
                  <a:lnTo>
                    <a:pt x="371" y="664"/>
                  </a:lnTo>
                  <a:lnTo>
                    <a:pt x="371" y="644"/>
                  </a:lnTo>
                  <a:lnTo>
                    <a:pt x="351" y="634"/>
                  </a:lnTo>
                  <a:lnTo>
                    <a:pt x="322" y="625"/>
                  </a:lnTo>
                  <a:lnTo>
                    <a:pt x="303" y="615"/>
                  </a:lnTo>
                  <a:lnTo>
                    <a:pt x="283" y="625"/>
                  </a:lnTo>
                  <a:lnTo>
                    <a:pt x="264" y="634"/>
                  </a:lnTo>
                  <a:lnTo>
                    <a:pt x="254" y="615"/>
                  </a:lnTo>
                  <a:lnTo>
                    <a:pt x="244" y="595"/>
                  </a:lnTo>
                  <a:lnTo>
                    <a:pt x="225" y="576"/>
                  </a:lnTo>
                  <a:lnTo>
                    <a:pt x="205" y="586"/>
                  </a:lnTo>
                  <a:lnTo>
                    <a:pt x="195" y="586"/>
                  </a:lnTo>
                  <a:lnTo>
                    <a:pt x="156" y="556"/>
                  </a:lnTo>
                  <a:lnTo>
                    <a:pt x="127" y="537"/>
                  </a:lnTo>
                  <a:lnTo>
                    <a:pt x="107" y="517"/>
                  </a:lnTo>
                  <a:lnTo>
                    <a:pt x="88" y="527"/>
                  </a:lnTo>
                  <a:lnTo>
                    <a:pt x="78" y="527"/>
                  </a:lnTo>
                  <a:lnTo>
                    <a:pt x="78" y="517"/>
                  </a:lnTo>
                  <a:lnTo>
                    <a:pt x="59" y="508"/>
                  </a:lnTo>
                  <a:lnTo>
                    <a:pt x="39" y="498"/>
                  </a:lnTo>
                  <a:lnTo>
                    <a:pt x="39" y="488"/>
                  </a:lnTo>
                  <a:lnTo>
                    <a:pt x="20" y="469"/>
                  </a:lnTo>
                  <a:lnTo>
                    <a:pt x="10" y="469"/>
                  </a:lnTo>
                  <a:lnTo>
                    <a:pt x="0" y="449"/>
                  </a:lnTo>
                  <a:lnTo>
                    <a:pt x="10" y="430"/>
                  </a:lnTo>
                  <a:lnTo>
                    <a:pt x="29" y="420"/>
                  </a:lnTo>
                  <a:lnTo>
                    <a:pt x="39" y="400"/>
                  </a:lnTo>
                  <a:lnTo>
                    <a:pt x="49" y="391"/>
                  </a:lnTo>
                  <a:lnTo>
                    <a:pt x="68" y="391"/>
                  </a:lnTo>
                  <a:lnTo>
                    <a:pt x="68" y="400"/>
                  </a:lnTo>
                  <a:lnTo>
                    <a:pt x="98" y="400"/>
                  </a:lnTo>
                  <a:lnTo>
                    <a:pt x="107" y="391"/>
                  </a:lnTo>
                  <a:lnTo>
                    <a:pt x="127" y="361"/>
                  </a:lnTo>
                  <a:lnTo>
                    <a:pt x="146" y="352"/>
                  </a:lnTo>
                  <a:lnTo>
                    <a:pt x="156" y="342"/>
                  </a:lnTo>
                  <a:lnTo>
                    <a:pt x="166" y="352"/>
                  </a:lnTo>
                  <a:lnTo>
                    <a:pt x="166" y="361"/>
                  </a:lnTo>
                  <a:lnTo>
                    <a:pt x="186" y="371"/>
                  </a:lnTo>
                  <a:lnTo>
                    <a:pt x="195" y="361"/>
                  </a:lnTo>
                  <a:lnTo>
                    <a:pt x="205" y="342"/>
                  </a:lnTo>
                  <a:lnTo>
                    <a:pt x="215" y="322"/>
                  </a:lnTo>
                  <a:lnTo>
                    <a:pt x="244" y="322"/>
                  </a:lnTo>
                  <a:lnTo>
                    <a:pt x="254" y="332"/>
                  </a:lnTo>
                  <a:lnTo>
                    <a:pt x="273" y="313"/>
                  </a:lnTo>
                  <a:lnTo>
                    <a:pt x="293" y="293"/>
                  </a:lnTo>
                  <a:lnTo>
                    <a:pt x="283" y="293"/>
                  </a:lnTo>
                  <a:lnTo>
                    <a:pt x="273" y="273"/>
                  </a:lnTo>
                  <a:lnTo>
                    <a:pt x="303" y="234"/>
                  </a:lnTo>
                  <a:lnTo>
                    <a:pt x="303" y="215"/>
                  </a:lnTo>
                  <a:lnTo>
                    <a:pt x="303" y="195"/>
                  </a:lnTo>
                  <a:lnTo>
                    <a:pt x="322" y="176"/>
                  </a:lnTo>
                  <a:lnTo>
                    <a:pt x="351" y="156"/>
                  </a:lnTo>
                  <a:lnTo>
                    <a:pt x="381" y="137"/>
                  </a:lnTo>
                  <a:lnTo>
                    <a:pt x="420" y="127"/>
                  </a:lnTo>
                  <a:lnTo>
                    <a:pt x="439" y="88"/>
                  </a:lnTo>
                  <a:lnTo>
                    <a:pt x="449" y="59"/>
                  </a:lnTo>
                  <a:lnTo>
                    <a:pt x="459" y="49"/>
                  </a:lnTo>
                  <a:lnTo>
                    <a:pt x="478" y="30"/>
                  </a:lnTo>
                  <a:lnTo>
                    <a:pt x="478" y="20"/>
                  </a:lnTo>
                  <a:lnTo>
                    <a:pt x="507" y="0"/>
                  </a:lnTo>
                  <a:lnTo>
                    <a:pt x="517" y="0"/>
                  </a:lnTo>
                  <a:lnTo>
                    <a:pt x="517" y="20"/>
                  </a:lnTo>
                  <a:lnTo>
                    <a:pt x="517" y="39"/>
                  </a:lnTo>
                  <a:lnTo>
                    <a:pt x="546" y="49"/>
                  </a:lnTo>
                  <a:lnTo>
                    <a:pt x="585" y="88"/>
                  </a:lnTo>
                  <a:lnTo>
                    <a:pt x="605" y="137"/>
                  </a:lnTo>
                  <a:lnTo>
                    <a:pt x="605" y="156"/>
                  </a:lnTo>
                  <a:lnTo>
                    <a:pt x="605" y="186"/>
                  </a:lnTo>
                  <a:lnTo>
                    <a:pt x="595" y="215"/>
                  </a:lnTo>
                  <a:lnTo>
                    <a:pt x="595" y="225"/>
                  </a:lnTo>
                  <a:lnTo>
                    <a:pt x="585" y="264"/>
                  </a:lnTo>
                  <a:lnTo>
                    <a:pt x="595" y="293"/>
                  </a:lnTo>
                  <a:lnTo>
                    <a:pt x="576" y="332"/>
                  </a:lnTo>
                  <a:lnTo>
                    <a:pt x="566" y="361"/>
                  </a:lnTo>
                  <a:lnTo>
                    <a:pt x="585" y="391"/>
                  </a:lnTo>
                  <a:lnTo>
                    <a:pt x="615" y="410"/>
                  </a:lnTo>
                  <a:lnTo>
                    <a:pt x="615" y="420"/>
                  </a:lnTo>
                  <a:lnTo>
                    <a:pt x="605" y="459"/>
                  </a:lnTo>
                  <a:lnTo>
                    <a:pt x="615" y="4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0" name="Freeform 172"/>
            <p:cNvSpPr>
              <a:spLocks/>
            </p:cNvSpPr>
            <p:nvPr/>
          </p:nvSpPr>
          <p:spPr bwMode="auto">
            <a:xfrm>
              <a:off x="2597" y="2167"/>
              <a:ext cx="611" cy="517"/>
            </a:xfrm>
            <a:custGeom>
              <a:avLst/>
              <a:gdLst>
                <a:gd name="T0" fmla="*/ 0 w 614"/>
                <a:gd name="T1" fmla="*/ 361 h 517"/>
                <a:gd name="T2" fmla="*/ 19 w 614"/>
                <a:gd name="T3" fmla="*/ 351 h 517"/>
                <a:gd name="T4" fmla="*/ 58 w 614"/>
                <a:gd name="T5" fmla="*/ 332 h 517"/>
                <a:gd name="T6" fmla="*/ 58 w 614"/>
                <a:gd name="T7" fmla="*/ 293 h 517"/>
                <a:gd name="T8" fmla="*/ 117 w 614"/>
                <a:gd name="T9" fmla="*/ 224 h 517"/>
                <a:gd name="T10" fmla="*/ 136 w 614"/>
                <a:gd name="T11" fmla="*/ 185 h 517"/>
                <a:gd name="T12" fmla="*/ 156 w 614"/>
                <a:gd name="T13" fmla="*/ 195 h 517"/>
                <a:gd name="T14" fmla="*/ 195 w 614"/>
                <a:gd name="T15" fmla="*/ 205 h 517"/>
                <a:gd name="T16" fmla="*/ 204 w 614"/>
                <a:gd name="T17" fmla="*/ 195 h 517"/>
                <a:gd name="T18" fmla="*/ 253 w 614"/>
                <a:gd name="T19" fmla="*/ 215 h 517"/>
                <a:gd name="T20" fmla="*/ 282 w 614"/>
                <a:gd name="T21" fmla="*/ 224 h 517"/>
                <a:gd name="T22" fmla="*/ 302 w 614"/>
                <a:gd name="T23" fmla="*/ 205 h 517"/>
                <a:gd name="T24" fmla="*/ 273 w 614"/>
                <a:gd name="T25" fmla="*/ 185 h 517"/>
                <a:gd name="T26" fmla="*/ 282 w 614"/>
                <a:gd name="T27" fmla="*/ 156 h 517"/>
                <a:gd name="T28" fmla="*/ 292 w 614"/>
                <a:gd name="T29" fmla="*/ 146 h 517"/>
                <a:gd name="T30" fmla="*/ 302 w 614"/>
                <a:gd name="T31" fmla="*/ 137 h 517"/>
                <a:gd name="T32" fmla="*/ 307 w 614"/>
                <a:gd name="T33" fmla="*/ 107 h 517"/>
                <a:gd name="T34" fmla="*/ 311 w 614"/>
                <a:gd name="T35" fmla="*/ 107 h 517"/>
                <a:gd name="T36" fmla="*/ 330 w 614"/>
                <a:gd name="T37" fmla="*/ 88 h 517"/>
                <a:gd name="T38" fmla="*/ 330 w 614"/>
                <a:gd name="T39" fmla="*/ 68 h 517"/>
                <a:gd name="T40" fmla="*/ 330 w 614"/>
                <a:gd name="T41" fmla="*/ 49 h 517"/>
                <a:gd name="T42" fmla="*/ 350 w 614"/>
                <a:gd name="T43" fmla="*/ 29 h 517"/>
                <a:gd name="T44" fmla="*/ 389 w 614"/>
                <a:gd name="T45" fmla="*/ 0 h 517"/>
                <a:gd name="T46" fmla="*/ 418 w 614"/>
                <a:gd name="T47" fmla="*/ 10 h 517"/>
                <a:gd name="T48" fmla="*/ 457 w 614"/>
                <a:gd name="T49" fmla="*/ 29 h 517"/>
                <a:gd name="T50" fmla="*/ 486 w 614"/>
                <a:gd name="T51" fmla="*/ 29 h 517"/>
                <a:gd name="T52" fmla="*/ 564 w 614"/>
                <a:gd name="T53" fmla="*/ 68 h 517"/>
                <a:gd name="T54" fmla="*/ 603 w 614"/>
                <a:gd name="T55" fmla="*/ 98 h 517"/>
                <a:gd name="T56" fmla="*/ 584 w 614"/>
                <a:gd name="T57" fmla="*/ 137 h 517"/>
                <a:gd name="T58" fmla="*/ 545 w 614"/>
                <a:gd name="T59" fmla="*/ 195 h 517"/>
                <a:gd name="T60" fmla="*/ 476 w 614"/>
                <a:gd name="T61" fmla="*/ 234 h 517"/>
                <a:gd name="T62" fmla="*/ 428 w 614"/>
                <a:gd name="T63" fmla="*/ 263 h 517"/>
                <a:gd name="T64" fmla="*/ 428 w 614"/>
                <a:gd name="T65" fmla="*/ 302 h 517"/>
                <a:gd name="T66" fmla="*/ 408 w 614"/>
                <a:gd name="T67" fmla="*/ 361 h 517"/>
                <a:gd name="T68" fmla="*/ 398 w 614"/>
                <a:gd name="T69" fmla="*/ 381 h 517"/>
                <a:gd name="T70" fmla="*/ 369 w 614"/>
                <a:gd name="T71" fmla="*/ 390 h 517"/>
                <a:gd name="T72" fmla="*/ 330 w 614"/>
                <a:gd name="T73" fmla="*/ 410 h 517"/>
                <a:gd name="T74" fmla="*/ 311 w 614"/>
                <a:gd name="T75" fmla="*/ 439 h 517"/>
                <a:gd name="T76" fmla="*/ 302 w 614"/>
                <a:gd name="T77" fmla="*/ 420 h 517"/>
                <a:gd name="T78" fmla="*/ 282 w 614"/>
                <a:gd name="T79" fmla="*/ 420 h 517"/>
                <a:gd name="T80" fmla="*/ 243 w 614"/>
                <a:gd name="T81" fmla="*/ 459 h 517"/>
                <a:gd name="T82" fmla="*/ 204 w 614"/>
                <a:gd name="T83" fmla="*/ 468 h 517"/>
                <a:gd name="T84" fmla="*/ 185 w 614"/>
                <a:gd name="T85" fmla="*/ 459 h 517"/>
                <a:gd name="T86" fmla="*/ 165 w 614"/>
                <a:gd name="T87" fmla="*/ 488 h 517"/>
                <a:gd name="T88" fmla="*/ 146 w 614"/>
                <a:gd name="T89" fmla="*/ 517 h 517"/>
                <a:gd name="T90" fmla="*/ 107 w 614"/>
                <a:gd name="T91" fmla="*/ 478 h 517"/>
                <a:gd name="T92" fmla="*/ 87 w 614"/>
                <a:gd name="T93" fmla="*/ 459 h 517"/>
                <a:gd name="T94" fmla="*/ 97 w 614"/>
                <a:gd name="T95" fmla="*/ 449 h 517"/>
                <a:gd name="T96" fmla="*/ 58 w 614"/>
                <a:gd name="T97" fmla="*/ 439 h 517"/>
                <a:gd name="T98" fmla="*/ 19 w 614"/>
                <a:gd name="T99" fmla="*/ 420 h 51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14"/>
                <a:gd name="T151" fmla="*/ 0 h 517"/>
                <a:gd name="T152" fmla="*/ 614 w 614"/>
                <a:gd name="T153" fmla="*/ 517 h 51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14" h="517">
                  <a:moveTo>
                    <a:pt x="0" y="390"/>
                  </a:moveTo>
                  <a:lnTo>
                    <a:pt x="0" y="361"/>
                  </a:lnTo>
                  <a:lnTo>
                    <a:pt x="9" y="341"/>
                  </a:lnTo>
                  <a:lnTo>
                    <a:pt x="19" y="351"/>
                  </a:lnTo>
                  <a:lnTo>
                    <a:pt x="29" y="341"/>
                  </a:lnTo>
                  <a:lnTo>
                    <a:pt x="58" y="332"/>
                  </a:lnTo>
                  <a:lnTo>
                    <a:pt x="39" y="312"/>
                  </a:lnTo>
                  <a:lnTo>
                    <a:pt x="58" y="293"/>
                  </a:lnTo>
                  <a:lnTo>
                    <a:pt x="97" y="254"/>
                  </a:lnTo>
                  <a:lnTo>
                    <a:pt x="117" y="224"/>
                  </a:lnTo>
                  <a:lnTo>
                    <a:pt x="126" y="205"/>
                  </a:lnTo>
                  <a:lnTo>
                    <a:pt x="136" y="185"/>
                  </a:lnTo>
                  <a:lnTo>
                    <a:pt x="146" y="176"/>
                  </a:lnTo>
                  <a:lnTo>
                    <a:pt x="156" y="195"/>
                  </a:lnTo>
                  <a:lnTo>
                    <a:pt x="175" y="215"/>
                  </a:lnTo>
                  <a:lnTo>
                    <a:pt x="195" y="205"/>
                  </a:lnTo>
                  <a:lnTo>
                    <a:pt x="204" y="195"/>
                  </a:lnTo>
                  <a:lnTo>
                    <a:pt x="234" y="215"/>
                  </a:lnTo>
                  <a:lnTo>
                    <a:pt x="253" y="215"/>
                  </a:lnTo>
                  <a:lnTo>
                    <a:pt x="273" y="224"/>
                  </a:lnTo>
                  <a:lnTo>
                    <a:pt x="282" y="224"/>
                  </a:lnTo>
                  <a:lnTo>
                    <a:pt x="292" y="215"/>
                  </a:lnTo>
                  <a:lnTo>
                    <a:pt x="302" y="205"/>
                  </a:lnTo>
                  <a:lnTo>
                    <a:pt x="292" y="195"/>
                  </a:lnTo>
                  <a:lnTo>
                    <a:pt x="273" y="185"/>
                  </a:lnTo>
                  <a:lnTo>
                    <a:pt x="273" y="176"/>
                  </a:lnTo>
                  <a:lnTo>
                    <a:pt x="282" y="156"/>
                  </a:lnTo>
                  <a:lnTo>
                    <a:pt x="282" y="146"/>
                  </a:lnTo>
                  <a:lnTo>
                    <a:pt x="292" y="146"/>
                  </a:lnTo>
                  <a:lnTo>
                    <a:pt x="302" y="137"/>
                  </a:lnTo>
                  <a:lnTo>
                    <a:pt x="302" y="127"/>
                  </a:lnTo>
                  <a:lnTo>
                    <a:pt x="312" y="107"/>
                  </a:lnTo>
                  <a:lnTo>
                    <a:pt x="322" y="107"/>
                  </a:lnTo>
                  <a:lnTo>
                    <a:pt x="341" y="107"/>
                  </a:lnTo>
                  <a:lnTo>
                    <a:pt x="341" y="88"/>
                  </a:lnTo>
                  <a:lnTo>
                    <a:pt x="331" y="78"/>
                  </a:lnTo>
                  <a:lnTo>
                    <a:pt x="341" y="68"/>
                  </a:lnTo>
                  <a:lnTo>
                    <a:pt x="341" y="59"/>
                  </a:lnTo>
                  <a:lnTo>
                    <a:pt x="341" y="49"/>
                  </a:lnTo>
                  <a:lnTo>
                    <a:pt x="351" y="39"/>
                  </a:lnTo>
                  <a:lnTo>
                    <a:pt x="361" y="29"/>
                  </a:lnTo>
                  <a:lnTo>
                    <a:pt x="361" y="10"/>
                  </a:lnTo>
                  <a:lnTo>
                    <a:pt x="400" y="0"/>
                  </a:lnTo>
                  <a:lnTo>
                    <a:pt x="409" y="20"/>
                  </a:lnTo>
                  <a:lnTo>
                    <a:pt x="429" y="10"/>
                  </a:lnTo>
                  <a:lnTo>
                    <a:pt x="439" y="29"/>
                  </a:lnTo>
                  <a:lnTo>
                    <a:pt x="468" y="29"/>
                  </a:lnTo>
                  <a:lnTo>
                    <a:pt x="487" y="20"/>
                  </a:lnTo>
                  <a:lnTo>
                    <a:pt x="497" y="29"/>
                  </a:lnTo>
                  <a:lnTo>
                    <a:pt x="536" y="49"/>
                  </a:lnTo>
                  <a:lnTo>
                    <a:pt x="575" y="68"/>
                  </a:lnTo>
                  <a:lnTo>
                    <a:pt x="614" y="88"/>
                  </a:lnTo>
                  <a:lnTo>
                    <a:pt x="614" y="98"/>
                  </a:lnTo>
                  <a:lnTo>
                    <a:pt x="604" y="117"/>
                  </a:lnTo>
                  <a:lnTo>
                    <a:pt x="595" y="137"/>
                  </a:lnTo>
                  <a:lnTo>
                    <a:pt x="575" y="156"/>
                  </a:lnTo>
                  <a:lnTo>
                    <a:pt x="556" y="195"/>
                  </a:lnTo>
                  <a:lnTo>
                    <a:pt x="517" y="205"/>
                  </a:lnTo>
                  <a:lnTo>
                    <a:pt x="487" y="234"/>
                  </a:lnTo>
                  <a:lnTo>
                    <a:pt x="458" y="244"/>
                  </a:lnTo>
                  <a:lnTo>
                    <a:pt x="439" y="263"/>
                  </a:lnTo>
                  <a:lnTo>
                    <a:pt x="439" y="283"/>
                  </a:lnTo>
                  <a:lnTo>
                    <a:pt x="439" y="302"/>
                  </a:lnTo>
                  <a:lnTo>
                    <a:pt x="409" y="341"/>
                  </a:lnTo>
                  <a:lnTo>
                    <a:pt x="419" y="361"/>
                  </a:lnTo>
                  <a:lnTo>
                    <a:pt x="429" y="371"/>
                  </a:lnTo>
                  <a:lnTo>
                    <a:pt x="409" y="381"/>
                  </a:lnTo>
                  <a:lnTo>
                    <a:pt x="390" y="400"/>
                  </a:lnTo>
                  <a:lnTo>
                    <a:pt x="380" y="390"/>
                  </a:lnTo>
                  <a:lnTo>
                    <a:pt x="351" y="390"/>
                  </a:lnTo>
                  <a:lnTo>
                    <a:pt x="341" y="410"/>
                  </a:lnTo>
                  <a:lnTo>
                    <a:pt x="341" y="429"/>
                  </a:lnTo>
                  <a:lnTo>
                    <a:pt x="322" y="439"/>
                  </a:lnTo>
                  <a:lnTo>
                    <a:pt x="302" y="429"/>
                  </a:lnTo>
                  <a:lnTo>
                    <a:pt x="302" y="420"/>
                  </a:lnTo>
                  <a:lnTo>
                    <a:pt x="302" y="410"/>
                  </a:lnTo>
                  <a:lnTo>
                    <a:pt x="282" y="420"/>
                  </a:lnTo>
                  <a:lnTo>
                    <a:pt x="263" y="429"/>
                  </a:lnTo>
                  <a:lnTo>
                    <a:pt x="243" y="459"/>
                  </a:lnTo>
                  <a:lnTo>
                    <a:pt x="243" y="468"/>
                  </a:lnTo>
                  <a:lnTo>
                    <a:pt x="204" y="468"/>
                  </a:lnTo>
                  <a:lnTo>
                    <a:pt x="204" y="459"/>
                  </a:lnTo>
                  <a:lnTo>
                    <a:pt x="185" y="459"/>
                  </a:lnTo>
                  <a:lnTo>
                    <a:pt x="175" y="468"/>
                  </a:lnTo>
                  <a:lnTo>
                    <a:pt x="165" y="488"/>
                  </a:lnTo>
                  <a:lnTo>
                    <a:pt x="146" y="498"/>
                  </a:lnTo>
                  <a:lnTo>
                    <a:pt x="146" y="517"/>
                  </a:lnTo>
                  <a:lnTo>
                    <a:pt x="117" y="517"/>
                  </a:lnTo>
                  <a:lnTo>
                    <a:pt x="107" y="478"/>
                  </a:lnTo>
                  <a:lnTo>
                    <a:pt x="87" y="468"/>
                  </a:lnTo>
                  <a:lnTo>
                    <a:pt x="87" y="459"/>
                  </a:lnTo>
                  <a:lnTo>
                    <a:pt x="87" y="449"/>
                  </a:lnTo>
                  <a:lnTo>
                    <a:pt x="97" y="449"/>
                  </a:lnTo>
                  <a:lnTo>
                    <a:pt x="87" y="439"/>
                  </a:lnTo>
                  <a:lnTo>
                    <a:pt x="58" y="439"/>
                  </a:lnTo>
                  <a:lnTo>
                    <a:pt x="39" y="429"/>
                  </a:lnTo>
                  <a:lnTo>
                    <a:pt x="19" y="420"/>
                  </a:lnTo>
                  <a:lnTo>
                    <a:pt x="0" y="390"/>
                  </a:lnTo>
                  <a:close/>
                </a:path>
              </a:pathLst>
            </a:custGeom>
            <a:solidFill>
              <a:srgbClr val="F21C0A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1" name="Freeform 171"/>
            <p:cNvSpPr>
              <a:spLocks/>
            </p:cNvSpPr>
            <p:nvPr/>
          </p:nvSpPr>
          <p:spPr bwMode="auto">
            <a:xfrm>
              <a:off x="2029" y="790"/>
              <a:ext cx="664" cy="674"/>
            </a:xfrm>
            <a:custGeom>
              <a:avLst/>
              <a:gdLst/>
              <a:ahLst/>
              <a:cxnLst>
                <a:cxn ang="0">
                  <a:pos x="488" y="469"/>
                </a:cxn>
                <a:cxn ang="0">
                  <a:pos x="449" y="449"/>
                </a:cxn>
                <a:cxn ang="0">
                  <a:pos x="439" y="478"/>
                </a:cxn>
                <a:cxn ang="0">
                  <a:pos x="410" y="508"/>
                </a:cxn>
                <a:cxn ang="0">
                  <a:pos x="400" y="547"/>
                </a:cxn>
                <a:cxn ang="0">
                  <a:pos x="419" y="576"/>
                </a:cxn>
                <a:cxn ang="0">
                  <a:pos x="361" y="634"/>
                </a:cxn>
                <a:cxn ang="0">
                  <a:pos x="351" y="654"/>
                </a:cxn>
                <a:cxn ang="0">
                  <a:pos x="302" y="674"/>
                </a:cxn>
                <a:cxn ang="0">
                  <a:pos x="283" y="654"/>
                </a:cxn>
                <a:cxn ang="0">
                  <a:pos x="283" y="634"/>
                </a:cxn>
                <a:cxn ang="0">
                  <a:pos x="263" y="615"/>
                </a:cxn>
                <a:cxn ang="0">
                  <a:pos x="195" y="605"/>
                </a:cxn>
                <a:cxn ang="0">
                  <a:pos x="195" y="576"/>
                </a:cxn>
                <a:cxn ang="0">
                  <a:pos x="156" y="537"/>
                </a:cxn>
                <a:cxn ang="0">
                  <a:pos x="136" y="498"/>
                </a:cxn>
                <a:cxn ang="0">
                  <a:pos x="127" y="527"/>
                </a:cxn>
                <a:cxn ang="0">
                  <a:pos x="68" y="517"/>
                </a:cxn>
                <a:cxn ang="0">
                  <a:pos x="19" y="371"/>
                </a:cxn>
                <a:cxn ang="0">
                  <a:pos x="19" y="332"/>
                </a:cxn>
                <a:cxn ang="0">
                  <a:pos x="19" y="303"/>
                </a:cxn>
                <a:cxn ang="0">
                  <a:pos x="117" y="322"/>
                </a:cxn>
                <a:cxn ang="0">
                  <a:pos x="214" y="332"/>
                </a:cxn>
                <a:cxn ang="0">
                  <a:pos x="253" y="322"/>
                </a:cxn>
                <a:cxn ang="0">
                  <a:pos x="283" y="254"/>
                </a:cxn>
                <a:cxn ang="0">
                  <a:pos x="283" y="215"/>
                </a:cxn>
                <a:cxn ang="0">
                  <a:pos x="312" y="205"/>
                </a:cxn>
                <a:cxn ang="0">
                  <a:pos x="351" y="195"/>
                </a:cxn>
                <a:cxn ang="0">
                  <a:pos x="361" y="166"/>
                </a:cxn>
                <a:cxn ang="0">
                  <a:pos x="400" y="137"/>
                </a:cxn>
                <a:cxn ang="0">
                  <a:pos x="419" y="127"/>
                </a:cxn>
                <a:cxn ang="0">
                  <a:pos x="449" y="98"/>
                </a:cxn>
                <a:cxn ang="0">
                  <a:pos x="478" y="88"/>
                </a:cxn>
                <a:cxn ang="0">
                  <a:pos x="517" y="78"/>
                </a:cxn>
                <a:cxn ang="0">
                  <a:pos x="556" y="39"/>
                </a:cxn>
                <a:cxn ang="0">
                  <a:pos x="566" y="10"/>
                </a:cxn>
                <a:cxn ang="0">
                  <a:pos x="624" y="88"/>
                </a:cxn>
                <a:cxn ang="0">
                  <a:pos x="605" y="127"/>
                </a:cxn>
                <a:cxn ang="0">
                  <a:pos x="653" y="137"/>
                </a:cxn>
                <a:cxn ang="0">
                  <a:pos x="663" y="176"/>
                </a:cxn>
                <a:cxn ang="0">
                  <a:pos x="653" y="166"/>
                </a:cxn>
                <a:cxn ang="0">
                  <a:pos x="653" y="186"/>
                </a:cxn>
                <a:cxn ang="0">
                  <a:pos x="644" y="195"/>
                </a:cxn>
                <a:cxn ang="0">
                  <a:pos x="653" y="254"/>
                </a:cxn>
                <a:cxn ang="0">
                  <a:pos x="644" y="273"/>
                </a:cxn>
                <a:cxn ang="0">
                  <a:pos x="614" y="273"/>
                </a:cxn>
                <a:cxn ang="0">
                  <a:pos x="595" y="293"/>
                </a:cxn>
                <a:cxn ang="0">
                  <a:pos x="566" y="293"/>
                </a:cxn>
                <a:cxn ang="0">
                  <a:pos x="556" y="322"/>
                </a:cxn>
                <a:cxn ang="0">
                  <a:pos x="517" y="342"/>
                </a:cxn>
                <a:cxn ang="0">
                  <a:pos x="507" y="352"/>
                </a:cxn>
                <a:cxn ang="0">
                  <a:pos x="507" y="371"/>
                </a:cxn>
                <a:cxn ang="0">
                  <a:pos x="497" y="391"/>
                </a:cxn>
                <a:cxn ang="0">
                  <a:pos x="517" y="400"/>
                </a:cxn>
                <a:cxn ang="0">
                  <a:pos x="507" y="439"/>
                </a:cxn>
                <a:cxn ang="0">
                  <a:pos x="497" y="469"/>
                </a:cxn>
              </a:cxnLst>
              <a:rect l="0" t="0" r="r" b="b"/>
              <a:pathLst>
                <a:path w="663" h="674">
                  <a:moveTo>
                    <a:pt x="497" y="469"/>
                  </a:moveTo>
                  <a:lnTo>
                    <a:pt x="488" y="469"/>
                  </a:lnTo>
                  <a:lnTo>
                    <a:pt x="458" y="478"/>
                  </a:lnTo>
                  <a:lnTo>
                    <a:pt x="449" y="449"/>
                  </a:lnTo>
                  <a:lnTo>
                    <a:pt x="429" y="469"/>
                  </a:lnTo>
                  <a:lnTo>
                    <a:pt x="439" y="478"/>
                  </a:lnTo>
                  <a:lnTo>
                    <a:pt x="419" y="498"/>
                  </a:lnTo>
                  <a:lnTo>
                    <a:pt x="410" y="508"/>
                  </a:lnTo>
                  <a:lnTo>
                    <a:pt x="400" y="527"/>
                  </a:lnTo>
                  <a:lnTo>
                    <a:pt x="400" y="547"/>
                  </a:lnTo>
                  <a:lnTo>
                    <a:pt x="410" y="566"/>
                  </a:lnTo>
                  <a:lnTo>
                    <a:pt x="419" y="576"/>
                  </a:lnTo>
                  <a:lnTo>
                    <a:pt x="419" y="595"/>
                  </a:lnTo>
                  <a:lnTo>
                    <a:pt x="361" y="634"/>
                  </a:lnTo>
                  <a:lnTo>
                    <a:pt x="351" y="634"/>
                  </a:lnTo>
                  <a:lnTo>
                    <a:pt x="351" y="654"/>
                  </a:lnTo>
                  <a:lnTo>
                    <a:pt x="312" y="664"/>
                  </a:lnTo>
                  <a:lnTo>
                    <a:pt x="302" y="674"/>
                  </a:lnTo>
                  <a:lnTo>
                    <a:pt x="292" y="664"/>
                  </a:lnTo>
                  <a:lnTo>
                    <a:pt x="283" y="654"/>
                  </a:lnTo>
                  <a:lnTo>
                    <a:pt x="283" y="644"/>
                  </a:lnTo>
                  <a:lnTo>
                    <a:pt x="283" y="634"/>
                  </a:lnTo>
                  <a:lnTo>
                    <a:pt x="263" y="634"/>
                  </a:lnTo>
                  <a:lnTo>
                    <a:pt x="263" y="615"/>
                  </a:lnTo>
                  <a:lnTo>
                    <a:pt x="253" y="615"/>
                  </a:lnTo>
                  <a:lnTo>
                    <a:pt x="195" y="605"/>
                  </a:lnTo>
                  <a:lnTo>
                    <a:pt x="185" y="595"/>
                  </a:lnTo>
                  <a:lnTo>
                    <a:pt x="195" y="576"/>
                  </a:lnTo>
                  <a:lnTo>
                    <a:pt x="185" y="566"/>
                  </a:lnTo>
                  <a:lnTo>
                    <a:pt x="156" y="537"/>
                  </a:lnTo>
                  <a:lnTo>
                    <a:pt x="156" y="527"/>
                  </a:lnTo>
                  <a:lnTo>
                    <a:pt x="136" y="498"/>
                  </a:lnTo>
                  <a:lnTo>
                    <a:pt x="117" y="498"/>
                  </a:lnTo>
                  <a:lnTo>
                    <a:pt x="127" y="527"/>
                  </a:lnTo>
                  <a:lnTo>
                    <a:pt x="107" y="527"/>
                  </a:lnTo>
                  <a:lnTo>
                    <a:pt x="68" y="517"/>
                  </a:lnTo>
                  <a:lnTo>
                    <a:pt x="0" y="391"/>
                  </a:lnTo>
                  <a:lnTo>
                    <a:pt x="19" y="371"/>
                  </a:lnTo>
                  <a:lnTo>
                    <a:pt x="19" y="352"/>
                  </a:lnTo>
                  <a:lnTo>
                    <a:pt x="19" y="332"/>
                  </a:lnTo>
                  <a:lnTo>
                    <a:pt x="10" y="322"/>
                  </a:lnTo>
                  <a:lnTo>
                    <a:pt x="19" y="303"/>
                  </a:lnTo>
                  <a:lnTo>
                    <a:pt x="78" y="322"/>
                  </a:lnTo>
                  <a:lnTo>
                    <a:pt x="117" y="322"/>
                  </a:lnTo>
                  <a:lnTo>
                    <a:pt x="166" y="322"/>
                  </a:lnTo>
                  <a:lnTo>
                    <a:pt x="214" y="332"/>
                  </a:lnTo>
                  <a:lnTo>
                    <a:pt x="244" y="322"/>
                  </a:lnTo>
                  <a:lnTo>
                    <a:pt x="253" y="322"/>
                  </a:lnTo>
                  <a:lnTo>
                    <a:pt x="263" y="293"/>
                  </a:lnTo>
                  <a:lnTo>
                    <a:pt x="283" y="254"/>
                  </a:lnTo>
                  <a:lnTo>
                    <a:pt x="283" y="225"/>
                  </a:lnTo>
                  <a:lnTo>
                    <a:pt x="283" y="215"/>
                  </a:lnTo>
                  <a:lnTo>
                    <a:pt x="292" y="205"/>
                  </a:lnTo>
                  <a:lnTo>
                    <a:pt x="312" y="205"/>
                  </a:lnTo>
                  <a:lnTo>
                    <a:pt x="341" y="205"/>
                  </a:lnTo>
                  <a:lnTo>
                    <a:pt x="351" y="195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400" y="147"/>
                  </a:lnTo>
                  <a:lnTo>
                    <a:pt x="400" y="137"/>
                  </a:lnTo>
                  <a:lnTo>
                    <a:pt x="410" y="127"/>
                  </a:lnTo>
                  <a:lnTo>
                    <a:pt x="419" y="127"/>
                  </a:lnTo>
                  <a:lnTo>
                    <a:pt x="439" y="108"/>
                  </a:lnTo>
                  <a:lnTo>
                    <a:pt x="449" y="98"/>
                  </a:lnTo>
                  <a:lnTo>
                    <a:pt x="468" y="88"/>
                  </a:lnTo>
                  <a:lnTo>
                    <a:pt x="478" y="88"/>
                  </a:lnTo>
                  <a:lnTo>
                    <a:pt x="497" y="88"/>
                  </a:lnTo>
                  <a:lnTo>
                    <a:pt x="517" y="78"/>
                  </a:lnTo>
                  <a:lnTo>
                    <a:pt x="536" y="59"/>
                  </a:lnTo>
                  <a:lnTo>
                    <a:pt x="556" y="39"/>
                  </a:lnTo>
                  <a:lnTo>
                    <a:pt x="566" y="20"/>
                  </a:lnTo>
                  <a:lnTo>
                    <a:pt x="566" y="10"/>
                  </a:lnTo>
                  <a:lnTo>
                    <a:pt x="575" y="0"/>
                  </a:lnTo>
                  <a:lnTo>
                    <a:pt x="624" y="88"/>
                  </a:lnTo>
                  <a:lnTo>
                    <a:pt x="614" y="108"/>
                  </a:lnTo>
                  <a:lnTo>
                    <a:pt x="605" y="127"/>
                  </a:lnTo>
                  <a:lnTo>
                    <a:pt x="614" y="137"/>
                  </a:lnTo>
                  <a:lnTo>
                    <a:pt x="653" y="137"/>
                  </a:lnTo>
                  <a:lnTo>
                    <a:pt x="663" y="156"/>
                  </a:lnTo>
                  <a:lnTo>
                    <a:pt x="663" y="176"/>
                  </a:lnTo>
                  <a:lnTo>
                    <a:pt x="653" y="166"/>
                  </a:lnTo>
                  <a:lnTo>
                    <a:pt x="653" y="176"/>
                  </a:lnTo>
                  <a:lnTo>
                    <a:pt x="653" y="186"/>
                  </a:lnTo>
                  <a:lnTo>
                    <a:pt x="644" y="186"/>
                  </a:lnTo>
                  <a:lnTo>
                    <a:pt x="644" y="195"/>
                  </a:lnTo>
                  <a:lnTo>
                    <a:pt x="653" y="225"/>
                  </a:lnTo>
                  <a:lnTo>
                    <a:pt x="653" y="254"/>
                  </a:lnTo>
                  <a:lnTo>
                    <a:pt x="634" y="264"/>
                  </a:lnTo>
                  <a:lnTo>
                    <a:pt x="644" y="273"/>
                  </a:lnTo>
                  <a:lnTo>
                    <a:pt x="624" y="283"/>
                  </a:lnTo>
                  <a:lnTo>
                    <a:pt x="614" y="273"/>
                  </a:lnTo>
                  <a:lnTo>
                    <a:pt x="595" y="293"/>
                  </a:lnTo>
                  <a:lnTo>
                    <a:pt x="575" y="293"/>
                  </a:lnTo>
                  <a:lnTo>
                    <a:pt x="566" y="293"/>
                  </a:lnTo>
                  <a:lnTo>
                    <a:pt x="556" y="322"/>
                  </a:lnTo>
                  <a:lnTo>
                    <a:pt x="536" y="342"/>
                  </a:lnTo>
                  <a:lnTo>
                    <a:pt x="517" y="342"/>
                  </a:lnTo>
                  <a:lnTo>
                    <a:pt x="527" y="352"/>
                  </a:lnTo>
                  <a:lnTo>
                    <a:pt x="507" y="352"/>
                  </a:lnTo>
                  <a:lnTo>
                    <a:pt x="497" y="352"/>
                  </a:lnTo>
                  <a:lnTo>
                    <a:pt x="507" y="371"/>
                  </a:lnTo>
                  <a:lnTo>
                    <a:pt x="497" y="391"/>
                  </a:lnTo>
                  <a:lnTo>
                    <a:pt x="507" y="400"/>
                  </a:lnTo>
                  <a:lnTo>
                    <a:pt x="517" y="400"/>
                  </a:lnTo>
                  <a:lnTo>
                    <a:pt x="507" y="420"/>
                  </a:lnTo>
                  <a:lnTo>
                    <a:pt x="507" y="439"/>
                  </a:lnTo>
                  <a:lnTo>
                    <a:pt x="488" y="459"/>
                  </a:lnTo>
                  <a:lnTo>
                    <a:pt x="497" y="46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2" name="Freeform 170"/>
            <p:cNvSpPr>
              <a:spLocks/>
            </p:cNvSpPr>
            <p:nvPr/>
          </p:nvSpPr>
          <p:spPr bwMode="auto">
            <a:xfrm>
              <a:off x="2583" y="1533"/>
              <a:ext cx="1317" cy="720"/>
            </a:xfrm>
            <a:custGeom>
              <a:avLst/>
              <a:gdLst/>
              <a:ahLst/>
              <a:cxnLst>
                <a:cxn ang="0">
                  <a:pos x="371" y="644"/>
                </a:cxn>
                <a:cxn ang="0">
                  <a:pos x="439" y="644"/>
                </a:cxn>
                <a:cxn ang="0">
                  <a:pos x="488" y="654"/>
                </a:cxn>
                <a:cxn ang="0">
                  <a:pos x="585" y="702"/>
                </a:cxn>
                <a:cxn ang="0">
                  <a:pos x="673" y="673"/>
                </a:cxn>
                <a:cxn ang="0">
                  <a:pos x="702" y="644"/>
                </a:cxn>
                <a:cxn ang="0">
                  <a:pos x="741" y="566"/>
                </a:cxn>
                <a:cxn ang="0">
                  <a:pos x="819" y="507"/>
                </a:cxn>
                <a:cxn ang="0">
                  <a:pos x="839" y="458"/>
                </a:cxn>
                <a:cxn ang="0">
                  <a:pos x="868" y="419"/>
                </a:cxn>
                <a:cxn ang="0">
                  <a:pos x="897" y="439"/>
                </a:cxn>
                <a:cxn ang="0">
                  <a:pos x="966" y="419"/>
                </a:cxn>
                <a:cxn ang="0">
                  <a:pos x="1044" y="410"/>
                </a:cxn>
                <a:cxn ang="0">
                  <a:pos x="1092" y="380"/>
                </a:cxn>
                <a:cxn ang="0">
                  <a:pos x="1122" y="361"/>
                </a:cxn>
                <a:cxn ang="0">
                  <a:pos x="1190" y="361"/>
                </a:cxn>
                <a:cxn ang="0">
                  <a:pos x="1239" y="341"/>
                </a:cxn>
                <a:cxn ang="0">
                  <a:pos x="1307" y="322"/>
                </a:cxn>
                <a:cxn ang="0">
                  <a:pos x="1307" y="312"/>
                </a:cxn>
                <a:cxn ang="0">
                  <a:pos x="1307" y="273"/>
                </a:cxn>
                <a:cxn ang="0">
                  <a:pos x="1307" y="224"/>
                </a:cxn>
                <a:cxn ang="0">
                  <a:pos x="1258" y="214"/>
                </a:cxn>
                <a:cxn ang="0">
                  <a:pos x="1229" y="244"/>
                </a:cxn>
                <a:cxn ang="0">
                  <a:pos x="1190" y="234"/>
                </a:cxn>
                <a:cxn ang="0">
                  <a:pos x="1151" y="253"/>
                </a:cxn>
                <a:cxn ang="0">
                  <a:pos x="1092" y="273"/>
                </a:cxn>
                <a:cxn ang="0">
                  <a:pos x="1005" y="234"/>
                </a:cxn>
                <a:cxn ang="0">
                  <a:pos x="848" y="127"/>
                </a:cxn>
                <a:cxn ang="0">
                  <a:pos x="780" y="68"/>
                </a:cxn>
                <a:cxn ang="0">
                  <a:pos x="712" y="19"/>
                </a:cxn>
                <a:cxn ang="0">
                  <a:pos x="595" y="10"/>
                </a:cxn>
                <a:cxn ang="0">
                  <a:pos x="478" y="58"/>
                </a:cxn>
                <a:cxn ang="0">
                  <a:pos x="497" y="107"/>
                </a:cxn>
                <a:cxn ang="0">
                  <a:pos x="449" y="175"/>
                </a:cxn>
                <a:cxn ang="0">
                  <a:pos x="410" y="136"/>
                </a:cxn>
                <a:cxn ang="0">
                  <a:pos x="371" y="136"/>
                </a:cxn>
                <a:cxn ang="0">
                  <a:pos x="341" y="97"/>
                </a:cxn>
                <a:cxn ang="0">
                  <a:pos x="283" y="49"/>
                </a:cxn>
                <a:cxn ang="0">
                  <a:pos x="253" y="49"/>
                </a:cxn>
                <a:cxn ang="0">
                  <a:pos x="263" y="136"/>
                </a:cxn>
                <a:cxn ang="0">
                  <a:pos x="224" y="166"/>
                </a:cxn>
                <a:cxn ang="0">
                  <a:pos x="214" y="195"/>
                </a:cxn>
                <a:cxn ang="0">
                  <a:pos x="166" y="224"/>
                </a:cxn>
                <a:cxn ang="0">
                  <a:pos x="156" y="263"/>
                </a:cxn>
                <a:cxn ang="0">
                  <a:pos x="205" y="283"/>
                </a:cxn>
                <a:cxn ang="0">
                  <a:pos x="253" y="253"/>
                </a:cxn>
                <a:cxn ang="0">
                  <a:pos x="234" y="341"/>
                </a:cxn>
                <a:cxn ang="0">
                  <a:pos x="195" y="390"/>
                </a:cxn>
                <a:cxn ang="0">
                  <a:pos x="146" y="410"/>
                </a:cxn>
                <a:cxn ang="0">
                  <a:pos x="88" y="400"/>
                </a:cxn>
                <a:cxn ang="0">
                  <a:pos x="58" y="468"/>
                </a:cxn>
                <a:cxn ang="0">
                  <a:pos x="10" y="488"/>
                </a:cxn>
                <a:cxn ang="0">
                  <a:pos x="19" y="527"/>
                </a:cxn>
                <a:cxn ang="0">
                  <a:pos x="19" y="566"/>
                </a:cxn>
                <a:cxn ang="0">
                  <a:pos x="10" y="595"/>
                </a:cxn>
                <a:cxn ang="0">
                  <a:pos x="88" y="566"/>
                </a:cxn>
                <a:cxn ang="0">
                  <a:pos x="146" y="585"/>
                </a:cxn>
                <a:cxn ang="0">
                  <a:pos x="195" y="595"/>
                </a:cxn>
                <a:cxn ang="0">
                  <a:pos x="224" y="556"/>
                </a:cxn>
                <a:cxn ang="0">
                  <a:pos x="263" y="546"/>
                </a:cxn>
                <a:cxn ang="0">
                  <a:pos x="322" y="575"/>
                </a:cxn>
              </a:cxnLst>
              <a:rect l="0" t="0" r="r" b="b"/>
              <a:pathLst>
                <a:path w="1317" h="722">
                  <a:moveTo>
                    <a:pt x="322" y="605"/>
                  </a:moveTo>
                  <a:lnTo>
                    <a:pt x="341" y="595"/>
                  </a:lnTo>
                  <a:lnTo>
                    <a:pt x="371" y="644"/>
                  </a:lnTo>
                  <a:lnTo>
                    <a:pt x="410" y="634"/>
                  </a:lnTo>
                  <a:lnTo>
                    <a:pt x="419" y="654"/>
                  </a:lnTo>
                  <a:lnTo>
                    <a:pt x="439" y="644"/>
                  </a:lnTo>
                  <a:lnTo>
                    <a:pt x="449" y="663"/>
                  </a:lnTo>
                  <a:lnTo>
                    <a:pt x="478" y="663"/>
                  </a:lnTo>
                  <a:lnTo>
                    <a:pt x="488" y="654"/>
                  </a:lnTo>
                  <a:lnTo>
                    <a:pt x="507" y="663"/>
                  </a:lnTo>
                  <a:lnTo>
                    <a:pt x="546" y="683"/>
                  </a:lnTo>
                  <a:lnTo>
                    <a:pt x="585" y="702"/>
                  </a:lnTo>
                  <a:lnTo>
                    <a:pt x="624" y="722"/>
                  </a:lnTo>
                  <a:lnTo>
                    <a:pt x="653" y="702"/>
                  </a:lnTo>
                  <a:lnTo>
                    <a:pt x="673" y="673"/>
                  </a:lnTo>
                  <a:lnTo>
                    <a:pt x="692" y="663"/>
                  </a:lnTo>
                  <a:lnTo>
                    <a:pt x="712" y="654"/>
                  </a:lnTo>
                  <a:lnTo>
                    <a:pt x="702" y="644"/>
                  </a:lnTo>
                  <a:lnTo>
                    <a:pt x="722" y="614"/>
                  </a:lnTo>
                  <a:lnTo>
                    <a:pt x="722" y="585"/>
                  </a:lnTo>
                  <a:lnTo>
                    <a:pt x="741" y="566"/>
                  </a:lnTo>
                  <a:lnTo>
                    <a:pt x="780" y="536"/>
                  </a:lnTo>
                  <a:lnTo>
                    <a:pt x="800" y="527"/>
                  </a:lnTo>
                  <a:lnTo>
                    <a:pt x="819" y="507"/>
                  </a:lnTo>
                  <a:lnTo>
                    <a:pt x="819" y="488"/>
                  </a:lnTo>
                  <a:lnTo>
                    <a:pt x="839" y="468"/>
                  </a:lnTo>
                  <a:lnTo>
                    <a:pt x="839" y="458"/>
                  </a:lnTo>
                  <a:lnTo>
                    <a:pt x="848" y="449"/>
                  </a:lnTo>
                  <a:lnTo>
                    <a:pt x="848" y="429"/>
                  </a:lnTo>
                  <a:lnTo>
                    <a:pt x="868" y="419"/>
                  </a:lnTo>
                  <a:lnTo>
                    <a:pt x="888" y="419"/>
                  </a:lnTo>
                  <a:lnTo>
                    <a:pt x="897" y="429"/>
                  </a:lnTo>
                  <a:lnTo>
                    <a:pt x="897" y="439"/>
                  </a:lnTo>
                  <a:lnTo>
                    <a:pt x="936" y="439"/>
                  </a:lnTo>
                  <a:lnTo>
                    <a:pt x="946" y="439"/>
                  </a:lnTo>
                  <a:lnTo>
                    <a:pt x="966" y="419"/>
                  </a:lnTo>
                  <a:lnTo>
                    <a:pt x="995" y="410"/>
                  </a:lnTo>
                  <a:lnTo>
                    <a:pt x="1024" y="410"/>
                  </a:lnTo>
                  <a:lnTo>
                    <a:pt x="1044" y="410"/>
                  </a:lnTo>
                  <a:lnTo>
                    <a:pt x="1063" y="400"/>
                  </a:lnTo>
                  <a:lnTo>
                    <a:pt x="1073" y="400"/>
                  </a:lnTo>
                  <a:lnTo>
                    <a:pt x="1092" y="380"/>
                  </a:lnTo>
                  <a:lnTo>
                    <a:pt x="1102" y="380"/>
                  </a:lnTo>
                  <a:lnTo>
                    <a:pt x="1122" y="371"/>
                  </a:lnTo>
                  <a:lnTo>
                    <a:pt x="1122" y="361"/>
                  </a:lnTo>
                  <a:lnTo>
                    <a:pt x="1141" y="361"/>
                  </a:lnTo>
                  <a:lnTo>
                    <a:pt x="1161" y="361"/>
                  </a:lnTo>
                  <a:lnTo>
                    <a:pt x="1190" y="361"/>
                  </a:lnTo>
                  <a:lnTo>
                    <a:pt x="1209" y="361"/>
                  </a:lnTo>
                  <a:lnTo>
                    <a:pt x="1229" y="351"/>
                  </a:lnTo>
                  <a:lnTo>
                    <a:pt x="1239" y="341"/>
                  </a:lnTo>
                  <a:lnTo>
                    <a:pt x="1258" y="341"/>
                  </a:lnTo>
                  <a:lnTo>
                    <a:pt x="1287" y="332"/>
                  </a:lnTo>
                  <a:lnTo>
                    <a:pt x="1307" y="322"/>
                  </a:lnTo>
                  <a:lnTo>
                    <a:pt x="1287" y="312"/>
                  </a:lnTo>
                  <a:lnTo>
                    <a:pt x="1307" y="312"/>
                  </a:lnTo>
                  <a:lnTo>
                    <a:pt x="1317" y="302"/>
                  </a:lnTo>
                  <a:lnTo>
                    <a:pt x="1317" y="293"/>
                  </a:lnTo>
                  <a:lnTo>
                    <a:pt x="1307" y="273"/>
                  </a:lnTo>
                  <a:lnTo>
                    <a:pt x="1297" y="253"/>
                  </a:lnTo>
                  <a:lnTo>
                    <a:pt x="1297" y="244"/>
                  </a:lnTo>
                  <a:lnTo>
                    <a:pt x="1307" y="224"/>
                  </a:lnTo>
                  <a:lnTo>
                    <a:pt x="1297" y="214"/>
                  </a:lnTo>
                  <a:lnTo>
                    <a:pt x="1268" y="205"/>
                  </a:lnTo>
                  <a:lnTo>
                    <a:pt x="1258" y="214"/>
                  </a:lnTo>
                  <a:lnTo>
                    <a:pt x="1248" y="224"/>
                  </a:lnTo>
                  <a:lnTo>
                    <a:pt x="1239" y="224"/>
                  </a:lnTo>
                  <a:lnTo>
                    <a:pt x="1229" y="244"/>
                  </a:lnTo>
                  <a:lnTo>
                    <a:pt x="1209" y="244"/>
                  </a:lnTo>
                  <a:lnTo>
                    <a:pt x="1200" y="234"/>
                  </a:lnTo>
                  <a:lnTo>
                    <a:pt x="1190" y="234"/>
                  </a:lnTo>
                  <a:lnTo>
                    <a:pt x="1170" y="234"/>
                  </a:lnTo>
                  <a:lnTo>
                    <a:pt x="1161" y="253"/>
                  </a:lnTo>
                  <a:lnTo>
                    <a:pt x="1151" y="253"/>
                  </a:lnTo>
                  <a:lnTo>
                    <a:pt x="1131" y="263"/>
                  </a:lnTo>
                  <a:lnTo>
                    <a:pt x="1112" y="263"/>
                  </a:lnTo>
                  <a:lnTo>
                    <a:pt x="1092" y="273"/>
                  </a:lnTo>
                  <a:lnTo>
                    <a:pt x="1083" y="273"/>
                  </a:lnTo>
                  <a:lnTo>
                    <a:pt x="1053" y="263"/>
                  </a:lnTo>
                  <a:lnTo>
                    <a:pt x="1005" y="234"/>
                  </a:lnTo>
                  <a:lnTo>
                    <a:pt x="956" y="195"/>
                  </a:lnTo>
                  <a:lnTo>
                    <a:pt x="907" y="166"/>
                  </a:lnTo>
                  <a:lnTo>
                    <a:pt x="848" y="127"/>
                  </a:lnTo>
                  <a:lnTo>
                    <a:pt x="839" y="107"/>
                  </a:lnTo>
                  <a:lnTo>
                    <a:pt x="819" y="97"/>
                  </a:lnTo>
                  <a:lnTo>
                    <a:pt x="780" y="68"/>
                  </a:lnTo>
                  <a:lnTo>
                    <a:pt x="761" y="49"/>
                  </a:lnTo>
                  <a:lnTo>
                    <a:pt x="741" y="19"/>
                  </a:lnTo>
                  <a:lnTo>
                    <a:pt x="712" y="19"/>
                  </a:lnTo>
                  <a:lnTo>
                    <a:pt x="692" y="19"/>
                  </a:lnTo>
                  <a:lnTo>
                    <a:pt x="663" y="19"/>
                  </a:lnTo>
                  <a:lnTo>
                    <a:pt x="595" y="10"/>
                  </a:lnTo>
                  <a:lnTo>
                    <a:pt x="546" y="0"/>
                  </a:lnTo>
                  <a:lnTo>
                    <a:pt x="497" y="49"/>
                  </a:lnTo>
                  <a:lnTo>
                    <a:pt x="478" y="58"/>
                  </a:lnTo>
                  <a:lnTo>
                    <a:pt x="468" y="78"/>
                  </a:lnTo>
                  <a:lnTo>
                    <a:pt x="497" y="88"/>
                  </a:lnTo>
                  <a:lnTo>
                    <a:pt x="497" y="107"/>
                  </a:lnTo>
                  <a:lnTo>
                    <a:pt x="478" y="136"/>
                  </a:lnTo>
                  <a:lnTo>
                    <a:pt x="478" y="156"/>
                  </a:lnTo>
                  <a:lnTo>
                    <a:pt x="449" y="175"/>
                  </a:lnTo>
                  <a:lnTo>
                    <a:pt x="439" y="146"/>
                  </a:lnTo>
                  <a:lnTo>
                    <a:pt x="429" y="156"/>
                  </a:lnTo>
                  <a:lnTo>
                    <a:pt x="410" y="136"/>
                  </a:lnTo>
                  <a:lnTo>
                    <a:pt x="390" y="136"/>
                  </a:lnTo>
                  <a:lnTo>
                    <a:pt x="380" y="136"/>
                  </a:lnTo>
                  <a:lnTo>
                    <a:pt x="371" y="136"/>
                  </a:lnTo>
                  <a:lnTo>
                    <a:pt x="361" y="127"/>
                  </a:lnTo>
                  <a:lnTo>
                    <a:pt x="361" y="117"/>
                  </a:lnTo>
                  <a:lnTo>
                    <a:pt x="341" y="97"/>
                  </a:lnTo>
                  <a:lnTo>
                    <a:pt x="322" y="78"/>
                  </a:lnTo>
                  <a:lnTo>
                    <a:pt x="292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53" y="39"/>
                  </a:lnTo>
                  <a:lnTo>
                    <a:pt x="253" y="49"/>
                  </a:lnTo>
                  <a:lnTo>
                    <a:pt x="253" y="68"/>
                  </a:lnTo>
                  <a:lnTo>
                    <a:pt x="263" y="107"/>
                  </a:lnTo>
                  <a:lnTo>
                    <a:pt x="263" y="136"/>
                  </a:lnTo>
                  <a:lnTo>
                    <a:pt x="253" y="146"/>
                  </a:lnTo>
                  <a:lnTo>
                    <a:pt x="234" y="156"/>
                  </a:lnTo>
                  <a:lnTo>
                    <a:pt x="224" y="166"/>
                  </a:lnTo>
                  <a:lnTo>
                    <a:pt x="244" y="185"/>
                  </a:lnTo>
                  <a:lnTo>
                    <a:pt x="244" y="195"/>
                  </a:lnTo>
                  <a:lnTo>
                    <a:pt x="214" y="195"/>
                  </a:lnTo>
                  <a:lnTo>
                    <a:pt x="195" y="205"/>
                  </a:lnTo>
                  <a:lnTo>
                    <a:pt x="185" y="224"/>
                  </a:lnTo>
                  <a:lnTo>
                    <a:pt x="166" y="224"/>
                  </a:lnTo>
                  <a:lnTo>
                    <a:pt x="166" y="244"/>
                  </a:lnTo>
                  <a:lnTo>
                    <a:pt x="166" y="253"/>
                  </a:lnTo>
                  <a:lnTo>
                    <a:pt x="156" y="263"/>
                  </a:lnTo>
                  <a:lnTo>
                    <a:pt x="166" y="273"/>
                  </a:lnTo>
                  <a:lnTo>
                    <a:pt x="175" y="263"/>
                  </a:lnTo>
                  <a:lnTo>
                    <a:pt x="205" y="283"/>
                  </a:lnTo>
                  <a:lnTo>
                    <a:pt x="234" y="263"/>
                  </a:lnTo>
                  <a:lnTo>
                    <a:pt x="234" y="273"/>
                  </a:lnTo>
                  <a:lnTo>
                    <a:pt x="253" y="253"/>
                  </a:lnTo>
                  <a:lnTo>
                    <a:pt x="292" y="293"/>
                  </a:lnTo>
                  <a:lnTo>
                    <a:pt x="283" y="312"/>
                  </a:lnTo>
                  <a:lnTo>
                    <a:pt x="234" y="341"/>
                  </a:lnTo>
                  <a:lnTo>
                    <a:pt x="195" y="351"/>
                  </a:lnTo>
                  <a:lnTo>
                    <a:pt x="175" y="371"/>
                  </a:lnTo>
                  <a:lnTo>
                    <a:pt x="195" y="390"/>
                  </a:lnTo>
                  <a:lnTo>
                    <a:pt x="166" y="419"/>
                  </a:lnTo>
                  <a:lnTo>
                    <a:pt x="146" y="419"/>
                  </a:lnTo>
                  <a:lnTo>
                    <a:pt x="146" y="410"/>
                  </a:lnTo>
                  <a:lnTo>
                    <a:pt x="127" y="400"/>
                  </a:lnTo>
                  <a:lnTo>
                    <a:pt x="97" y="400"/>
                  </a:lnTo>
                  <a:lnTo>
                    <a:pt x="88" y="400"/>
                  </a:lnTo>
                  <a:lnTo>
                    <a:pt x="68" y="429"/>
                  </a:lnTo>
                  <a:lnTo>
                    <a:pt x="58" y="449"/>
                  </a:lnTo>
                  <a:lnTo>
                    <a:pt x="58" y="468"/>
                  </a:lnTo>
                  <a:lnTo>
                    <a:pt x="49" y="468"/>
                  </a:lnTo>
                  <a:lnTo>
                    <a:pt x="39" y="468"/>
                  </a:lnTo>
                  <a:lnTo>
                    <a:pt x="10" y="488"/>
                  </a:lnTo>
                  <a:lnTo>
                    <a:pt x="10" y="497"/>
                  </a:lnTo>
                  <a:lnTo>
                    <a:pt x="10" y="507"/>
                  </a:lnTo>
                  <a:lnTo>
                    <a:pt x="19" y="527"/>
                  </a:lnTo>
                  <a:lnTo>
                    <a:pt x="10" y="546"/>
                  </a:lnTo>
                  <a:lnTo>
                    <a:pt x="19" y="566"/>
                  </a:lnTo>
                  <a:lnTo>
                    <a:pt x="0" y="575"/>
                  </a:lnTo>
                  <a:lnTo>
                    <a:pt x="10" y="585"/>
                  </a:lnTo>
                  <a:lnTo>
                    <a:pt x="10" y="595"/>
                  </a:lnTo>
                  <a:lnTo>
                    <a:pt x="29" y="575"/>
                  </a:lnTo>
                  <a:lnTo>
                    <a:pt x="58" y="556"/>
                  </a:lnTo>
                  <a:lnTo>
                    <a:pt x="88" y="566"/>
                  </a:lnTo>
                  <a:lnTo>
                    <a:pt x="117" y="585"/>
                  </a:lnTo>
                  <a:lnTo>
                    <a:pt x="136" y="575"/>
                  </a:lnTo>
                  <a:lnTo>
                    <a:pt x="146" y="585"/>
                  </a:lnTo>
                  <a:lnTo>
                    <a:pt x="146" y="605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05" y="614"/>
                  </a:lnTo>
                  <a:lnTo>
                    <a:pt x="224" y="595"/>
                  </a:lnTo>
                  <a:lnTo>
                    <a:pt x="224" y="556"/>
                  </a:lnTo>
                  <a:lnTo>
                    <a:pt x="234" y="546"/>
                  </a:lnTo>
                  <a:lnTo>
                    <a:pt x="253" y="556"/>
                  </a:lnTo>
                  <a:lnTo>
                    <a:pt x="263" y="546"/>
                  </a:lnTo>
                  <a:lnTo>
                    <a:pt x="273" y="556"/>
                  </a:lnTo>
                  <a:lnTo>
                    <a:pt x="292" y="546"/>
                  </a:lnTo>
                  <a:lnTo>
                    <a:pt x="322" y="575"/>
                  </a:lnTo>
                  <a:lnTo>
                    <a:pt x="312" y="585"/>
                  </a:lnTo>
                  <a:lnTo>
                    <a:pt x="322" y="60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3" name="Freeform 169"/>
            <p:cNvSpPr>
              <a:spLocks/>
            </p:cNvSpPr>
            <p:nvPr/>
          </p:nvSpPr>
          <p:spPr bwMode="auto">
            <a:xfrm>
              <a:off x="2293" y="1179"/>
              <a:ext cx="839" cy="773"/>
            </a:xfrm>
            <a:custGeom>
              <a:avLst/>
              <a:gdLst/>
              <a:ahLst/>
              <a:cxnLst>
                <a:cxn ang="0">
                  <a:pos x="449" y="761"/>
                </a:cxn>
                <a:cxn ang="0">
                  <a:pos x="478" y="722"/>
                </a:cxn>
                <a:cxn ang="0">
                  <a:pos x="585" y="644"/>
                </a:cxn>
                <a:cxn ang="0">
                  <a:pos x="498" y="634"/>
                </a:cxn>
                <a:cxn ang="0">
                  <a:pos x="459" y="604"/>
                </a:cxn>
                <a:cxn ang="0">
                  <a:pos x="488" y="556"/>
                </a:cxn>
                <a:cxn ang="0">
                  <a:pos x="517" y="517"/>
                </a:cxn>
                <a:cxn ang="0">
                  <a:pos x="556" y="458"/>
                </a:cxn>
                <a:cxn ang="0">
                  <a:pos x="566" y="390"/>
                </a:cxn>
                <a:cxn ang="0">
                  <a:pos x="634" y="448"/>
                </a:cxn>
                <a:cxn ang="0">
                  <a:pos x="673" y="487"/>
                </a:cxn>
                <a:cxn ang="0">
                  <a:pos x="732" y="497"/>
                </a:cxn>
                <a:cxn ang="0">
                  <a:pos x="790" y="458"/>
                </a:cxn>
                <a:cxn ang="0">
                  <a:pos x="790" y="400"/>
                </a:cxn>
                <a:cxn ang="0">
                  <a:pos x="771" y="331"/>
                </a:cxn>
                <a:cxn ang="0">
                  <a:pos x="742" y="263"/>
                </a:cxn>
                <a:cxn ang="0">
                  <a:pos x="693" y="185"/>
                </a:cxn>
                <a:cxn ang="0">
                  <a:pos x="673" y="185"/>
                </a:cxn>
                <a:cxn ang="0">
                  <a:pos x="664" y="165"/>
                </a:cxn>
                <a:cxn ang="0">
                  <a:pos x="654" y="107"/>
                </a:cxn>
                <a:cxn ang="0">
                  <a:pos x="576" y="97"/>
                </a:cxn>
                <a:cxn ang="0">
                  <a:pos x="498" y="78"/>
                </a:cxn>
                <a:cxn ang="0">
                  <a:pos x="449" y="156"/>
                </a:cxn>
                <a:cxn ang="0">
                  <a:pos x="420" y="156"/>
                </a:cxn>
                <a:cxn ang="0">
                  <a:pos x="390" y="136"/>
                </a:cxn>
                <a:cxn ang="0">
                  <a:pos x="361" y="87"/>
                </a:cxn>
                <a:cxn ang="0">
                  <a:pos x="371" y="78"/>
                </a:cxn>
                <a:cxn ang="0">
                  <a:pos x="371" y="9"/>
                </a:cxn>
                <a:cxn ang="0">
                  <a:pos x="332" y="9"/>
                </a:cxn>
                <a:cxn ang="0">
                  <a:pos x="303" y="48"/>
                </a:cxn>
                <a:cxn ang="0">
                  <a:pos x="312" y="107"/>
                </a:cxn>
                <a:cxn ang="0">
                  <a:pos x="264" y="126"/>
                </a:cxn>
                <a:cxn ang="0">
                  <a:pos x="234" y="78"/>
                </a:cxn>
                <a:cxn ang="0">
                  <a:pos x="186" y="58"/>
                </a:cxn>
                <a:cxn ang="0">
                  <a:pos x="147" y="117"/>
                </a:cxn>
                <a:cxn ang="0">
                  <a:pos x="156" y="185"/>
                </a:cxn>
                <a:cxn ang="0">
                  <a:pos x="88" y="243"/>
                </a:cxn>
                <a:cxn ang="0">
                  <a:pos x="20" y="302"/>
                </a:cxn>
                <a:cxn ang="0">
                  <a:pos x="0" y="380"/>
                </a:cxn>
                <a:cxn ang="0">
                  <a:pos x="49" y="439"/>
                </a:cxn>
                <a:cxn ang="0">
                  <a:pos x="88" y="487"/>
                </a:cxn>
                <a:cxn ang="0">
                  <a:pos x="127" y="517"/>
                </a:cxn>
                <a:cxn ang="0">
                  <a:pos x="186" y="575"/>
                </a:cxn>
                <a:cxn ang="0">
                  <a:pos x="225" y="595"/>
                </a:cxn>
                <a:cxn ang="0">
                  <a:pos x="273" y="624"/>
                </a:cxn>
                <a:cxn ang="0">
                  <a:pos x="303" y="663"/>
                </a:cxn>
                <a:cxn ang="0">
                  <a:pos x="332" y="702"/>
                </a:cxn>
                <a:cxn ang="0">
                  <a:pos x="381" y="751"/>
                </a:cxn>
              </a:cxnLst>
              <a:rect l="0" t="0" r="r" b="b"/>
              <a:pathLst>
                <a:path w="839" h="770">
                  <a:moveTo>
                    <a:pt x="381" y="751"/>
                  </a:moveTo>
                  <a:lnTo>
                    <a:pt x="390" y="751"/>
                  </a:lnTo>
                  <a:lnTo>
                    <a:pt x="420" y="751"/>
                  </a:lnTo>
                  <a:lnTo>
                    <a:pt x="449" y="761"/>
                  </a:lnTo>
                  <a:lnTo>
                    <a:pt x="449" y="770"/>
                  </a:lnTo>
                  <a:lnTo>
                    <a:pt x="459" y="770"/>
                  </a:lnTo>
                  <a:lnTo>
                    <a:pt x="488" y="741"/>
                  </a:lnTo>
                  <a:lnTo>
                    <a:pt x="478" y="722"/>
                  </a:lnTo>
                  <a:lnTo>
                    <a:pt x="488" y="702"/>
                  </a:lnTo>
                  <a:lnTo>
                    <a:pt x="537" y="692"/>
                  </a:lnTo>
                  <a:lnTo>
                    <a:pt x="576" y="663"/>
                  </a:lnTo>
                  <a:lnTo>
                    <a:pt x="585" y="644"/>
                  </a:lnTo>
                  <a:lnTo>
                    <a:pt x="546" y="614"/>
                  </a:lnTo>
                  <a:lnTo>
                    <a:pt x="537" y="624"/>
                  </a:lnTo>
                  <a:lnTo>
                    <a:pt x="527" y="614"/>
                  </a:lnTo>
                  <a:lnTo>
                    <a:pt x="498" y="634"/>
                  </a:lnTo>
                  <a:lnTo>
                    <a:pt x="478" y="624"/>
                  </a:lnTo>
                  <a:lnTo>
                    <a:pt x="459" y="624"/>
                  </a:lnTo>
                  <a:lnTo>
                    <a:pt x="449" y="614"/>
                  </a:lnTo>
                  <a:lnTo>
                    <a:pt x="459" y="604"/>
                  </a:lnTo>
                  <a:lnTo>
                    <a:pt x="459" y="595"/>
                  </a:lnTo>
                  <a:lnTo>
                    <a:pt x="468" y="575"/>
                  </a:lnTo>
                  <a:lnTo>
                    <a:pt x="478" y="575"/>
                  </a:lnTo>
                  <a:lnTo>
                    <a:pt x="488" y="556"/>
                  </a:lnTo>
                  <a:lnTo>
                    <a:pt x="507" y="556"/>
                  </a:lnTo>
                  <a:lnTo>
                    <a:pt x="537" y="546"/>
                  </a:lnTo>
                  <a:lnTo>
                    <a:pt x="537" y="536"/>
                  </a:lnTo>
                  <a:lnTo>
                    <a:pt x="517" y="517"/>
                  </a:lnTo>
                  <a:lnTo>
                    <a:pt x="537" y="507"/>
                  </a:lnTo>
                  <a:lnTo>
                    <a:pt x="546" y="497"/>
                  </a:lnTo>
                  <a:lnTo>
                    <a:pt x="556" y="487"/>
                  </a:lnTo>
                  <a:lnTo>
                    <a:pt x="556" y="458"/>
                  </a:lnTo>
                  <a:lnTo>
                    <a:pt x="546" y="419"/>
                  </a:lnTo>
                  <a:lnTo>
                    <a:pt x="546" y="400"/>
                  </a:lnTo>
                  <a:lnTo>
                    <a:pt x="546" y="390"/>
                  </a:lnTo>
                  <a:lnTo>
                    <a:pt x="566" y="390"/>
                  </a:lnTo>
                  <a:lnTo>
                    <a:pt x="576" y="400"/>
                  </a:lnTo>
                  <a:lnTo>
                    <a:pt x="595" y="419"/>
                  </a:lnTo>
                  <a:lnTo>
                    <a:pt x="615" y="429"/>
                  </a:lnTo>
                  <a:lnTo>
                    <a:pt x="634" y="448"/>
                  </a:lnTo>
                  <a:lnTo>
                    <a:pt x="654" y="468"/>
                  </a:lnTo>
                  <a:lnTo>
                    <a:pt x="654" y="478"/>
                  </a:lnTo>
                  <a:lnTo>
                    <a:pt x="664" y="487"/>
                  </a:lnTo>
                  <a:lnTo>
                    <a:pt x="673" y="487"/>
                  </a:lnTo>
                  <a:lnTo>
                    <a:pt x="693" y="497"/>
                  </a:lnTo>
                  <a:lnTo>
                    <a:pt x="703" y="487"/>
                  </a:lnTo>
                  <a:lnTo>
                    <a:pt x="722" y="507"/>
                  </a:lnTo>
                  <a:lnTo>
                    <a:pt x="732" y="497"/>
                  </a:lnTo>
                  <a:lnTo>
                    <a:pt x="751" y="526"/>
                  </a:lnTo>
                  <a:lnTo>
                    <a:pt x="781" y="507"/>
                  </a:lnTo>
                  <a:lnTo>
                    <a:pt x="771" y="487"/>
                  </a:lnTo>
                  <a:lnTo>
                    <a:pt x="790" y="458"/>
                  </a:lnTo>
                  <a:lnTo>
                    <a:pt x="790" y="439"/>
                  </a:lnTo>
                  <a:lnTo>
                    <a:pt x="761" y="429"/>
                  </a:lnTo>
                  <a:lnTo>
                    <a:pt x="771" y="419"/>
                  </a:lnTo>
                  <a:lnTo>
                    <a:pt x="790" y="400"/>
                  </a:lnTo>
                  <a:lnTo>
                    <a:pt x="839" y="351"/>
                  </a:lnTo>
                  <a:lnTo>
                    <a:pt x="820" y="341"/>
                  </a:lnTo>
                  <a:lnTo>
                    <a:pt x="800" y="322"/>
                  </a:lnTo>
                  <a:lnTo>
                    <a:pt x="771" y="331"/>
                  </a:lnTo>
                  <a:lnTo>
                    <a:pt x="751" y="312"/>
                  </a:lnTo>
                  <a:lnTo>
                    <a:pt x="742" y="292"/>
                  </a:lnTo>
                  <a:lnTo>
                    <a:pt x="742" y="263"/>
                  </a:lnTo>
                  <a:lnTo>
                    <a:pt x="722" y="243"/>
                  </a:lnTo>
                  <a:lnTo>
                    <a:pt x="712" y="204"/>
                  </a:lnTo>
                  <a:lnTo>
                    <a:pt x="703" y="175"/>
                  </a:lnTo>
                  <a:lnTo>
                    <a:pt x="693" y="185"/>
                  </a:lnTo>
                  <a:lnTo>
                    <a:pt x="673" y="204"/>
                  </a:lnTo>
                  <a:lnTo>
                    <a:pt x="654" y="214"/>
                  </a:lnTo>
                  <a:lnTo>
                    <a:pt x="654" y="204"/>
                  </a:lnTo>
                  <a:lnTo>
                    <a:pt x="673" y="185"/>
                  </a:lnTo>
                  <a:lnTo>
                    <a:pt x="664" y="175"/>
                  </a:lnTo>
                  <a:lnTo>
                    <a:pt x="644" y="175"/>
                  </a:lnTo>
                  <a:lnTo>
                    <a:pt x="644" y="165"/>
                  </a:lnTo>
                  <a:lnTo>
                    <a:pt x="664" y="165"/>
                  </a:lnTo>
                  <a:lnTo>
                    <a:pt x="673" y="165"/>
                  </a:lnTo>
                  <a:lnTo>
                    <a:pt x="673" y="136"/>
                  </a:lnTo>
                  <a:lnTo>
                    <a:pt x="654" y="126"/>
                  </a:lnTo>
                  <a:lnTo>
                    <a:pt x="654" y="107"/>
                  </a:lnTo>
                  <a:lnTo>
                    <a:pt x="644" y="107"/>
                  </a:lnTo>
                  <a:lnTo>
                    <a:pt x="634" y="97"/>
                  </a:lnTo>
                  <a:lnTo>
                    <a:pt x="595" y="97"/>
                  </a:lnTo>
                  <a:lnTo>
                    <a:pt x="576" y="97"/>
                  </a:lnTo>
                  <a:lnTo>
                    <a:pt x="556" y="87"/>
                  </a:lnTo>
                  <a:lnTo>
                    <a:pt x="546" y="87"/>
                  </a:lnTo>
                  <a:lnTo>
                    <a:pt x="517" y="87"/>
                  </a:lnTo>
                  <a:lnTo>
                    <a:pt x="498" y="78"/>
                  </a:lnTo>
                  <a:lnTo>
                    <a:pt x="459" y="97"/>
                  </a:lnTo>
                  <a:lnTo>
                    <a:pt x="459" y="117"/>
                  </a:lnTo>
                  <a:lnTo>
                    <a:pt x="449" y="136"/>
                  </a:lnTo>
                  <a:lnTo>
                    <a:pt x="449" y="156"/>
                  </a:lnTo>
                  <a:lnTo>
                    <a:pt x="429" y="165"/>
                  </a:lnTo>
                  <a:lnTo>
                    <a:pt x="429" y="156"/>
                  </a:lnTo>
                  <a:lnTo>
                    <a:pt x="429" y="146"/>
                  </a:lnTo>
                  <a:lnTo>
                    <a:pt x="420" y="156"/>
                  </a:lnTo>
                  <a:lnTo>
                    <a:pt x="410" y="156"/>
                  </a:lnTo>
                  <a:lnTo>
                    <a:pt x="400" y="156"/>
                  </a:lnTo>
                  <a:lnTo>
                    <a:pt x="390" y="156"/>
                  </a:lnTo>
                  <a:lnTo>
                    <a:pt x="390" y="136"/>
                  </a:lnTo>
                  <a:lnTo>
                    <a:pt x="390" y="126"/>
                  </a:lnTo>
                  <a:lnTo>
                    <a:pt x="371" y="87"/>
                  </a:lnTo>
                  <a:lnTo>
                    <a:pt x="361" y="87"/>
                  </a:lnTo>
                  <a:lnTo>
                    <a:pt x="342" y="87"/>
                  </a:lnTo>
                  <a:lnTo>
                    <a:pt x="351" y="78"/>
                  </a:lnTo>
                  <a:lnTo>
                    <a:pt x="361" y="87"/>
                  </a:lnTo>
                  <a:lnTo>
                    <a:pt x="371" y="78"/>
                  </a:lnTo>
                  <a:lnTo>
                    <a:pt x="371" y="68"/>
                  </a:lnTo>
                  <a:lnTo>
                    <a:pt x="371" y="48"/>
                  </a:lnTo>
                  <a:lnTo>
                    <a:pt x="371" y="29"/>
                  </a:lnTo>
                  <a:lnTo>
                    <a:pt x="371" y="9"/>
                  </a:lnTo>
                  <a:lnTo>
                    <a:pt x="361" y="0"/>
                  </a:lnTo>
                  <a:lnTo>
                    <a:pt x="342" y="9"/>
                  </a:lnTo>
                  <a:lnTo>
                    <a:pt x="332" y="9"/>
                  </a:lnTo>
                  <a:lnTo>
                    <a:pt x="312" y="19"/>
                  </a:lnTo>
                  <a:lnTo>
                    <a:pt x="312" y="29"/>
                  </a:lnTo>
                  <a:lnTo>
                    <a:pt x="303" y="39"/>
                  </a:lnTo>
                  <a:lnTo>
                    <a:pt x="303" y="48"/>
                  </a:lnTo>
                  <a:lnTo>
                    <a:pt x="303" y="68"/>
                  </a:lnTo>
                  <a:lnTo>
                    <a:pt x="312" y="78"/>
                  </a:lnTo>
                  <a:lnTo>
                    <a:pt x="322" y="87"/>
                  </a:lnTo>
                  <a:lnTo>
                    <a:pt x="312" y="107"/>
                  </a:lnTo>
                  <a:lnTo>
                    <a:pt x="293" y="107"/>
                  </a:lnTo>
                  <a:lnTo>
                    <a:pt x="293" y="126"/>
                  </a:lnTo>
                  <a:lnTo>
                    <a:pt x="283" y="126"/>
                  </a:lnTo>
                  <a:lnTo>
                    <a:pt x="264" y="126"/>
                  </a:lnTo>
                  <a:lnTo>
                    <a:pt x="244" y="117"/>
                  </a:lnTo>
                  <a:lnTo>
                    <a:pt x="244" y="107"/>
                  </a:lnTo>
                  <a:lnTo>
                    <a:pt x="244" y="87"/>
                  </a:lnTo>
                  <a:lnTo>
                    <a:pt x="234" y="78"/>
                  </a:lnTo>
                  <a:lnTo>
                    <a:pt x="225" y="78"/>
                  </a:lnTo>
                  <a:lnTo>
                    <a:pt x="205" y="7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76" y="87"/>
                  </a:lnTo>
                  <a:lnTo>
                    <a:pt x="156" y="107"/>
                  </a:lnTo>
                  <a:lnTo>
                    <a:pt x="147" y="117"/>
                  </a:lnTo>
                  <a:lnTo>
                    <a:pt x="137" y="136"/>
                  </a:lnTo>
                  <a:lnTo>
                    <a:pt x="137" y="156"/>
                  </a:lnTo>
                  <a:lnTo>
                    <a:pt x="147" y="175"/>
                  </a:lnTo>
                  <a:lnTo>
                    <a:pt x="156" y="185"/>
                  </a:lnTo>
                  <a:lnTo>
                    <a:pt x="156" y="204"/>
                  </a:lnTo>
                  <a:lnTo>
                    <a:pt x="137" y="214"/>
                  </a:lnTo>
                  <a:lnTo>
                    <a:pt x="98" y="243"/>
                  </a:lnTo>
                  <a:lnTo>
                    <a:pt x="88" y="243"/>
                  </a:lnTo>
                  <a:lnTo>
                    <a:pt x="88" y="263"/>
                  </a:lnTo>
                  <a:lnTo>
                    <a:pt x="49" y="273"/>
                  </a:lnTo>
                  <a:lnTo>
                    <a:pt x="29" y="292"/>
                  </a:lnTo>
                  <a:lnTo>
                    <a:pt x="20" y="302"/>
                  </a:lnTo>
                  <a:lnTo>
                    <a:pt x="20" y="322"/>
                  </a:lnTo>
                  <a:lnTo>
                    <a:pt x="0" y="331"/>
                  </a:lnTo>
                  <a:lnTo>
                    <a:pt x="0" y="361"/>
                  </a:lnTo>
                  <a:lnTo>
                    <a:pt x="0" y="380"/>
                  </a:lnTo>
                  <a:lnTo>
                    <a:pt x="10" y="400"/>
                  </a:lnTo>
                  <a:lnTo>
                    <a:pt x="20" y="409"/>
                  </a:lnTo>
                  <a:lnTo>
                    <a:pt x="29" y="439"/>
                  </a:lnTo>
                  <a:lnTo>
                    <a:pt x="49" y="439"/>
                  </a:lnTo>
                  <a:lnTo>
                    <a:pt x="59" y="448"/>
                  </a:lnTo>
                  <a:lnTo>
                    <a:pt x="69" y="458"/>
                  </a:lnTo>
                  <a:lnTo>
                    <a:pt x="78" y="487"/>
                  </a:lnTo>
                  <a:lnTo>
                    <a:pt x="88" y="487"/>
                  </a:lnTo>
                  <a:lnTo>
                    <a:pt x="108" y="487"/>
                  </a:lnTo>
                  <a:lnTo>
                    <a:pt x="127" y="497"/>
                  </a:lnTo>
                  <a:lnTo>
                    <a:pt x="137" y="507"/>
                  </a:lnTo>
                  <a:lnTo>
                    <a:pt x="127" y="517"/>
                  </a:lnTo>
                  <a:lnTo>
                    <a:pt x="137" y="526"/>
                  </a:lnTo>
                  <a:lnTo>
                    <a:pt x="147" y="536"/>
                  </a:lnTo>
                  <a:lnTo>
                    <a:pt x="156" y="556"/>
                  </a:lnTo>
                  <a:lnTo>
                    <a:pt x="186" y="575"/>
                  </a:lnTo>
                  <a:lnTo>
                    <a:pt x="205" y="575"/>
                  </a:lnTo>
                  <a:lnTo>
                    <a:pt x="215" y="575"/>
                  </a:lnTo>
                  <a:lnTo>
                    <a:pt x="234" y="585"/>
                  </a:lnTo>
                  <a:lnTo>
                    <a:pt x="225" y="595"/>
                  </a:lnTo>
                  <a:lnTo>
                    <a:pt x="234" y="604"/>
                  </a:lnTo>
                  <a:lnTo>
                    <a:pt x="244" y="624"/>
                  </a:lnTo>
                  <a:lnTo>
                    <a:pt x="254" y="634"/>
                  </a:lnTo>
                  <a:lnTo>
                    <a:pt x="273" y="624"/>
                  </a:lnTo>
                  <a:lnTo>
                    <a:pt x="293" y="614"/>
                  </a:lnTo>
                  <a:lnTo>
                    <a:pt x="303" y="634"/>
                  </a:lnTo>
                  <a:lnTo>
                    <a:pt x="293" y="644"/>
                  </a:lnTo>
                  <a:lnTo>
                    <a:pt x="303" y="663"/>
                  </a:lnTo>
                  <a:lnTo>
                    <a:pt x="312" y="673"/>
                  </a:lnTo>
                  <a:lnTo>
                    <a:pt x="322" y="673"/>
                  </a:lnTo>
                  <a:lnTo>
                    <a:pt x="332" y="683"/>
                  </a:lnTo>
                  <a:lnTo>
                    <a:pt x="332" y="702"/>
                  </a:lnTo>
                  <a:lnTo>
                    <a:pt x="351" y="692"/>
                  </a:lnTo>
                  <a:lnTo>
                    <a:pt x="381" y="722"/>
                  </a:lnTo>
                  <a:lnTo>
                    <a:pt x="351" y="741"/>
                  </a:lnTo>
                  <a:lnTo>
                    <a:pt x="381" y="75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4" name="Freeform 168"/>
            <p:cNvSpPr>
              <a:spLocks/>
            </p:cNvSpPr>
            <p:nvPr/>
          </p:nvSpPr>
          <p:spPr bwMode="auto">
            <a:xfrm>
              <a:off x="1202" y="1911"/>
              <a:ext cx="250" cy="276"/>
            </a:xfrm>
            <a:custGeom>
              <a:avLst/>
              <a:gdLst/>
              <a:ahLst/>
              <a:cxnLst>
                <a:cxn ang="0">
                  <a:pos x="195" y="264"/>
                </a:cxn>
                <a:cxn ang="0">
                  <a:pos x="175" y="254"/>
                </a:cxn>
                <a:cxn ang="0">
                  <a:pos x="156" y="225"/>
                </a:cxn>
                <a:cxn ang="0">
                  <a:pos x="136" y="205"/>
                </a:cxn>
                <a:cxn ang="0">
                  <a:pos x="117" y="205"/>
                </a:cxn>
                <a:cxn ang="0">
                  <a:pos x="97" y="186"/>
                </a:cxn>
                <a:cxn ang="0">
                  <a:pos x="68" y="176"/>
                </a:cxn>
                <a:cxn ang="0">
                  <a:pos x="68" y="156"/>
                </a:cxn>
                <a:cxn ang="0">
                  <a:pos x="58" y="156"/>
                </a:cxn>
                <a:cxn ang="0">
                  <a:pos x="39" y="156"/>
                </a:cxn>
                <a:cxn ang="0">
                  <a:pos x="29" y="137"/>
                </a:cxn>
                <a:cxn ang="0">
                  <a:pos x="29" y="137"/>
                </a:cxn>
                <a:cxn ang="0">
                  <a:pos x="19" y="127"/>
                </a:cxn>
                <a:cxn ang="0">
                  <a:pos x="19" y="117"/>
                </a:cxn>
                <a:cxn ang="0">
                  <a:pos x="29" y="117"/>
                </a:cxn>
                <a:cxn ang="0">
                  <a:pos x="29" y="98"/>
                </a:cxn>
                <a:cxn ang="0">
                  <a:pos x="29" y="88"/>
                </a:cxn>
                <a:cxn ang="0">
                  <a:pos x="19" y="78"/>
                </a:cxn>
                <a:cxn ang="0">
                  <a:pos x="19" y="69"/>
                </a:cxn>
                <a:cxn ang="0">
                  <a:pos x="10" y="59"/>
                </a:cxn>
                <a:cxn ang="0">
                  <a:pos x="0" y="39"/>
                </a:cxn>
                <a:cxn ang="0">
                  <a:pos x="0" y="39"/>
                </a:cxn>
                <a:cxn ang="0">
                  <a:pos x="10" y="39"/>
                </a:cxn>
                <a:cxn ang="0">
                  <a:pos x="19" y="39"/>
                </a:cxn>
                <a:cxn ang="0">
                  <a:pos x="29" y="30"/>
                </a:cxn>
                <a:cxn ang="0">
                  <a:pos x="39" y="20"/>
                </a:cxn>
                <a:cxn ang="0">
                  <a:pos x="49" y="30"/>
                </a:cxn>
                <a:cxn ang="0">
                  <a:pos x="58" y="39"/>
                </a:cxn>
                <a:cxn ang="0">
                  <a:pos x="68" y="30"/>
                </a:cxn>
                <a:cxn ang="0">
                  <a:pos x="68" y="10"/>
                </a:cxn>
                <a:cxn ang="0">
                  <a:pos x="68" y="0"/>
                </a:cxn>
                <a:cxn ang="0">
                  <a:pos x="107" y="10"/>
                </a:cxn>
                <a:cxn ang="0">
                  <a:pos x="117" y="10"/>
                </a:cxn>
                <a:cxn ang="0">
                  <a:pos x="127" y="10"/>
                </a:cxn>
                <a:cxn ang="0">
                  <a:pos x="136" y="10"/>
                </a:cxn>
                <a:cxn ang="0">
                  <a:pos x="136" y="10"/>
                </a:cxn>
                <a:cxn ang="0">
                  <a:pos x="156" y="30"/>
                </a:cxn>
                <a:cxn ang="0">
                  <a:pos x="175" y="39"/>
                </a:cxn>
                <a:cxn ang="0">
                  <a:pos x="166" y="49"/>
                </a:cxn>
                <a:cxn ang="0">
                  <a:pos x="156" y="59"/>
                </a:cxn>
                <a:cxn ang="0">
                  <a:pos x="156" y="59"/>
                </a:cxn>
                <a:cxn ang="0">
                  <a:pos x="175" y="69"/>
                </a:cxn>
                <a:cxn ang="0">
                  <a:pos x="195" y="78"/>
                </a:cxn>
                <a:cxn ang="0">
                  <a:pos x="195" y="108"/>
                </a:cxn>
                <a:cxn ang="0">
                  <a:pos x="205" y="127"/>
                </a:cxn>
                <a:cxn ang="0">
                  <a:pos x="205" y="156"/>
                </a:cxn>
                <a:cxn ang="0">
                  <a:pos x="205" y="176"/>
                </a:cxn>
                <a:cxn ang="0">
                  <a:pos x="205" y="156"/>
                </a:cxn>
                <a:cxn ang="0">
                  <a:pos x="205" y="176"/>
                </a:cxn>
                <a:cxn ang="0">
                  <a:pos x="224" y="186"/>
                </a:cxn>
                <a:cxn ang="0">
                  <a:pos x="224" y="205"/>
                </a:cxn>
                <a:cxn ang="0">
                  <a:pos x="224" y="205"/>
                </a:cxn>
                <a:cxn ang="0">
                  <a:pos x="253" y="215"/>
                </a:cxn>
                <a:cxn ang="0">
                  <a:pos x="253" y="225"/>
                </a:cxn>
                <a:cxn ang="0">
                  <a:pos x="244" y="234"/>
                </a:cxn>
                <a:cxn ang="0">
                  <a:pos x="244" y="254"/>
                </a:cxn>
                <a:cxn ang="0">
                  <a:pos x="234" y="244"/>
                </a:cxn>
                <a:cxn ang="0">
                  <a:pos x="224" y="234"/>
                </a:cxn>
                <a:cxn ang="0">
                  <a:pos x="214" y="244"/>
                </a:cxn>
                <a:cxn ang="0">
                  <a:pos x="205" y="264"/>
                </a:cxn>
                <a:cxn ang="0">
                  <a:pos x="195" y="274"/>
                </a:cxn>
                <a:cxn ang="0">
                  <a:pos x="195" y="264"/>
                </a:cxn>
              </a:cxnLst>
              <a:rect l="0" t="0" r="r" b="b"/>
              <a:pathLst>
                <a:path w="253" h="274">
                  <a:moveTo>
                    <a:pt x="195" y="264"/>
                  </a:moveTo>
                  <a:lnTo>
                    <a:pt x="175" y="254"/>
                  </a:lnTo>
                  <a:lnTo>
                    <a:pt x="156" y="225"/>
                  </a:lnTo>
                  <a:lnTo>
                    <a:pt x="136" y="205"/>
                  </a:lnTo>
                  <a:lnTo>
                    <a:pt x="117" y="205"/>
                  </a:lnTo>
                  <a:lnTo>
                    <a:pt x="97" y="186"/>
                  </a:lnTo>
                  <a:lnTo>
                    <a:pt x="68" y="17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39" y="156"/>
                  </a:lnTo>
                  <a:lnTo>
                    <a:pt x="29" y="13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29" y="117"/>
                  </a:lnTo>
                  <a:lnTo>
                    <a:pt x="29" y="98"/>
                  </a:lnTo>
                  <a:lnTo>
                    <a:pt x="29" y="88"/>
                  </a:lnTo>
                  <a:lnTo>
                    <a:pt x="19" y="78"/>
                  </a:lnTo>
                  <a:lnTo>
                    <a:pt x="19" y="69"/>
                  </a:lnTo>
                  <a:lnTo>
                    <a:pt x="1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19" y="39"/>
                  </a:lnTo>
                  <a:lnTo>
                    <a:pt x="29" y="30"/>
                  </a:lnTo>
                  <a:lnTo>
                    <a:pt x="39" y="20"/>
                  </a:lnTo>
                  <a:lnTo>
                    <a:pt x="49" y="30"/>
                  </a:lnTo>
                  <a:lnTo>
                    <a:pt x="58" y="39"/>
                  </a:lnTo>
                  <a:lnTo>
                    <a:pt x="68" y="30"/>
                  </a:lnTo>
                  <a:lnTo>
                    <a:pt x="68" y="10"/>
                  </a:lnTo>
                  <a:lnTo>
                    <a:pt x="68" y="0"/>
                  </a:lnTo>
                  <a:lnTo>
                    <a:pt x="107" y="10"/>
                  </a:lnTo>
                  <a:lnTo>
                    <a:pt x="117" y="10"/>
                  </a:lnTo>
                  <a:lnTo>
                    <a:pt x="127" y="10"/>
                  </a:lnTo>
                  <a:lnTo>
                    <a:pt x="136" y="10"/>
                  </a:lnTo>
                  <a:lnTo>
                    <a:pt x="156" y="3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56" y="59"/>
                  </a:lnTo>
                  <a:lnTo>
                    <a:pt x="175" y="69"/>
                  </a:lnTo>
                  <a:lnTo>
                    <a:pt x="195" y="78"/>
                  </a:lnTo>
                  <a:lnTo>
                    <a:pt x="195" y="108"/>
                  </a:lnTo>
                  <a:lnTo>
                    <a:pt x="205" y="127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24" y="186"/>
                  </a:lnTo>
                  <a:lnTo>
                    <a:pt x="224" y="205"/>
                  </a:lnTo>
                  <a:lnTo>
                    <a:pt x="253" y="215"/>
                  </a:lnTo>
                  <a:lnTo>
                    <a:pt x="253" y="225"/>
                  </a:lnTo>
                  <a:lnTo>
                    <a:pt x="244" y="234"/>
                  </a:lnTo>
                  <a:lnTo>
                    <a:pt x="244" y="254"/>
                  </a:lnTo>
                  <a:lnTo>
                    <a:pt x="234" y="244"/>
                  </a:lnTo>
                  <a:lnTo>
                    <a:pt x="224" y="234"/>
                  </a:lnTo>
                  <a:lnTo>
                    <a:pt x="214" y="24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95" y="26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5" name="Freeform 167"/>
            <p:cNvSpPr>
              <a:spLocks/>
            </p:cNvSpPr>
            <p:nvPr/>
          </p:nvSpPr>
          <p:spPr bwMode="auto">
            <a:xfrm>
              <a:off x="1171" y="2050"/>
              <a:ext cx="225" cy="290"/>
            </a:xfrm>
            <a:custGeom>
              <a:avLst/>
              <a:gdLst/>
              <a:ahLst/>
              <a:cxnLst>
                <a:cxn ang="0">
                  <a:pos x="137" y="283"/>
                </a:cxn>
                <a:cxn ang="0">
                  <a:pos x="147" y="263"/>
                </a:cxn>
                <a:cxn ang="0">
                  <a:pos x="166" y="244"/>
                </a:cxn>
                <a:cxn ang="0">
                  <a:pos x="186" y="244"/>
                </a:cxn>
                <a:cxn ang="0">
                  <a:pos x="186" y="224"/>
                </a:cxn>
                <a:cxn ang="0">
                  <a:pos x="186" y="215"/>
                </a:cxn>
                <a:cxn ang="0">
                  <a:pos x="186" y="205"/>
                </a:cxn>
                <a:cxn ang="0">
                  <a:pos x="186" y="205"/>
                </a:cxn>
                <a:cxn ang="0">
                  <a:pos x="196" y="205"/>
                </a:cxn>
                <a:cxn ang="0">
                  <a:pos x="205" y="195"/>
                </a:cxn>
                <a:cxn ang="0">
                  <a:pos x="215" y="185"/>
                </a:cxn>
                <a:cxn ang="0">
                  <a:pos x="215" y="176"/>
                </a:cxn>
                <a:cxn ang="0">
                  <a:pos x="205" y="166"/>
                </a:cxn>
                <a:cxn ang="0">
                  <a:pos x="215" y="156"/>
                </a:cxn>
                <a:cxn ang="0">
                  <a:pos x="225" y="156"/>
                </a:cxn>
                <a:cxn ang="0">
                  <a:pos x="225" y="137"/>
                </a:cxn>
                <a:cxn ang="0">
                  <a:pos x="225" y="127"/>
                </a:cxn>
                <a:cxn ang="0">
                  <a:pos x="215" y="117"/>
                </a:cxn>
                <a:cxn ang="0">
                  <a:pos x="186" y="88"/>
                </a:cxn>
                <a:cxn ang="0">
                  <a:pos x="166" y="78"/>
                </a:cxn>
                <a:cxn ang="0">
                  <a:pos x="147" y="68"/>
                </a:cxn>
                <a:cxn ang="0">
                  <a:pos x="127" y="58"/>
                </a:cxn>
                <a:cxn ang="0">
                  <a:pos x="108" y="39"/>
                </a:cxn>
                <a:cxn ang="0">
                  <a:pos x="98" y="19"/>
                </a:cxn>
                <a:cxn ang="0">
                  <a:pos x="88" y="19"/>
                </a:cxn>
                <a:cxn ang="0">
                  <a:pos x="79" y="19"/>
                </a:cxn>
                <a:cxn ang="0">
                  <a:pos x="69" y="0"/>
                </a:cxn>
                <a:cxn ang="0">
                  <a:pos x="59" y="0"/>
                </a:cxn>
                <a:cxn ang="0">
                  <a:pos x="49" y="0"/>
                </a:cxn>
                <a:cxn ang="0">
                  <a:pos x="40" y="10"/>
                </a:cxn>
                <a:cxn ang="0">
                  <a:pos x="40" y="19"/>
                </a:cxn>
                <a:cxn ang="0">
                  <a:pos x="10" y="19"/>
                </a:cxn>
                <a:cxn ang="0">
                  <a:pos x="0" y="49"/>
                </a:cxn>
                <a:cxn ang="0">
                  <a:pos x="0" y="58"/>
                </a:cxn>
                <a:cxn ang="0">
                  <a:pos x="20" y="58"/>
                </a:cxn>
                <a:cxn ang="0">
                  <a:pos x="30" y="68"/>
                </a:cxn>
                <a:cxn ang="0">
                  <a:pos x="30" y="88"/>
                </a:cxn>
                <a:cxn ang="0">
                  <a:pos x="30" y="117"/>
                </a:cxn>
                <a:cxn ang="0">
                  <a:pos x="49" y="127"/>
                </a:cxn>
                <a:cxn ang="0">
                  <a:pos x="59" y="127"/>
                </a:cxn>
                <a:cxn ang="0">
                  <a:pos x="79" y="146"/>
                </a:cxn>
                <a:cxn ang="0">
                  <a:pos x="88" y="146"/>
                </a:cxn>
                <a:cxn ang="0">
                  <a:pos x="88" y="156"/>
                </a:cxn>
                <a:cxn ang="0">
                  <a:pos x="79" y="166"/>
                </a:cxn>
                <a:cxn ang="0">
                  <a:pos x="79" y="185"/>
                </a:cxn>
                <a:cxn ang="0">
                  <a:pos x="69" y="205"/>
                </a:cxn>
                <a:cxn ang="0">
                  <a:pos x="79" y="224"/>
                </a:cxn>
                <a:cxn ang="0">
                  <a:pos x="88" y="234"/>
                </a:cxn>
                <a:cxn ang="0">
                  <a:pos x="98" y="224"/>
                </a:cxn>
                <a:cxn ang="0">
                  <a:pos x="98" y="234"/>
                </a:cxn>
                <a:cxn ang="0">
                  <a:pos x="108" y="254"/>
                </a:cxn>
                <a:cxn ang="0">
                  <a:pos x="108" y="283"/>
                </a:cxn>
                <a:cxn ang="0">
                  <a:pos x="108" y="293"/>
                </a:cxn>
                <a:cxn ang="0">
                  <a:pos x="127" y="283"/>
                </a:cxn>
                <a:cxn ang="0">
                  <a:pos x="137" y="283"/>
                </a:cxn>
              </a:cxnLst>
              <a:rect l="0" t="0" r="r" b="b"/>
              <a:pathLst>
                <a:path w="225" h="293">
                  <a:moveTo>
                    <a:pt x="137" y="283"/>
                  </a:moveTo>
                  <a:lnTo>
                    <a:pt x="147" y="263"/>
                  </a:lnTo>
                  <a:lnTo>
                    <a:pt x="166" y="244"/>
                  </a:lnTo>
                  <a:lnTo>
                    <a:pt x="186" y="244"/>
                  </a:lnTo>
                  <a:lnTo>
                    <a:pt x="186" y="224"/>
                  </a:lnTo>
                  <a:lnTo>
                    <a:pt x="186" y="215"/>
                  </a:lnTo>
                  <a:lnTo>
                    <a:pt x="186" y="205"/>
                  </a:lnTo>
                  <a:lnTo>
                    <a:pt x="196" y="205"/>
                  </a:lnTo>
                  <a:lnTo>
                    <a:pt x="205" y="195"/>
                  </a:lnTo>
                  <a:lnTo>
                    <a:pt x="215" y="185"/>
                  </a:lnTo>
                  <a:lnTo>
                    <a:pt x="215" y="176"/>
                  </a:lnTo>
                  <a:lnTo>
                    <a:pt x="205" y="166"/>
                  </a:lnTo>
                  <a:lnTo>
                    <a:pt x="215" y="156"/>
                  </a:lnTo>
                  <a:lnTo>
                    <a:pt x="225" y="156"/>
                  </a:lnTo>
                  <a:lnTo>
                    <a:pt x="225" y="137"/>
                  </a:lnTo>
                  <a:lnTo>
                    <a:pt x="225" y="127"/>
                  </a:lnTo>
                  <a:lnTo>
                    <a:pt x="215" y="117"/>
                  </a:lnTo>
                  <a:lnTo>
                    <a:pt x="186" y="88"/>
                  </a:lnTo>
                  <a:lnTo>
                    <a:pt x="166" y="78"/>
                  </a:lnTo>
                  <a:lnTo>
                    <a:pt x="147" y="68"/>
                  </a:lnTo>
                  <a:lnTo>
                    <a:pt x="127" y="58"/>
                  </a:lnTo>
                  <a:lnTo>
                    <a:pt x="108" y="39"/>
                  </a:lnTo>
                  <a:lnTo>
                    <a:pt x="98" y="19"/>
                  </a:lnTo>
                  <a:lnTo>
                    <a:pt x="88" y="19"/>
                  </a:lnTo>
                  <a:lnTo>
                    <a:pt x="79" y="19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0"/>
                  </a:lnTo>
                  <a:lnTo>
                    <a:pt x="40" y="10"/>
                  </a:lnTo>
                  <a:lnTo>
                    <a:pt x="40" y="19"/>
                  </a:lnTo>
                  <a:lnTo>
                    <a:pt x="10" y="19"/>
                  </a:lnTo>
                  <a:lnTo>
                    <a:pt x="0" y="49"/>
                  </a:lnTo>
                  <a:lnTo>
                    <a:pt x="0" y="58"/>
                  </a:lnTo>
                  <a:lnTo>
                    <a:pt x="20" y="58"/>
                  </a:lnTo>
                  <a:lnTo>
                    <a:pt x="30" y="68"/>
                  </a:lnTo>
                  <a:lnTo>
                    <a:pt x="30" y="88"/>
                  </a:lnTo>
                  <a:lnTo>
                    <a:pt x="30" y="117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79" y="146"/>
                  </a:lnTo>
                  <a:lnTo>
                    <a:pt x="88" y="146"/>
                  </a:lnTo>
                  <a:lnTo>
                    <a:pt x="88" y="156"/>
                  </a:lnTo>
                  <a:lnTo>
                    <a:pt x="79" y="166"/>
                  </a:lnTo>
                  <a:lnTo>
                    <a:pt x="79" y="185"/>
                  </a:lnTo>
                  <a:lnTo>
                    <a:pt x="69" y="205"/>
                  </a:lnTo>
                  <a:lnTo>
                    <a:pt x="79" y="224"/>
                  </a:lnTo>
                  <a:lnTo>
                    <a:pt x="88" y="234"/>
                  </a:lnTo>
                  <a:lnTo>
                    <a:pt x="98" y="224"/>
                  </a:lnTo>
                  <a:lnTo>
                    <a:pt x="98" y="234"/>
                  </a:lnTo>
                  <a:lnTo>
                    <a:pt x="108" y="25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83"/>
                  </a:lnTo>
                  <a:lnTo>
                    <a:pt x="137" y="28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6" name="Freeform 166"/>
            <p:cNvSpPr>
              <a:spLocks/>
            </p:cNvSpPr>
            <p:nvPr/>
          </p:nvSpPr>
          <p:spPr bwMode="auto">
            <a:xfrm>
              <a:off x="1328" y="1865"/>
              <a:ext cx="203" cy="232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5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8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175 w 204"/>
                <a:gd name="T99" fmla="*/ 78 h 23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4"/>
                <a:gd name="T151" fmla="*/ 0 h 234"/>
                <a:gd name="T152" fmla="*/ 204 w 204"/>
                <a:gd name="T153" fmla="*/ 234 h 23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8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  <a:lnTo>
                    <a:pt x="175" y="7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7" name="Freeform 165"/>
            <p:cNvSpPr>
              <a:spLocks/>
            </p:cNvSpPr>
            <p:nvPr/>
          </p:nvSpPr>
          <p:spPr bwMode="auto">
            <a:xfrm>
              <a:off x="1325" y="1865"/>
              <a:ext cx="205" cy="232"/>
            </a:xfrm>
            <a:custGeom>
              <a:avLst/>
              <a:gdLst/>
              <a:ahLst/>
              <a:cxnLst>
                <a:cxn ang="0">
                  <a:pos x="175" y="78"/>
                </a:cxn>
                <a:cxn ang="0">
                  <a:pos x="165" y="97"/>
                </a:cxn>
                <a:cxn ang="0">
                  <a:pos x="175" y="126"/>
                </a:cxn>
                <a:cxn ang="0">
                  <a:pos x="195" y="136"/>
                </a:cxn>
                <a:cxn ang="0">
                  <a:pos x="195" y="146"/>
                </a:cxn>
                <a:cxn ang="0">
                  <a:pos x="195" y="156"/>
                </a:cxn>
                <a:cxn ang="0">
                  <a:pos x="204" y="175"/>
                </a:cxn>
                <a:cxn ang="0">
                  <a:pos x="185" y="185"/>
                </a:cxn>
                <a:cxn ang="0">
                  <a:pos x="165" y="195"/>
                </a:cxn>
                <a:cxn ang="0">
                  <a:pos x="146" y="195"/>
                </a:cxn>
                <a:cxn ang="0">
                  <a:pos x="146" y="204"/>
                </a:cxn>
                <a:cxn ang="0">
                  <a:pos x="156" y="214"/>
                </a:cxn>
                <a:cxn ang="0">
                  <a:pos x="146" y="224"/>
                </a:cxn>
                <a:cxn ang="0">
                  <a:pos x="136" y="234"/>
                </a:cxn>
                <a:cxn ang="0">
                  <a:pos x="117" y="234"/>
                </a:cxn>
                <a:cxn ang="0">
                  <a:pos x="97" y="234"/>
                </a:cxn>
                <a:cxn ang="0">
                  <a:pos x="78" y="224"/>
                </a:cxn>
                <a:cxn ang="0">
                  <a:pos x="87" y="204"/>
                </a:cxn>
                <a:cxn ang="0">
                  <a:pos x="78" y="224"/>
                </a:cxn>
                <a:cxn ang="0">
                  <a:pos x="87" y="204"/>
                </a:cxn>
                <a:cxn ang="0">
                  <a:pos x="78" y="175"/>
                </a:cxn>
                <a:cxn ang="0">
                  <a:pos x="68" y="156"/>
                </a:cxn>
                <a:cxn ang="0">
                  <a:pos x="68" y="126"/>
                </a:cxn>
                <a:cxn ang="0">
                  <a:pos x="48" y="117"/>
                </a:cxn>
                <a:cxn ang="0">
                  <a:pos x="29" y="107"/>
                </a:cxn>
                <a:cxn ang="0">
                  <a:pos x="29" y="107"/>
                </a:cxn>
                <a:cxn ang="0">
                  <a:pos x="39" y="97"/>
                </a:cxn>
                <a:cxn ang="0">
                  <a:pos x="48" y="87"/>
                </a:cxn>
                <a:cxn ang="0">
                  <a:pos x="29" y="78"/>
                </a:cxn>
                <a:cxn ang="0">
                  <a:pos x="9" y="68"/>
                </a:cxn>
                <a:cxn ang="0">
                  <a:pos x="9" y="58"/>
                </a:cxn>
                <a:cxn ang="0">
                  <a:pos x="0" y="48"/>
                </a:cxn>
                <a:cxn ang="0">
                  <a:pos x="0" y="39"/>
                </a:cxn>
                <a:cxn ang="0">
                  <a:pos x="19" y="39"/>
                </a:cxn>
                <a:cxn ang="0">
                  <a:pos x="29" y="39"/>
                </a:cxn>
                <a:cxn ang="0">
                  <a:pos x="48" y="39"/>
                </a:cxn>
                <a:cxn ang="0">
                  <a:pos x="48" y="29"/>
                </a:cxn>
                <a:cxn ang="0">
                  <a:pos x="48" y="19"/>
                </a:cxn>
                <a:cxn ang="0">
                  <a:pos x="48" y="9"/>
                </a:cxn>
                <a:cxn ang="0">
                  <a:pos x="58" y="9"/>
                </a:cxn>
                <a:cxn ang="0">
                  <a:pos x="78" y="29"/>
                </a:cxn>
                <a:cxn ang="0">
                  <a:pos x="97" y="29"/>
                </a:cxn>
                <a:cxn ang="0">
                  <a:pos x="97" y="9"/>
                </a:cxn>
                <a:cxn ang="0">
                  <a:pos x="107" y="0"/>
                </a:cxn>
                <a:cxn ang="0">
                  <a:pos x="156" y="29"/>
                </a:cxn>
                <a:cxn ang="0">
                  <a:pos x="156" y="39"/>
                </a:cxn>
                <a:cxn ang="0">
                  <a:pos x="175" y="39"/>
                </a:cxn>
                <a:cxn ang="0">
                  <a:pos x="175" y="48"/>
                </a:cxn>
                <a:cxn ang="0">
                  <a:pos x="175" y="58"/>
                </a:cxn>
              </a:cxnLst>
              <a:rect l="0" t="0" r="r" b="b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48" y="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9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8" name="Freeform 164"/>
            <p:cNvSpPr>
              <a:spLocks/>
            </p:cNvSpPr>
            <p:nvPr/>
          </p:nvSpPr>
          <p:spPr bwMode="auto">
            <a:xfrm>
              <a:off x="1491" y="1865"/>
              <a:ext cx="205" cy="212"/>
            </a:xfrm>
            <a:custGeom>
              <a:avLst/>
              <a:gdLst/>
              <a:ahLst/>
              <a:cxnLst>
                <a:cxn ang="0">
                  <a:pos x="137" y="204"/>
                </a:cxn>
                <a:cxn ang="0">
                  <a:pos x="117" y="204"/>
                </a:cxn>
                <a:cxn ang="0">
                  <a:pos x="88" y="204"/>
                </a:cxn>
                <a:cxn ang="0">
                  <a:pos x="78" y="214"/>
                </a:cxn>
                <a:cxn ang="0">
                  <a:pos x="69" y="214"/>
                </a:cxn>
                <a:cxn ang="0">
                  <a:pos x="49" y="204"/>
                </a:cxn>
                <a:cxn ang="0">
                  <a:pos x="49" y="195"/>
                </a:cxn>
                <a:cxn ang="0">
                  <a:pos x="39" y="175"/>
                </a:cxn>
                <a:cxn ang="0">
                  <a:pos x="30" y="156"/>
                </a:cxn>
                <a:cxn ang="0">
                  <a:pos x="30" y="146"/>
                </a:cxn>
                <a:cxn ang="0">
                  <a:pos x="30" y="136"/>
                </a:cxn>
                <a:cxn ang="0">
                  <a:pos x="10" y="117"/>
                </a:cxn>
                <a:cxn ang="0">
                  <a:pos x="0" y="97"/>
                </a:cxn>
                <a:cxn ang="0">
                  <a:pos x="10" y="78"/>
                </a:cxn>
                <a:cxn ang="0">
                  <a:pos x="10" y="58"/>
                </a:cxn>
                <a:cxn ang="0">
                  <a:pos x="10" y="48"/>
                </a:cxn>
                <a:cxn ang="0">
                  <a:pos x="10" y="39"/>
                </a:cxn>
                <a:cxn ang="0">
                  <a:pos x="20" y="39"/>
                </a:cxn>
                <a:cxn ang="0">
                  <a:pos x="30" y="29"/>
                </a:cxn>
                <a:cxn ang="0">
                  <a:pos x="49" y="29"/>
                </a:cxn>
                <a:cxn ang="0">
                  <a:pos x="69" y="29"/>
                </a:cxn>
                <a:cxn ang="0">
                  <a:pos x="69" y="9"/>
                </a:cxn>
                <a:cxn ang="0">
                  <a:pos x="78" y="0"/>
                </a:cxn>
                <a:cxn ang="0">
                  <a:pos x="78" y="9"/>
                </a:cxn>
                <a:cxn ang="0">
                  <a:pos x="98" y="29"/>
                </a:cxn>
                <a:cxn ang="0">
                  <a:pos x="108" y="39"/>
                </a:cxn>
                <a:cxn ang="0">
                  <a:pos x="137" y="39"/>
                </a:cxn>
                <a:cxn ang="0">
                  <a:pos x="166" y="39"/>
                </a:cxn>
                <a:cxn ang="0">
                  <a:pos x="176" y="39"/>
                </a:cxn>
                <a:cxn ang="0">
                  <a:pos x="176" y="48"/>
                </a:cxn>
                <a:cxn ang="0">
                  <a:pos x="176" y="58"/>
                </a:cxn>
                <a:cxn ang="0">
                  <a:pos x="195" y="58"/>
                </a:cxn>
                <a:cxn ang="0">
                  <a:pos x="205" y="58"/>
                </a:cxn>
                <a:cxn ang="0">
                  <a:pos x="195" y="68"/>
                </a:cxn>
                <a:cxn ang="0">
                  <a:pos x="205" y="87"/>
                </a:cxn>
                <a:cxn ang="0">
                  <a:pos x="195" y="97"/>
                </a:cxn>
                <a:cxn ang="0">
                  <a:pos x="186" y="107"/>
                </a:cxn>
                <a:cxn ang="0">
                  <a:pos x="186" y="117"/>
                </a:cxn>
                <a:cxn ang="0">
                  <a:pos x="186" y="136"/>
                </a:cxn>
                <a:cxn ang="0">
                  <a:pos x="186" y="146"/>
                </a:cxn>
                <a:cxn ang="0">
                  <a:pos x="176" y="156"/>
                </a:cxn>
                <a:cxn ang="0">
                  <a:pos x="156" y="175"/>
                </a:cxn>
                <a:cxn ang="0">
                  <a:pos x="137" y="204"/>
                </a:cxn>
              </a:cxnLst>
              <a:rect l="0" t="0" r="r" b="b"/>
              <a:pathLst>
                <a:path w="205" h="214">
                  <a:moveTo>
                    <a:pt x="137" y="204"/>
                  </a:moveTo>
                  <a:lnTo>
                    <a:pt x="117" y="204"/>
                  </a:lnTo>
                  <a:lnTo>
                    <a:pt x="88" y="204"/>
                  </a:lnTo>
                  <a:lnTo>
                    <a:pt x="78" y="214"/>
                  </a:lnTo>
                  <a:lnTo>
                    <a:pt x="69" y="214"/>
                  </a:lnTo>
                  <a:lnTo>
                    <a:pt x="49" y="204"/>
                  </a:lnTo>
                  <a:lnTo>
                    <a:pt x="49" y="195"/>
                  </a:lnTo>
                  <a:lnTo>
                    <a:pt x="39" y="175"/>
                  </a:lnTo>
                  <a:lnTo>
                    <a:pt x="30" y="156"/>
                  </a:lnTo>
                  <a:lnTo>
                    <a:pt x="30" y="146"/>
                  </a:lnTo>
                  <a:lnTo>
                    <a:pt x="30" y="136"/>
                  </a:lnTo>
                  <a:lnTo>
                    <a:pt x="10" y="117"/>
                  </a:lnTo>
                  <a:lnTo>
                    <a:pt x="0" y="97"/>
                  </a:lnTo>
                  <a:lnTo>
                    <a:pt x="10" y="78"/>
                  </a:lnTo>
                  <a:lnTo>
                    <a:pt x="10" y="58"/>
                  </a:lnTo>
                  <a:lnTo>
                    <a:pt x="10" y="48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29"/>
                  </a:lnTo>
                  <a:lnTo>
                    <a:pt x="49" y="29"/>
                  </a:lnTo>
                  <a:lnTo>
                    <a:pt x="69" y="29"/>
                  </a:lnTo>
                  <a:lnTo>
                    <a:pt x="69" y="9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98" y="29"/>
                  </a:lnTo>
                  <a:lnTo>
                    <a:pt x="108" y="39"/>
                  </a:lnTo>
                  <a:lnTo>
                    <a:pt x="137" y="39"/>
                  </a:lnTo>
                  <a:lnTo>
                    <a:pt x="166" y="39"/>
                  </a:lnTo>
                  <a:lnTo>
                    <a:pt x="176" y="39"/>
                  </a:lnTo>
                  <a:lnTo>
                    <a:pt x="176" y="48"/>
                  </a:lnTo>
                  <a:lnTo>
                    <a:pt x="176" y="58"/>
                  </a:lnTo>
                  <a:lnTo>
                    <a:pt x="195" y="58"/>
                  </a:lnTo>
                  <a:lnTo>
                    <a:pt x="205" y="58"/>
                  </a:lnTo>
                  <a:lnTo>
                    <a:pt x="195" y="68"/>
                  </a:lnTo>
                  <a:lnTo>
                    <a:pt x="205" y="87"/>
                  </a:lnTo>
                  <a:lnTo>
                    <a:pt x="195" y="97"/>
                  </a:lnTo>
                  <a:lnTo>
                    <a:pt x="186" y="107"/>
                  </a:lnTo>
                  <a:lnTo>
                    <a:pt x="186" y="117"/>
                  </a:lnTo>
                  <a:lnTo>
                    <a:pt x="186" y="136"/>
                  </a:lnTo>
                  <a:lnTo>
                    <a:pt x="186" y="146"/>
                  </a:lnTo>
                  <a:lnTo>
                    <a:pt x="176" y="156"/>
                  </a:lnTo>
                  <a:lnTo>
                    <a:pt x="156" y="175"/>
                  </a:lnTo>
                  <a:lnTo>
                    <a:pt x="137" y="20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9" name="Freeform 163"/>
            <p:cNvSpPr>
              <a:spLocks/>
            </p:cNvSpPr>
            <p:nvPr/>
          </p:nvSpPr>
          <p:spPr bwMode="auto">
            <a:xfrm>
              <a:off x="1629" y="1981"/>
              <a:ext cx="273" cy="244"/>
            </a:xfrm>
            <a:custGeom>
              <a:avLst/>
              <a:gdLst/>
              <a:ahLst/>
              <a:cxnLst>
                <a:cxn ang="0">
                  <a:pos x="39" y="156"/>
                </a:cxn>
                <a:cxn ang="0">
                  <a:pos x="39" y="165"/>
                </a:cxn>
                <a:cxn ang="0">
                  <a:pos x="49" y="165"/>
                </a:cxn>
                <a:cxn ang="0">
                  <a:pos x="68" y="165"/>
                </a:cxn>
                <a:cxn ang="0">
                  <a:pos x="78" y="165"/>
                </a:cxn>
                <a:cxn ang="0">
                  <a:pos x="78" y="185"/>
                </a:cxn>
                <a:cxn ang="0">
                  <a:pos x="78" y="195"/>
                </a:cxn>
                <a:cxn ang="0">
                  <a:pos x="88" y="214"/>
                </a:cxn>
                <a:cxn ang="0">
                  <a:pos x="97" y="214"/>
                </a:cxn>
                <a:cxn ang="0">
                  <a:pos x="117" y="205"/>
                </a:cxn>
                <a:cxn ang="0">
                  <a:pos x="137" y="205"/>
                </a:cxn>
                <a:cxn ang="0">
                  <a:pos x="166" y="234"/>
                </a:cxn>
                <a:cxn ang="0">
                  <a:pos x="185" y="244"/>
                </a:cxn>
                <a:cxn ang="0">
                  <a:pos x="185" y="234"/>
                </a:cxn>
                <a:cxn ang="0">
                  <a:pos x="195" y="224"/>
                </a:cxn>
                <a:cxn ang="0">
                  <a:pos x="195" y="224"/>
                </a:cxn>
                <a:cxn ang="0">
                  <a:pos x="195" y="234"/>
                </a:cxn>
                <a:cxn ang="0">
                  <a:pos x="215" y="224"/>
                </a:cxn>
                <a:cxn ang="0">
                  <a:pos x="205" y="214"/>
                </a:cxn>
                <a:cxn ang="0">
                  <a:pos x="205" y="205"/>
                </a:cxn>
                <a:cxn ang="0">
                  <a:pos x="215" y="205"/>
                </a:cxn>
                <a:cxn ang="0">
                  <a:pos x="234" y="214"/>
                </a:cxn>
                <a:cxn ang="0">
                  <a:pos x="244" y="214"/>
                </a:cxn>
                <a:cxn ang="0">
                  <a:pos x="244" y="205"/>
                </a:cxn>
                <a:cxn ang="0">
                  <a:pos x="263" y="195"/>
                </a:cxn>
                <a:cxn ang="0">
                  <a:pos x="254" y="175"/>
                </a:cxn>
                <a:cxn ang="0">
                  <a:pos x="263" y="175"/>
                </a:cxn>
                <a:cxn ang="0">
                  <a:pos x="273" y="175"/>
                </a:cxn>
                <a:cxn ang="0">
                  <a:pos x="273" y="156"/>
                </a:cxn>
                <a:cxn ang="0">
                  <a:pos x="263" y="146"/>
                </a:cxn>
                <a:cxn ang="0">
                  <a:pos x="263" y="126"/>
                </a:cxn>
                <a:cxn ang="0">
                  <a:pos x="263" y="97"/>
                </a:cxn>
                <a:cxn ang="0">
                  <a:pos x="263" y="78"/>
                </a:cxn>
                <a:cxn ang="0">
                  <a:pos x="244" y="78"/>
                </a:cxn>
                <a:cxn ang="0">
                  <a:pos x="244" y="68"/>
                </a:cxn>
                <a:cxn ang="0">
                  <a:pos x="234" y="58"/>
                </a:cxn>
                <a:cxn ang="0">
                  <a:pos x="224" y="58"/>
                </a:cxn>
                <a:cxn ang="0">
                  <a:pos x="224" y="39"/>
                </a:cxn>
                <a:cxn ang="0">
                  <a:pos x="215" y="29"/>
                </a:cxn>
                <a:cxn ang="0">
                  <a:pos x="195" y="19"/>
                </a:cxn>
                <a:cxn ang="0">
                  <a:pos x="176" y="19"/>
                </a:cxn>
                <a:cxn ang="0">
                  <a:pos x="156" y="19"/>
                </a:cxn>
                <a:cxn ang="0">
                  <a:pos x="127" y="9"/>
                </a:cxn>
                <a:cxn ang="0">
                  <a:pos x="107" y="9"/>
                </a:cxn>
                <a:cxn ang="0">
                  <a:pos x="107" y="9"/>
                </a:cxn>
                <a:cxn ang="0">
                  <a:pos x="97" y="0"/>
                </a:cxn>
                <a:cxn ang="0">
                  <a:pos x="78" y="0"/>
                </a:cxn>
                <a:cxn ang="0">
                  <a:pos x="78" y="9"/>
                </a:cxn>
                <a:cxn ang="0">
                  <a:pos x="68" y="19"/>
                </a:cxn>
                <a:cxn ang="0">
                  <a:pos x="58" y="9"/>
                </a:cxn>
                <a:cxn ang="0">
                  <a:pos x="49" y="19"/>
                </a:cxn>
                <a:cxn ang="0">
                  <a:pos x="49" y="29"/>
                </a:cxn>
                <a:cxn ang="0">
                  <a:pos x="39" y="39"/>
                </a:cxn>
                <a:cxn ang="0">
                  <a:pos x="19" y="58"/>
                </a:cxn>
                <a:cxn ang="0">
                  <a:pos x="0" y="87"/>
                </a:cxn>
                <a:cxn ang="0">
                  <a:pos x="10" y="97"/>
                </a:cxn>
                <a:cxn ang="0">
                  <a:pos x="0" y="117"/>
                </a:cxn>
                <a:cxn ang="0">
                  <a:pos x="10" y="126"/>
                </a:cxn>
                <a:cxn ang="0">
                  <a:pos x="19" y="126"/>
                </a:cxn>
                <a:cxn ang="0">
                  <a:pos x="39" y="126"/>
                </a:cxn>
                <a:cxn ang="0">
                  <a:pos x="49" y="136"/>
                </a:cxn>
                <a:cxn ang="0">
                  <a:pos x="29" y="146"/>
                </a:cxn>
                <a:cxn ang="0">
                  <a:pos x="39" y="156"/>
                </a:cxn>
              </a:cxnLst>
              <a:rect l="0" t="0" r="r" b="b"/>
              <a:pathLst>
                <a:path w="273" h="244">
                  <a:moveTo>
                    <a:pt x="39" y="156"/>
                  </a:moveTo>
                  <a:lnTo>
                    <a:pt x="39" y="165"/>
                  </a:lnTo>
                  <a:lnTo>
                    <a:pt x="49" y="165"/>
                  </a:lnTo>
                  <a:lnTo>
                    <a:pt x="68" y="165"/>
                  </a:lnTo>
                  <a:lnTo>
                    <a:pt x="78" y="16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7" y="214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66" y="234"/>
                  </a:lnTo>
                  <a:lnTo>
                    <a:pt x="185" y="244"/>
                  </a:lnTo>
                  <a:lnTo>
                    <a:pt x="185" y="234"/>
                  </a:lnTo>
                  <a:lnTo>
                    <a:pt x="195" y="224"/>
                  </a:lnTo>
                  <a:lnTo>
                    <a:pt x="195" y="234"/>
                  </a:lnTo>
                  <a:lnTo>
                    <a:pt x="215" y="22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215" y="205"/>
                  </a:lnTo>
                  <a:lnTo>
                    <a:pt x="234" y="214"/>
                  </a:lnTo>
                  <a:lnTo>
                    <a:pt x="244" y="214"/>
                  </a:lnTo>
                  <a:lnTo>
                    <a:pt x="244" y="205"/>
                  </a:lnTo>
                  <a:lnTo>
                    <a:pt x="263" y="195"/>
                  </a:lnTo>
                  <a:lnTo>
                    <a:pt x="254" y="175"/>
                  </a:lnTo>
                  <a:lnTo>
                    <a:pt x="263" y="175"/>
                  </a:lnTo>
                  <a:lnTo>
                    <a:pt x="273" y="175"/>
                  </a:lnTo>
                  <a:lnTo>
                    <a:pt x="273" y="156"/>
                  </a:lnTo>
                  <a:lnTo>
                    <a:pt x="263" y="146"/>
                  </a:lnTo>
                  <a:lnTo>
                    <a:pt x="263" y="126"/>
                  </a:lnTo>
                  <a:lnTo>
                    <a:pt x="263" y="97"/>
                  </a:lnTo>
                  <a:lnTo>
                    <a:pt x="263" y="78"/>
                  </a:lnTo>
                  <a:lnTo>
                    <a:pt x="244" y="78"/>
                  </a:lnTo>
                  <a:lnTo>
                    <a:pt x="244" y="68"/>
                  </a:lnTo>
                  <a:lnTo>
                    <a:pt x="234" y="58"/>
                  </a:lnTo>
                  <a:lnTo>
                    <a:pt x="224" y="58"/>
                  </a:lnTo>
                  <a:lnTo>
                    <a:pt x="224" y="39"/>
                  </a:lnTo>
                  <a:lnTo>
                    <a:pt x="215" y="29"/>
                  </a:lnTo>
                  <a:lnTo>
                    <a:pt x="195" y="19"/>
                  </a:lnTo>
                  <a:lnTo>
                    <a:pt x="176" y="19"/>
                  </a:lnTo>
                  <a:lnTo>
                    <a:pt x="156" y="19"/>
                  </a:lnTo>
                  <a:lnTo>
                    <a:pt x="127" y="9"/>
                  </a:lnTo>
                  <a:lnTo>
                    <a:pt x="107" y="9"/>
                  </a:lnTo>
                  <a:lnTo>
                    <a:pt x="97" y="0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68" y="19"/>
                  </a:lnTo>
                  <a:lnTo>
                    <a:pt x="58" y="9"/>
                  </a:lnTo>
                  <a:lnTo>
                    <a:pt x="49" y="19"/>
                  </a:lnTo>
                  <a:lnTo>
                    <a:pt x="49" y="29"/>
                  </a:lnTo>
                  <a:lnTo>
                    <a:pt x="39" y="39"/>
                  </a:lnTo>
                  <a:lnTo>
                    <a:pt x="19" y="58"/>
                  </a:lnTo>
                  <a:lnTo>
                    <a:pt x="0" y="87"/>
                  </a:lnTo>
                  <a:lnTo>
                    <a:pt x="10" y="97"/>
                  </a:lnTo>
                  <a:lnTo>
                    <a:pt x="0" y="117"/>
                  </a:lnTo>
                  <a:lnTo>
                    <a:pt x="10" y="126"/>
                  </a:lnTo>
                  <a:lnTo>
                    <a:pt x="19" y="126"/>
                  </a:lnTo>
                  <a:lnTo>
                    <a:pt x="39" y="126"/>
                  </a:lnTo>
                  <a:lnTo>
                    <a:pt x="49" y="136"/>
                  </a:lnTo>
                  <a:lnTo>
                    <a:pt x="29" y="146"/>
                  </a:lnTo>
                  <a:lnTo>
                    <a:pt x="39" y="15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0" name="Freeform 162"/>
            <p:cNvSpPr>
              <a:spLocks/>
            </p:cNvSpPr>
            <p:nvPr/>
          </p:nvSpPr>
          <p:spPr bwMode="auto">
            <a:xfrm>
              <a:off x="1424" y="2039"/>
              <a:ext cx="256" cy="235"/>
            </a:xfrm>
            <a:custGeom>
              <a:avLst/>
              <a:gdLst/>
              <a:ahLst/>
              <a:cxnLst>
                <a:cxn ang="0">
                  <a:pos x="127" y="234"/>
                </a:cxn>
                <a:cxn ang="0">
                  <a:pos x="166" y="215"/>
                </a:cxn>
                <a:cxn ang="0">
                  <a:pos x="166" y="156"/>
                </a:cxn>
                <a:cxn ang="0">
                  <a:pos x="166" y="147"/>
                </a:cxn>
                <a:cxn ang="0">
                  <a:pos x="185" y="137"/>
                </a:cxn>
                <a:cxn ang="0">
                  <a:pos x="215" y="117"/>
                </a:cxn>
                <a:cxn ang="0">
                  <a:pos x="244" y="98"/>
                </a:cxn>
                <a:cxn ang="0">
                  <a:pos x="234" y="88"/>
                </a:cxn>
                <a:cxn ang="0">
                  <a:pos x="254" y="78"/>
                </a:cxn>
                <a:cxn ang="0">
                  <a:pos x="244" y="68"/>
                </a:cxn>
                <a:cxn ang="0">
                  <a:pos x="224" y="68"/>
                </a:cxn>
                <a:cxn ang="0">
                  <a:pos x="215" y="68"/>
                </a:cxn>
                <a:cxn ang="0">
                  <a:pos x="215" y="59"/>
                </a:cxn>
                <a:cxn ang="0">
                  <a:pos x="215" y="39"/>
                </a:cxn>
                <a:cxn ang="0">
                  <a:pos x="205" y="29"/>
                </a:cxn>
                <a:cxn ang="0">
                  <a:pos x="185" y="29"/>
                </a:cxn>
                <a:cxn ang="0">
                  <a:pos x="166" y="29"/>
                </a:cxn>
                <a:cxn ang="0">
                  <a:pos x="156" y="49"/>
                </a:cxn>
                <a:cxn ang="0">
                  <a:pos x="137" y="39"/>
                </a:cxn>
                <a:cxn ang="0">
                  <a:pos x="117" y="29"/>
                </a:cxn>
                <a:cxn ang="0">
                  <a:pos x="127" y="20"/>
                </a:cxn>
                <a:cxn ang="0">
                  <a:pos x="107" y="0"/>
                </a:cxn>
                <a:cxn ang="0">
                  <a:pos x="88" y="10"/>
                </a:cxn>
                <a:cxn ang="0">
                  <a:pos x="78" y="20"/>
                </a:cxn>
                <a:cxn ang="0">
                  <a:pos x="59" y="20"/>
                </a:cxn>
                <a:cxn ang="0">
                  <a:pos x="49" y="29"/>
                </a:cxn>
                <a:cxn ang="0">
                  <a:pos x="59" y="39"/>
                </a:cxn>
                <a:cxn ang="0">
                  <a:pos x="49" y="49"/>
                </a:cxn>
                <a:cxn ang="0">
                  <a:pos x="39" y="59"/>
                </a:cxn>
                <a:cxn ang="0">
                  <a:pos x="20" y="59"/>
                </a:cxn>
                <a:cxn ang="0">
                  <a:pos x="10" y="68"/>
                </a:cxn>
                <a:cxn ang="0">
                  <a:pos x="0" y="78"/>
                </a:cxn>
                <a:cxn ang="0">
                  <a:pos x="10" y="88"/>
                </a:cxn>
                <a:cxn ang="0">
                  <a:pos x="29" y="88"/>
                </a:cxn>
                <a:cxn ang="0">
                  <a:pos x="29" y="98"/>
                </a:cxn>
                <a:cxn ang="0">
                  <a:pos x="39" y="107"/>
                </a:cxn>
                <a:cxn ang="0">
                  <a:pos x="39" y="107"/>
                </a:cxn>
                <a:cxn ang="0">
                  <a:pos x="59" y="107"/>
                </a:cxn>
                <a:cxn ang="0">
                  <a:pos x="49" y="127"/>
                </a:cxn>
                <a:cxn ang="0">
                  <a:pos x="59" y="137"/>
                </a:cxn>
                <a:cxn ang="0">
                  <a:pos x="78" y="137"/>
                </a:cxn>
                <a:cxn ang="0">
                  <a:pos x="78" y="156"/>
                </a:cxn>
                <a:cxn ang="0">
                  <a:pos x="88" y="156"/>
                </a:cxn>
                <a:cxn ang="0">
                  <a:pos x="78" y="166"/>
                </a:cxn>
                <a:cxn ang="0">
                  <a:pos x="78" y="186"/>
                </a:cxn>
                <a:cxn ang="0">
                  <a:pos x="88" y="195"/>
                </a:cxn>
                <a:cxn ang="0">
                  <a:pos x="98" y="195"/>
                </a:cxn>
                <a:cxn ang="0">
                  <a:pos x="107" y="205"/>
                </a:cxn>
                <a:cxn ang="0">
                  <a:pos x="127" y="234"/>
                </a:cxn>
              </a:cxnLst>
              <a:rect l="0" t="0" r="r" b="b"/>
              <a:pathLst>
                <a:path w="254" h="234">
                  <a:moveTo>
                    <a:pt x="127" y="234"/>
                  </a:moveTo>
                  <a:lnTo>
                    <a:pt x="166" y="215"/>
                  </a:lnTo>
                  <a:lnTo>
                    <a:pt x="166" y="156"/>
                  </a:lnTo>
                  <a:lnTo>
                    <a:pt x="166" y="147"/>
                  </a:lnTo>
                  <a:lnTo>
                    <a:pt x="185" y="137"/>
                  </a:lnTo>
                  <a:lnTo>
                    <a:pt x="215" y="117"/>
                  </a:lnTo>
                  <a:lnTo>
                    <a:pt x="244" y="98"/>
                  </a:lnTo>
                  <a:lnTo>
                    <a:pt x="234" y="8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24" y="68"/>
                  </a:lnTo>
                  <a:lnTo>
                    <a:pt x="215" y="68"/>
                  </a:lnTo>
                  <a:lnTo>
                    <a:pt x="215" y="59"/>
                  </a:lnTo>
                  <a:lnTo>
                    <a:pt x="215" y="39"/>
                  </a:lnTo>
                  <a:lnTo>
                    <a:pt x="205" y="29"/>
                  </a:lnTo>
                  <a:lnTo>
                    <a:pt x="185" y="29"/>
                  </a:lnTo>
                  <a:lnTo>
                    <a:pt x="166" y="29"/>
                  </a:lnTo>
                  <a:lnTo>
                    <a:pt x="156" y="49"/>
                  </a:lnTo>
                  <a:lnTo>
                    <a:pt x="137" y="39"/>
                  </a:lnTo>
                  <a:lnTo>
                    <a:pt x="117" y="29"/>
                  </a:lnTo>
                  <a:lnTo>
                    <a:pt x="127" y="20"/>
                  </a:lnTo>
                  <a:lnTo>
                    <a:pt x="107" y="0"/>
                  </a:lnTo>
                  <a:lnTo>
                    <a:pt x="88" y="10"/>
                  </a:lnTo>
                  <a:lnTo>
                    <a:pt x="78" y="2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59" y="39"/>
                  </a:lnTo>
                  <a:lnTo>
                    <a:pt x="49" y="49"/>
                  </a:lnTo>
                  <a:lnTo>
                    <a:pt x="39" y="59"/>
                  </a:lnTo>
                  <a:lnTo>
                    <a:pt x="20" y="59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29" y="88"/>
                  </a:lnTo>
                  <a:lnTo>
                    <a:pt x="29" y="9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49" y="127"/>
                  </a:lnTo>
                  <a:lnTo>
                    <a:pt x="59" y="137"/>
                  </a:lnTo>
                  <a:lnTo>
                    <a:pt x="78" y="137"/>
                  </a:lnTo>
                  <a:lnTo>
                    <a:pt x="78" y="156"/>
                  </a:lnTo>
                  <a:lnTo>
                    <a:pt x="88" y="156"/>
                  </a:lnTo>
                  <a:lnTo>
                    <a:pt x="78" y="166"/>
                  </a:lnTo>
                  <a:lnTo>
                    <a:pt x="78" y="186"/>
                  </a:lnTo>
                  <a:lnTo>
                    <a:pt x="88" y="195"/>
                  </a:lnTo>
                  <a:lnTo>
                    <a:pt x="98" y="195"/>
                  </a:lnTo>
                  <a:lnTo>
                    <a:pt x="107" y="205"/>
                  </a:lnTo>
                  <a:lnTo>
                    <a:pt x="127" y="2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1" name="Freeform 161"/>
            <p:cNvSpPr>
              <a:spLocks/>
            </p:cNvSpPr>
            <p:nvPr/>
          </p:nvSpPr>
          <p:spPr bwMode="auto">
            <a:xfrm>
              <a:off x="1542" y="2135"/>
              <a:ext cx="253" cy="264"/>
            </a:xfrm>
            <a:custGeom>
              <a:avLst/>
              <a:gdLst/>
              <a:ahLst/>
              <a:cxnLst>
                <a:cxn ang="0">
                  <a:pos x="10" y="156"/>
                </a:cxn>
                <a:cxn ang="0">
                  <a:pos x="10" y="156"/>
                </a:cxn>
                <a:cxn ang="0">
                  <a:pos x="0" y="175"/>
                </a:cxn>
                <a:cxn ang="0">
                  <a:pos x="10" y="185"/>
                </a:cxn>
                <a:cxn ang="0">
                  <a:pos x="29" y="185"/>
                </a:cxn>
                <a:cxn ang="0">
                  <a:pos x="39" y="185"/>
                </a:cxn>
                <a:cxn ang="0">
                  <a:pos x="49" y="205"/>
                </a:cxn>
                <a:cxn ang="0">
                  <a:pos x="49" y="224"/>
                </a:cxn>
                <a:cxn ang="0">
                  <a:pos x="59" y="234"/>
                </a:cxn>
                <a:cxn ang="0">
                  <a:pos x="68" y="234"/>
                </a:cxn>
                <a:cxn ang="0">
                  <a:pos x="78" y="244"/>
                </a:cxn>
                <a:cxn ang="0">
                  <a:pos x="68" y="244"/>
                </a:cxn>
                <a:cxn ang="0">
                  <a:pos x="68" y="253"/>
                </a:cxn>
                <a:cxn ang="0">
                  <a:pos x="78" y="263"/>
                </a:cxn>
                <a:cxn ang="0">
                  <a:pos x="88" y="263"/>
                </a:cxn>
                <a:cxn ang="0">
                  <a:pos x="98" y="263"/>
                </a:cxn>
                <a:cxn ang="0">
                  <a:pos x="117" y="244"/>
                </a:cxn>
                <a:cxn ang="0">
                  <a:pos x="127" y="244"/>
                </a:cxn>
                <a:cxn ang="0">
                  <a:pos x="137" y="234"/>
                </a:cxn>
                <a:cxn ang="0">
                  <a:pos x="146" y="224"/>
                </a:cxn>
                <a:cxn ang="0">
                  <a:pos x="166" y="224"/>
                </a:cxn>
                <a:cxn ang="0">
                  <a:pos x="185" y="224"/>
                </a:cxn>
                <a:cxn ang="0">
                  <a:pos x="195" y="205"/>
                </a:cxn>
                <a:cxn ang="0">
                  <a:pos x="195" y="185"/>
                </a:cxn>
                <a:cxn ang="0">
                  <a:pos x="195" y="166"/>
                </a:cxn>
                <a:cxn ang="0">
                  <a:pos x="215" y="156"/>
                </a:cxn>
                <a:cxn ang="0">
                  <a:pos x="225" y="136"/>
                </a:cxn>
                <a:cxn ang="0">
                  <a:pos x="225" y="88"/>
                </a:cxn>
                <a:cxn ang="0">
                  <a:pos x="254" y="88"/>
                </a:cxn>
                <a:cxn ang="0">
                  <a:pos x="225" y="49"/>
                </a:cxn>
                <a:cxn ang="0">
                  <a:pos x="205" y="49"/>
                </a:cxn>
                <a:cxn ang="0">
                  <a:pos x="185" y="58"/>
                </a:cxn>
                <a:cxn ang="0">
                  <a:pos x="176" y="58"/>
                </a:cxn>
                <a:cxn ang="0">
                  <a:pos x="166" y="39"/>
                </a:cxn>
                <a:cxn ang="0">
                  <a:pos x="166" y="29"/>
                </a:cxn>
                <a:cxn ang="0">
                  <a:pos x="166" y="9"/>
                </a:cxn>
                <a:cxn ang="0">
                  <a:pos x="156" y="9"/>
                </a:cxn>
                <a:cxn ang="0">
                  <a:pos x="137" y="9"/>
                </a:cxn>
                <a:cxn ang="0">
                  <a:pos x="127" y="9"/>
                </a:cxn>
                <a:cxn ang="0">
                  <a:pos x="127" y="0"/>
                </a:cxn>
                <a:cxn ang="0">
                  <a:pos x="98" y="19"/>
                </a:cxn>
                <a:cxn ang="0">
                  <a:pos x="68" y="39"/>
                </a:cxn>
                <a:cxn ang="0">
                  <a:pos x="49" y="39"/>
                </a:cxn>
                <a:cxn ang="0">
                  <a:pos x="39" y="58"/>
                </a:cxn>
                <a:cxn ang="0">
                  <a:pos x="39" y="107"/>
                </a:cxn>
                <a:cxn ang="0">
                  <a:pos x="10" y="136"/>
                </a:cxn>
                <a:cxn ang="0">
                  <a:pos x="10" y="156"/>
                </a:cxn>
              </a:cxnLst>
              <a:rect l="0" t="0" r="r" b="b"/>
              <a:pathLst>
                <a:path w="254" h="263">
                  <a:moveTo>
                    <a:pt x="10" y="156"/>
                  </a:moveTo>
                  <a:lnTo>
                    <a:pt x="10" y="156"/>
                  </a:lnTo>
                  <a:lnTo>
                    <a:pt x="0" y="175"/>
                  </a:lnTo>
                  <a:lnTo>
                    <a:pt x="10" y="185"/>
                  </a:lnTo>
                  <a:lnTo>
                    <a:pt x="29" y="185"/>
                  </a:lnTo>
                  <a:lnTo>
                    <a:pt x="39" y="185"/>
                  </a:lnTo>
                  <a:lnTo>
                    <a:pt x="49" y="205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68" y="234"/>
                  </a:lnTo>
                  <a:lnTo>
                    <a:pt x="78" y="244"/>
                  </a:lnTo>
                  <a:lnTo>
                    <a:pt x="68" y="244"/>
                  </a:lnTo>
                  <a:lnTo>
                    <a:pt x="68" y="253"/>
                  </a:lnTo>
                  <a:lnTo>
                    <a:pt x="78" y="263"/>
                  </a:lnTo>
                  <a:lnTo>
                    <a:pt x="88" y="263"/>
                  </a:lnTo>
                  <a:lnTo>
                    <a:pt x="98" y="263"/>
                  </a:lnTo>
                  <a:lnTo>
                    <a:pt x="117" y="244"/>
                  </a:lnTo>
                  <a:lnTo>
                    <a:pt x="127" y="244"/>
                  </a:lnTo>
                  <a:lnTo>
                    <a:pt x="137" y="234"/>
                  </a:lnTo>
                  <a:lnTo>
                    <a:pt x="146" y="224"/>
                  </a:lnTo>
                  <a:lnTo>
                    <a:pt x="166" y="224"/>
                  </a:lnTo>
                  <a:lnTo>
                    <a:pt x="185" y="224"/>
                  </a:lnTo>
                  <a:lnTo>
                    <a:pt x="195" y="205"/>
                  </a:lnTo>
                  <a:lnTo>
                    <a:pt x="195" y="185"/>
                  </a:lnTo>
                  <a:lnTo>
                    <a:pt x="195" y="166"/>
                  </a:lnTo>
                  <a:lnTo>
                    <a:pt x="215" y="156"/>
                  </a:lnTo>
                  <a:lnTo>
                    <a:pt x="225" y="136"/>
                  </a:lnTo>
                  <a:lnTo>
                    <a:pt x="225" y="88"/>
                  </a:lnTo>
                  <a:lnTo>
                    <a:pt x="254" y="88"/>
                  </a:lnTo>
                  <a:lnTo>
                    <a:pt x="225" y="49"/>
                  </a:lnTo>
                  <a:lnTo>
                    <a:pt x="205" y="49"/>
                  </a:lnTo>
                  <a:lnTo>
                    <a:pt x="185" y="58"/>
                  </a:lnTo>
                  <a:lnTo>
                    <a:pt x="176" y="58"/>
                  </a:lnTo>
                  <a:lnTo>
                    <a:pt x="166" y="39"/>
                  </a:lnTo>
                  <a:lnTo>
                    <a:pt x="166" y="29"/>
                  </a:lnTo>
                  <a:lnTo>
                    <a:pt x="166" y="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9"/>
                  </a:lnTo>
                  <a:lnTo>
                    <a:pt x="127" y="0"/>
                  </a:lnTo>
                  <a:lnTo>
                    <a:pt x="98" y="19"/>
                  </a:lnTo>
                  <a:lnTo>
                    <a:pt x="68" y="39"/>
                  </a:lnTo>
                  <a:lnTo>
                    <a:pt x="49" y="39"/>
                  </a:lnTo>
                  <a:lnTo>
                    <a:pt x="39" y="58"/>
                  </a:lnTo>
                  <a:lnTo>
                    <a:pt x="39" y="107"/>
                  </a:lnTo>
                  <a:lnTo>
                    <a:pt x="10" y="136"/>
                  </a:lnTo>
                  <a:lnTo>
                    <a:pt x="10" y="15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2" name="Freeform 160"/>
            <p:cNvSpPr>
              <a:spLocks/>
            </p:cNvSpPr>
            <p:nvPr/>
          </p:nvSpPr>
          <p:spPr bwMode="auto">
            <a:xfrm>
              <a:off x="1289" y="2135"/>
              <a:ext cx="332" cy="314"/>
            </a:xfrm>
            <a:custGeom>
              <a:avLst/>
              <a:gdLst/>
              <a:ahLst/>
              <a:cxnLst>
                <a:cxn ang="0">
                  <a:pos x="117" y="68"/>
                </a:cxn>
                <a:cxn ang="0">
                  <a:pos x="87" y="78"/>
                </a:cxn>
                <a:cxn ang="0">
                  <a:pos x="97" y="97"/>
                </a:cxn>
                <a:cxn ang="0">
                  <a:pos x="78" y="117"/>
                </a:cxn>
                <a:cxn ang="0">
                  <a:pos x="68" y="117"/>
                </a:cxn>
                <a:cxn ang="0">
                  <a:pos x="68" y="136"/>
                </a:cxn>
                <a:cxn ang="0">
                  <a:pos x="58" y="156"/>
                </a:cxn>
                <a:cxn ang="0">
                  <a:pos x="19" y="195"/>
                </a:cxn>
                <a:cxn ang="0">
                  <a:pos x="0" y="205"/>
                </a:cxn>
                <a:cxn ang="0">
                  <a:pos x="9" y="234"/>
                </a:cxn>
                <a:cxn ang="0">
                  <a:pos x="9" y="263"/>
                </a:cxn>
                <a:cxn ang="0">
                  <a:pos x="39" y="292"/>
                </a:cxn>
                <a:cxn ang="0">
                  <a:pos x="68" y="312"/>
                </a:cxn>
                <a:cxn ang="0">
                  <a:pos x="107" y="292"/>
                </a:cxn>
                <a:cxn ang="0">
                  <a:pos x="136" y="302"/>
                </a:cxn>
                <a:cxn ang="0">
                  <a:pos x="156" y="292"/>
                </a:cxn>
                <a:cxn ang="0">
                  <a:pos x="175" y="273"/>
                </a:cxn>
                <a:cxn ang="0">
                  <a:pos x="185" y="253"/>
                </a:cxn>
                <a:cxn ang="0">
                  <a:pos x="234" y="263"/>
                </a:cxn>
                <a:cxn ang="0">
                  <a:pos x="282" y="302"/>
                </a:cxn>
                <a:cxn ang="0">
                  <a:pos x="321" y="292"/>
                </a:cxn>
                <a:cxn ang="0">
                  <a:pos x="331" y="263"/>
                </a:cxn>
                <a:cxn ang="0">
                  <a:pos x="321" y="244"/>
                </a:cxn>
                <a:cxn ang="0">
                  <a:pos x="321" y="234"/>
                </a:cxn>
                <a:cxn ang="0">
                  <a:pos x="302" y="224"/>
                </a:cxn>
                <a:cxn ang="0">
                  <a:pos x="292" y="185"/>
                </a:cxn>
                <a:cxn ang="0">
                  <a:pos x="263" y="185"/>
                </a:cxn>
                <a:cxn ang="0">
                  <a:pos x="263" y="156"/>
                </a:cxn>
                <a:cxn ang="0">
                  <a:pos x="263" y="136"/>
                </a:cxn>
                <a:cxn ang="0">
                  <a:pos x="234" y="97"/>
                </a:cxn>
                <a:cxn ang="0">
                  <a:pos x="214" y="88"/>
                </a:cxn>
                <a:cxn ang="0">
                  <a:pos x="224" y="58"/>
                </a:cxn>
                <a:cxn ang="0">
                  <a:pos x="204" y="39"/>
                </a:cxn>
                <a:cxn ang="0">
                  <a:pos x="185" y="29"/>
                </a:cxn>
                <a:cxn ang="0">
                  <a:pos x="175" y="9"/>
                </a:cxn>
                <a:cxn ang="0">
                  <a:pos x="165" y="0"/>
                </a:cxn>
                <a:cxn ang="0">
                  <a:pos x="156" y="29"/>
                </a:cxn>
                <a:cxn ang="0">
                  <a:pos x="136" y="9"/>
                </a:cxn>
                <a:cxn ang="0">
                  <a:pos x="126" y="39"/>
                </a:cxn>
              </a:cxnLst>
              <a:rect l="0" t="0" r="r" b="b"/>
              <a:pathLst>
                <a:path w="331" h="312">
                  <a:moveTo>
                    <a:pt x="117" y="49"/>
                  </a:moveTo>
                  <a:lnTo>
                    <a:pt x="117" y="68"/>
                  </a:lnTo>
                  <a:lnTo>
                    <a:pt x="97" y="68"/>
                  </a:lnTo>
                  <a:lnTo>
                    <a:pt x="87" y="78"/>
                  </a:lnTo>
                  <a:lnTo>
                    <a:pt x="97" y="88"/>
                  </a:lnTo>
                  <a:lnTo>
                    <a:pt x="97" y="97"/>
                  </a:lnTo>
                  <a:lnTo>
                    <a:pt x="87" y="107"/>
                  </a:lnTo>
                  <a:lnTo>
                    <a:pt x="78" y="117"/>
                  </a:lnTo>
                  <a:lnTo>
                    <a:pt x="68" y="117"/>
                  </a:lnTo>
                  <a:lnTo>
                    <a:pt x="68" y="127"/>
                  </a:lnTo>
                  <a:lnTo>
                    <a:pt x="68" y="13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29" y="185"/>
                  </a:lnTo>
                  <a:lnTo>
                    <a:pt x="19" y="195"/>
                  </a:lnTo>
                  <a:lnTo>
                    <a:pt x="9" y="205"/>
                  </a:lnTo>
                  <a:lnTo>
                    <a:pt x="0" y="205"/>
                  </a:lnTo>
                  <a:lnTo>
                    <a:pt x="0" y="214"/>
                  </a:lnTo>
                  <a:lnTo>
                    <a:pt x="9" y="234"/>
                  </a:lnTo>
                  <a:lnTo>
                    <a:pt x="0" y="253"/>
                  </a:lnTo>
                  <a:lnTo>
                    <a:pt x="9" y="263"/>
                  </a:lnTo>
                  <a:lnTo>
                    <a:pt x="9" y="273"/>
                  </a:lnTo>
                  <a:lnTo>
                    <a:pt x="39" y="29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97" y="292"/>
                  </a:lnTo>
                  <a:lnTo>
                    <a:pt x="107" y="292"/>
                  </a:lnTo>
                  <a:lnTo>
                    <a:pt x="117" y="312"/>
                  </a:lnTo>
                  <a:lnTo>
                    <a:pt x="136" y="302"/>
                  </a:lnTo>
                  <a:lnTo>
                    <a:pt x="146" y="292"/>
                  </a:lnTo>
                  <a:lnTo>
                    <a:pt x="156" y="292"/>
                  </a:lnTo>
                  <a:lnTo>
                    <a:pt x="165" y="283"/>
                  </a:lnTo>
                  <a:lnTo>
                    <a:pt x="175" y="273"/>
                  </a:lnTo>
                  <a:lnTo>
                    <a:pt x="185" y="263"/>
                  </a:lnTo>
                  <a:lnTo>
                    <a:pt x="185" y="253"/>
                  </a:lnTo>
                  <a:lnTo>
                    <a:pt x="204" y="253"/>
                  </a:lnTo>
                  <a:lnTo>
                    <a:pt x="234" y="263"/>
                  </a:lnTo>
                  <a:lnTo>
                    <a:pt x="253" y="263"/>
                  </a:lnTo>
                  <a:lnTo>
                    <a:pt x="282" y="302"/>
                  </a:lnTo>
                  <a:lnTo>
                    <a:pt x="302" y="312"/>
                  </a:lnTo>
                  <a:lnTo>
                    <a:pt x="321" y="292"/>
                  </a:lnTo>
                  <a:lnTo>
                    <a:pt x="321" y="273"/>
                  </a:lnTo>
                  <a:lnTo>
                    <a:pt x="331" y="263"/>
                  </a:lnTo>
                  <a:lnTo>
                    <a:pt x="321" y="253"/>
                  </a:lnTo>
                  <a:lnTo>
                    <a:pt x="321" y="244"/>
                  </a:lnTo>
                  <a:lnTo>
                    <a:pt x="331" y="234"/>
                  </a:lnTo>
                  <a:lnTo>
                    <a:pt x="321" y="234"/>
                  </a:lnTo>
                  <a:lnTo>
                    <a:pt x="312" y="234"/>
                  </a:lnTo>
                  <a:lnTo>
                    <a:pt x="302" y="224"/>
                  </a:lnTo>
                  <a:lnTo>
                    <a:pt x="302" y="205"/>
                  </a:lnTo>
                  <a:lnTo>
                    <a:pt x="292" y="185"/>
                  </a:lnTo>
                  <a:lnTo>
                    <a:pt x="282" y="185"/>
                  </a:lnTo>
                  <a:lnTo>
                    <a:pt x="263" y="185"/>
                  </a:lnTo>
                  <a:lnTo>
                    <a:pt x="253" y="175"/>
                  </a:lnTo>
                  <a:lnTo>
                    <a:pt x="263" y="156"/>
                  </a:lnTo>
                  <a:lnTo>
                    <a:pt x="263" y="136"/>
                  </a:lnTo>
                  <a:lnTo>
                    <a:pt x="243" y="97"/>
                  </a:lnTo>
                  <a:lnTo>
                    <a:pt x="234" y="97"/>
                  </a:lnTo>
                  <a:lnTo>
                    <a:pt x="224" y="97"/>
                  </a:lnTo>
                  <a:lnTo>
                    <a:pt x="214" y="88"/>
                  </a:lnTo>
                  <a:lnTo>
                    <a:pt x="214" y="6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204" y="39"/>
                  </a:lnTo>
                  <a:lnTo>
                    <a:pt x="195" y="39"/>
                  </a:lnTo>
                  <a:lnTo>
                    <a:pt x="185" y="29"/>
                  </a:lnTo>
                  <a:lnTo>
                    <a:pt x="195" y="9"/>
                  </a:lnTo>
                  <a:lnTo>
                    <a:pt x="175" y="9"/>
                  </a:lnTo>
                  <a:lnTo>
                    <a:pt x="165" y="0"/>
                  </a:lnTo>
                  <a:lnTo>
                    <a:pt x="156" y="9"/>
                  </a:lnTo>
                  <a:lnTo>
                    <a:pt x="156" y="29"/>
                  </a:lnTo>
                  <a:lnTo>
                    <a:pt x="146" y="19"/>
                  </a:lnTo>
                  <a:lnTo>
                    <a:pt x="136" y="9"/>
                  </a:lnTo>
                  <a:lnTo>
                    <a:pt x="126" y="19"/>
                  </a:lnTo>
                  <a:lnTo>
                    <a:pt x="126" y="39"/>
                  </a:lnTo>
                  <a:lnTo>
                    <a:pt x="117" y="4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3" name="Freeform 159"/>
            <p:cNvSpPr>
              <a:spLocks/>
            </p:cNvSpPr>
            <p:nvPr/>
          </p:nvSpPr>
          <p:spPr bwMode="auto">
            <a:xfrm>
              <a:off x="1767" y="1072"/>
              <a:ext cx="456" cy="433"/>
            </a:xfrm>
            <a:custGeom>
              <a:avLst/>
              <a:gdLst/>
              <a:ahLst/>
              <a:cxnLst>
                <a:cxn ang="0">
                  <a:pos x="429" y="322"/>
                </a:cxn>
                <a:cxn ang="0">
                  <a:pos x="399" y="322"/>
                </a:cxn>
                <a:cxn ang="0">
                  <a:pos x="370" y="351"/>
                </a:cxn>
                <a:cxn ang="0">
                  <a:pos x="331" y="371"/>
                </a:cxn>
                <a:cxn ang="0">
                  <a:pos x="292" y="410"/>
                </a:cxn>
                <a:cxn ang="0">
                  <a:pos x="253" y="410"/>
                </a:cxn>
                <a:cxn ang="0">
                  <a:pos x="224" y="410"/>
                </a:cxn>
                <a:cxn ang="0">
                  <a:pos x="214" y="381"/>
                </a:cxn>
                <a:cxn ang="0">
                  <a:pos x="224" y="361"/>
                </a:cxn>
                <a:cxn ang="0">
                  <a:pos x="204" y="351"/>
                </a:cxn>
                <a:cxn ang="0">
                  <a:pos x="214" y="322"/>
                </a:cxn>
                <a:cxn ang="0">
                  <a:pos x="185" y="303"/>
                </a:cxn>
                <a:cxn ang="0">
                  <a:pos x="156" y="293"/>
                </a:cxn>
                <a:cxn ang="0">
                  <a:pos x="175" y="264"/>
                </a:cxn>
                <a:cxn ang="0">
                  <a:pos x="156" y="244"/>
                </a:cxn>
                <a:cxn ang="0">
                  <a:pos x="107" y="244"/>
                </a:cxn>
                <a:cxn ang="0">
                  <a:pos x="87" y="215"/>
                </a:cxn>
                <a:cxn ang="0">
                  <a:pos x="58" y="225"/>
                </a:cxn>
                <a:cxn ang="0">
                  <a:pos x="48" y="205"/>
                </a:cxn>
                <a:cxn ang="0">
                  <a:pos x="29" y="205"/>
                </a:cxn>
                <a:cxn ang="0">
                  <a:pos x="0" y="195"/>
                </a:cxn>
                <a:cxn ang="0">
                  <a:pos x="9" y="176"/>
                </a:cxn>
                <a:cxn ang="0">
                  <a:pos x="9" y="147"/>
                </a:cxn>
                <a:cxn ang="0">
                  <a:pos x="9" y="108"/>
                </a:cxn>
                <a:cxn ang="0">
                  <a:pos x="9" y="88"/>
                </a:cxn>
                <a:cxn ang="0">
                  <a:pos x="29" y="78"/>
                </a:cxn>
                <a:cxn ang="0">
                  <a:pos x="58" y="69"/>
                </a:cxn>
                <a:cxn ang="0">
                  <a:pos x="97" y="59"/>
                </a:cxn>
                <a:cxn ang="0">
                  <a:pos x="87" y="69"/>
                </a:cxn>
                <a:cxn ang="0">
                  <a:pos x="107" y="69"/>
                </a:cxn>
                <a:cxn ang="0">
                  <a:pos x="107" y="78"/>
                </a:cxn>
                <a:cxn ang="0">
                  <a:pos x="126" y="88"/>
                </a:cxn>
                <a:cxn ang="0">
                  <a:pos x="146" y="108"/>
                </a:cxn>
                <a:cxn ang="0">
                  <a:pos x="146" y="127"/>
                </a:cxn>
                <a:cxn ang="0">
                  <a:pos x="126" y="147"/>
                </a:cxn>
                <a:cxn ang="0">
                  <a:pos x="117" y="166"/>
                </a:cxn>
                <a:cxn ang="0">
                  <a:pos x="126" y="186"/>
                </a:cxn>
                <a:cxn ang="0">
                  <a:pos x="156" y="195"/>
                </a:cxn>
                <a:cxn ang="0">
                  <a:pos x="185" y="195"/>
                </a:cxn>
                <a:cxn ang="0">
                  <a:pos x="204" y="176"/>
                </a:cxn>
                <a:cxn ang="0">
                  <a:pos x="214" y="156"/>
                </a:cxn>
                <a:cxn ang="0">
                  <a:pos x="204" y="127"/>
                </a:cxn>
                <a:cxn ang="0">
                  <a:pos x="195" y="117"/>
                </a:cxn>
                <a:cxn ang="0">
                  <a:pos x="175" y="98"/>
                </a:cxn>
                <a:cxn ang="0">
                  <a:pos x="165" y="78"/>
                </a:cxn>
                <a:cxn ang="0">
                  <a:pos x="165" y="49"/>
                </a:cxn>
                <a:cxn ang="0">
                  <a:pos x="175" y="49"/>
                </a:cxn>
                <a:cxn ang="0">
                  <a:pos x="185" y="30"/>
                </a:cxn>
                <a:cxn ang="0">
                  <a:pos x="204" y="30"/>
                </a:cxn>
                <a:cxn ang="0">
                  <a:pos x="185" y="20"/>
                </a:cxn>
                <a:cxn ang="0">
                  <a:pos x="165" y="10"/>
                </a:cxn>
                <a:cxn ang="0">
                  <a:pos x="195" y="0"/>
                </a:cxn>
                <a:cxn ang="0">
                  <a:pos x="263" y="20"/>
                </a:cxn>
                <a:cxn ang="0">
                  <a:pos x="282" y="20"/>
                </a:cxn>
                <a:cxn ang="0">
                  <a:pos x="282" y="49"/>
                </a:cxn>
                <a:cxn ang="0">
                  <a:pos x="282" y="88"/>
                </a:cxn>
                <a:cxn ang="0">
                  <a:pos x="331" y="234"/>
                </a:cxn>
                <a:cxn ang="0">
                  <a:pos x="390" y="244"/>
                </a:cxn>
                <a:cxn ang="0">
                  <a:pos x="399" y="215"/>
                </a:cxn>
                <a:cxn ang="0">
                  <a:pos x="419" y="254"/>
                </a:cxn>
                <a:cxn ang="0">
                  <a:pos x="458" y="303"/>
                </a:cxn>
                <a:cxn ang="0">
                  <a:pos x="458" y="322"/>
                </a:cxn>
                <a:cxn ang="0">
                  <a:pos x="448" y="332"/>
                </a:cxn>
              </a:cxnLst>
              <a:rect l="0" t="0" r="r" b="b"/>
              <a:pathLst>
                <a:path w="458" h="430">
                  <a:moveTo>
                    <a:pt x="448" y="332"/>
                  </a:moveTo>
                  <a:lnTo>
                    <a:pt x="429" y="322"/>
                  </a:lnTo>
                  <a:lnTo>
                    <a:pt x="409" y="322"/>
                  </a:lnTo>
                  <a:lnTo>
                    <a:pt x="399" y="322"/>
                  </a:lnTo>
                  <a:lnTo>
                    <a:pt x="390" y="332"/>
                  </a:lnTo>
                  <a:lnTo>
                    <a:pt x="370" y="351"/>
                  </a:lnTo>
                  <a:lnTo>
                    <a:pt x="331" y="361"/>
                  </a:lnTo>
                  <a:lnTo>
                    <a:pt x="331" y="371"/>
                  </a:lnTo>
                  <a:lnTo>
                    <a:pt x="312" y="391"/>
                  </a:lnTo>
                  <a:lnTo>
                    <a:pt x="292" y="410"/>
                  </a:lnTo>
                  <a:lnTo>
                    <a:pt x="273" y="430"/>
                  </a:lnTo>
                  <a:lnTo>
                    <a:pt x="253" y="410"/>
                  </a:lnTo>
                  <a:lnTo>
                    <a:pt x="234" y="410"/>
                  </a:lnTo>
                  <a:lnTo>
                    <a:pt x="224" y="410"/>
                  </a:lnTo>
                  <a:lnTo>
                    <a:pt x="224" y="381"/>
                  </a:lnTo>
                  <a:lnTo>
                    <a:pt x="214" y="381"/>
                  </a:lnTo>
                  <a:lnTo>
                    <a:pt x="214" y="371"/>
                  </a:lnTo>
                  <a:lnTo>
                    <a:pt x="224" y="361"/>
                  </a:lnTo>
                  <a:lnTo>
                    <a:pt x="224" y="351"/>
                  </a:lnTo>
                  <a:lnTo>
                    <a:pt x="204" y="351"/>
                  </a:lnTo>
                  <a:lnTo>
                    <a:pt x="214" y="332"/>
                  </a:lnTo>
                  <a:lnTo>
                    <a:pt x="214" y="322"/>
                  </a:lnTo>
                  <a:lnTo>
                    <a:pt x="204" y="303"/>
                  </a:lnTo>
                  <a:lnTo>
                    <a:pt x="185" y="303"/>
                  </a:lnTo>
                  <a:lnTo>
                    <a:pt x="165" y="303"/>
                  </a:lnTo>
                  <a:lnTo>
                    <a:pt x="156" y="293"/>
                  </a:lnTo>
                  <a:lnTo>
                    <a:pt x="165" y="273"/>
                  </a:lnTo>
                  <a:lnTo>
                    <a:pt x="175" y="264"/>
                  </a:lnTo>
                  <a:lnTo>
                    <a:pt x="165" y="244"/>
                  </a:lnTo>
                  <a:lnTo>
                    <a:pt x="156" y="244"/>
                  </a:lnTo>
                  <a:lnTo>
                    <a:pt x="126" y="244"/>
                  </a:lnTo>
                  <a:lnTo>
                    <a:pt x="107" y="244"/>
                  </a:lnTo>
                  <a:lnTo>
                    <a:pt x="97" y="225"/>
                  </a:lnTo>
                  <a:lnTo>
                    <a:pt x="87" y="215"/>
                  </a:lnTo>
                  <a:lnTo>
                    <a:pt x="68" y="225"/>
                  </a:lnTo>
                  <a:lnTo>
                    <a:pt x="58" y="225"/>
                  </a:lnTo>
                  <a:lnTo>
                    <a:pt x="48" y="215"/>
                  </a:lnTo>
                  <a:lnTo>
                    <a:pt x="48" y="205"/>
                  </a:lnTo>
                  <a:lnTo>
                    <a:pt x="39" y="195"/>
                  </a:lnTo>
                  <a:lnTo>
                    <a:pt x="29" y="205"/>
                  </a:lnTo>
                  <a:lnTo>
                    <a:pt x="9" y="20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9" y="176"/>
                  </a:lnTo>
                  <a:lnTo>
                    <a:pt x="0" y="16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9" y="108"/>
                  </a:lnTo>
                  <a:lnTo>
                    <a:pt x="9" y="88"/>
                  </a:lnTo>
                  <a:lnTo>
                    <a:pt x="9" y="78"/>
                  </a:lnTo>
                  <a:lnTo>
                    <a:pt x="29" y="78"/>
                  </a:lnTo>
                  <a:lnTo>
                    <a:pt x="48" y="69"/>
                  </a:lnTo>
                  <a:lnTo>
                    <a:pt x="58" y="69"/>
                  </a:lnTo>
                  <a:lnTo>
                    <a:pt x="87" y="59"/>
                  </a:lnTo>
                  <a:lnTo>
                    <a:pt x="97" y="59"/>
                  </a:lnTo>
                  <a:lnTo>
                    <a:pt x="87" y="59"/>
                  </a:lnTo>
                  <a:lnTo>
                    <a:pt x="87" y="69"/>
                  </a:lnTo>
                  <a:lnTo>
                    <a:pt x="97" y="69"/>
                  </a:lnTo>
                  <a:lnTo>
                    <a:pt x="107" y="69"/>
                  </a:lnTo>
                  <a:lnTo>
                    <a:pt x="107" y="78"/>
                  </a:lnTo>
                  <a:lnTo>
                    <a:pt x="107" y="88"/>
                  </a:lnTo>
                  <a:lnTo>
                    <a:pt x="126" y="88"/>
                  </a:lnTo>
                  <a:lnTo>
                    <a:pt x="136" y="88"/>
                  </a:lnTo>
                  <a:lnTo>
                    <a:pt x="146" y="108"/>
                  </a:lnTo>
                  <a:lnTo>
                    <a:pt x="156" y="127"/>
                  </a:lnTo>
                  <a:lnTo>
                    <a:pt x="146" y="127"/>
                  </a:lnTo>
                  <a:lnTo>
                    <a:pt x="136" y="137"/>
                  </a:lnTo>
                  <a:lnTo>
                    <a:pt x="126" y="147"/>
                  </a:lnTo>
                  <a:lnTo>
                    <a:pt x="117" y="147"/>
                  </a:lnTo>
                  <a:lnTo>
                    <a:pt x="117" y="166"/>
                  </a:lnTo>
                  <a:lnTo>
                    <a:pt x="126" y="176"/>
                  </a:lnTo>
                  <a:lnTo>
                    <a:pt x="126" y="186"/>
                  </a:lnTo>
                  <a:lnTo>
                    <a:pt x="136" y="186"/>
                  </a:lnTo>
                  <a:lnTo>
                    <a:pt x="156" y="195"/>
                  </a:lnTo>
                  <a:lnTo>
                    <a:pt x="165" y="195"/>
                  </a:lnTo>
                  <a:lnTo>
                    <a:pt x="185" y="195"/>
                  </a:lnTo>
                  <a:lnTo>
                    <a:pt x="195" y="186"/>
                  </a:lnTo>
                  <a:lnTo>
                    <a:pt x="204" y="176"/>
                  </a:lnTo>
                  <a:lnTo>
                    <a:pt x="214" y="166"/>
                  </a:lnTo>
                  <a:lnTo>
                    <a:pt x="214" y="156"/>
                  </a:lnTo>
                  <a:lnTo>
                    <a:pt x="214" y="137"/>
                  </a:lnTo>
                  <a:lnTo>
                    <a:pt x="204" y="127"/>
                  </a:lnTo>
                  <a:lnTo>
                    <a:pt x="195" y="117"/>
                  </a:lnTo>
                  <a:lnTo>
                    <a:pt x="175" y="117"/>
                  </a:lnTo>
                  <a:lnTo>
                    <a:pt x="175" y="98"/>
                  </a:lnTo>
                  <a:lnTo>
                    <a:pt x="165" y="88"/>
                  </a:lnTo>
                  <a:lnTo>
                    <a:pt x="165" y="78"/>
                  </a:lnTo>
                  <a:lnTo>
                    <a:pt x="165" y="59"/>
                  </a:lnTo>
                  <a:lnTo>
                    <a:pt x="165" y="49"/>
                  </a:lnTo>
                  <a:lnTo>
                    <a:pt x="175" y="30"/>
                  </a:lnTo>
                  <a:lnTo>
                    <a:pt x="175" y="49"/>
                  </a:lnTo>
                  <a:lnTo>
                    <a:pt x="185" y="39"/>
                  </a:lnTo>
                  <a:lnTo>
                    <a:pt x="185" y="30"/>
                  </a:lnTo>
                  <a:lnTo>
                    <a:pt x="195" y="30"/>
                  </a:lnTo>
                  <a:lnTo>
                    <a:pt x="204" y="30"/>
                  </a:lnTo>
                  <a:lnTo>
                    <a:pt x="195" y="20"/>
                  </a:lnTo>
                  <a:lnTo>
                    <a:pt x="185" y="20"/>
                  </a:lnTo>
                  <a:lnTo>
                    <a:pt x="175" y="20"/>
                  </a:lnTo>
                  <a:lnTo>
                    <a:pt x="165" y="10"/>
                  </a:lnTo>
                  <a:lnTo>
                    <a:pt x="165" y="0"/>
                  </a:lnTo>
                  <a:lnTo>
                    <a:pt x="195" y="0"/>
                  </a:lnTo>
                  <a:lnTo>
                    <a:pt x="224" y="10"/>
                  </a:lnTo>
                  <a:lnTo>
                    <a:pt x="263" y="20"/>
                  </a:lnTo>
                  <a:lnTo>
                    <a:pt x="273" y="20"/>
                  </a:lnTo>
                  <a:lnTo>
                    <a:pt x="282" y="20"/>
                  </a:lnTo>
                  <a:lnTo>
                    <a:pt x="273" y="30"/>
                  </a:lnTo>
                  <a:lnTo>
                    <a:pt x="282" y="49"/>
                  </a:lnTo>
                  <a:lnTo>
                    <a:pt x="282" y="69"/>
                  </a:lnTo>
                  <a:lnTo>
                    <a:pt x="282" y="88"/>
                  </a:lnTo>
                  <a:lnTo>
                    <a:pt x="263" y="108"/>
                  </a:lnTo>
                  <a:lnTo>
                    <a:pt x="331" y="234"/>
                  </a:lnTo>
                  <a:lnTo>
                    <a:pt x="370" y="244"/>
                  </a:lnTo>
                  <a:lnTo>
                    <a:pt x="390" y="244"/>
                  </a:lnTo>
                  <a:lnTo>
                    <a:pt x="380" y="215"/>
                  </a:lnTo>
                  <a:lnTo>
                    <a:pt x="399" y="215"/>
                  </a:lnTo>
                  <a:lnTo>
                    <a:pt x="409" y="244"/>
                  </a:lnTo>
                  <a:lnTo>
                    <a:pt x="419" y="254"/>
                  </a:lnTo>
                  <a:lnTo>
                    <a:pt x="448" y="283"/>
                  </a:lnTo>
                  <a:lnTo>
                    <a:pt x="458" y="303"/>
                  </a:lnTo>
                  <a:lnTo>
                    <a:pt x="448" y="312"/>
                  </a:lnTo>
                  <a:lnTo>
                    <a:pt x="458" y="322"/>
                  </a:lnTo>
                  <a:lnTo>
                    <a:pt x="458" y="332"/>
                  </a:lnTo>
                  <a:lnTo>
                    <a:pt x="448" y="33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4" name="Freeform 158"/>
            <p:cNvSpPr>
              <a:spLocks/>
            </p:cNvSpPr>
            <p:nvPr/>
          </p:nvSpPr>
          <p:spPr bwMode="auto">
            <a:xfrm>
              <a:off x="1705" y="2225"/>
              <a:ext cx="276" cy="302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117" y="29"/>
                </a:cxn>
                <a:cxn ang="0">
                  <a:pos x="137" y="29"/>
                </a:cxn>
                <a:cxn ang="0">
                  <a:pos x="156" y="39"/>
                </a:cxn>
                <a:cxn ang="0">
                  <a:pos x="166" y="58"/>
                </a:cxn>
                <a:cxn ang="0">
                  <a:pos x="166" y="68"/>
                </a:cxn>
                <a:cxn ang="0">
                  <a:pos x="166" y="87"/>
                </a:cxn>
                <a:cxn ang="0">
                  <a:pos x="185" y="117"/>
                </a:cxn>
                <a:cxn ang="0">
                  <a:pos x="195" y="117"/>
                </a:cxn>
                <a:cxn ang="0">
                  <a:pos x="205" y="117"/>
                </a:cxn>
                <a:cxn ang="0">
                  <a:pos x="215" y="107"/>
                </a:cxn>
                <a:cxn ang="0">
                  <a:pos x="224" y="117"/>
                </a:cxn>
                <a:cxn ang="0">
                  <a:pos x="234" y="126"/>
                </a:cxn>
                <a:cxn ang="0">
                  <a:pos x="244" y="146"/>
                </a:cxn>
                <a:cxn ang="0">
                  <a:pos x="254" y="156"/>
                </a:cxn>
                <a:cxn ang="0">
                  <a:pos x="273" y="156"/>
                </a:cxn>
                <a:cxn ang="0">
                  <a:pos x="273" y="195"/>
                </a:cxn>
                <a:cxn ang="0">
                  <a:pos x="263" y="195"/>
                </a:cxn>
                <a:cxn ang="0">
                  <a:pos x="263" y="214"/>
                </a:cxn>
                <a:cxn ang="0">
                  <a:pos x="254" y="234"/>
                </a:cxn>
                <a:cxn ang="0">
                  <a:pos x="263" y="234"/>
                </a:cxn>
                <a:cxn ang="0">
                  <a:pos x="263" y="263"/>
                </a:cxn>
                <a:cxn ang="0">
                  <a:pos x="254" y="263"/>
                </a:cxn>
                <a:cxn ang="0">
                  <a:pos x="254" y="282"/>
                </a:cxn>
                <a:cxn ang="0">
                  <a:pos x="224" y="273"/>
                </a:cxn>
                <a:cxn ang="0">
                  <a:pos x="224" y="302"/>
                </a:cxn>
                <a:cxn ang="0">
                  <a:pos x="195" y="302"/>
                </a:cxn>
                <a:cxn ang="0">
                  <a:pos x="185" y="282"/>
                </a:cxn>
                <a:cxn ang="0">
                  <a:pos x="156" y="273"/>
                </a:cxn>
                <a:cxn ang="0">
                  <a:pos x="146" y="282"/>
                </a:cxn>
                <a:cxn ang="0">
                  <a:pos x="137" y="282"/>
                </a:cxn>
                <a:cxn ang="0">
                  <a:pos x="127" y="263"/>
                </a:cxn>
                <a:cxn ang="0">
                  <a:pos x="107" y="253"/>
                </a:cxn>
                <a:cxn ang="0">
                  <a:pos x="98" y="243"/>
                </a:cxn>
                <a:cxn ang="0">
                  <a:pos x="78" y="243"/>
                </a:cxn>
                <a:cxn ang="0">
                  <a:pos x="78" y="224"/>
                </a:cxn>
                <a:cxn ang="0">
                  <a:pos x="88" y="224"/>
                </a:cxn>
                <a:cxn ang="0">
                  <a:pos x="78" y="204"/>
                </a:cxn>
                <a:cxn ang="0">
                  <a:pos x="49" y="204"/>
                </a:cxn>
                <a:cxn ang="0">
                  <a:pos x="29" y="175"/>
                </a:cxn>
                <a:cxn ang="0">
                  <a:pos x="0" y="175"/>
                </a:cxn>
                <a:cxn ang="0">
                  <a:pos x="0" y="136"/>
                </a:cxn>
                <a:cxn ang="0">
                  <a:pos x="29" y="136"/>
                </a:cxn>
                <a:cxn ang="0">
                  <a:pos x="29" y="117"/>
                </a:cxn>
                <a:cxn ang="0">
                  <a:pos x="29" y="87"/>
                </a:cxn>
                <a:cxn ang="0">
                  <a:pos x="29" y="78"/>
                </a:cxn>
                <a:cxn ang="0">
                  <a:pos x="49" y="68"/>
                </a:cxn>
                <a:cxn ang="0">
                  <a:pos x="59" y="48"/>
                </a:cxn>
                <a:cxn ang="0">
                  <a:pos x="59" y="0"/>
                </a:cxn>
                <a:cxn ang="0">
                  <a:pos x="88" y="0"/>
                </a:cxn>
              </a:cxnLst>
              <a:rect l="0" t="0" r="r" b="b"/>
              <a:pathLst>
                <a:path w="273" h="302">
                  <a:moveTo>
                    <a:pt x="88" y="0"/>
                  </a:moveTo>
                  <a:lnTo>
                    <a:pt x="117" y="29"/>
                  </a:lnTo>
                  <a:lnTo>
                    <a:pt x="137" y="2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66" y="87"/>
                  </a:lnTo>
                  <a:lnTo>
                    <a:pt x="185" y="117"/>
                  </a:lnTo>
                  <a:lnTo>
                    <a:pt x="195" y="117"/>
                  </a:lnTo>
                  <a:lnTo>
                    <a:pt x="205" y="117"/>
                  </a:lnTo>
                  <a:lnTo>
                    <a:pt x="215" y="107"/>
                  </a:lnTo>
                  <a:lnTo>
                    <a:pt x="224" y="117"/>
                  </a:lnTo>
                  <a:lnTo>
                    <a:pt x="234" y="126"/>
                  </a:lnTo>
                  <a:lnTo>
                    <a:pt x="244" y="146"/>
                  </a:lnTo>
                  <a:lnTo>
                    <a:pt x="254" y="156"/>
                  </a:lnTo>
                  <a:lnTo>
                    <a:pt x="273" y="156"/>
                  </a:lnTo>
                  <a:lnTo>
                    <a:pt x="273" y="195"/>
                  </a:lnTo>
                  <a:lnTo>
                    <a:pt x="263" y="195"/>
                  </a:lnTo>
                  <a:lnTo>
                    <a:pt x="263" y="214"/>
                  </a:lnTo>
                  <a:lnTo>
                    <a:pt x="254" y="234"/>
                  </a:lnTo>
                  <a:lnTo>
                    <a:pt x="263" y="234"/>
                  </a:lnTo>
                  <a:lnTo>
                    <a:pt x="263" y="263"/>
                  </a:lnTo>
                  <a:lnTo>
                    <a:pt x="254" y="263"/>
                  </a:lnTo>
                  <a:lnTo>
                    <a:pt x="254" y="282"/>
                  </a:lnTo>
                  <a:lnTo>
                    <a:pt x="224" y="273"/>
                  </a:lnTo>
                  <a:lnTo>
                    <a:pt x="224" y="302"/>
                  </a:lnTo>
                  <a:lnTo>
                    <a:pt x="195" y="302"/>
                  </a:lnTo>
                  <a:lnTo>
                    <a:pt x="185" y="282"/>
                  </a:lnTo>
                  <a:lnTo>
                    <a:pt x="156" y="273"/>
                  </a:lnTo>
                  <a:lnTo>
                    <a:pt x="146" y="282"/>
                  </a:lnTo>
                  <a:lnTo>
                    <a:pt x="137" y="282"/>
                  </a:lnTo>
                  <a:lnTo>
                    <a:pt x="127" y="263"/>
                  </a:lnTo>
                  <a:lnTo>
                    <a:pt x="107" y="253"/>
                  </a:lnTo>
                  <a:lnTo>
                    <a:pt x="98" y="243"/>
                  </a:lnTo>
                  <a:lnTo>
                    <a:pt x="78" y="243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78" y="204"/>
                  </a:lnTo>
                  <a:lnTo>
                    <a:pt x="49" y="204"/>
                  </a:lnTo>
                  <a:lnTo>
                    <a:pt x="29" y="175"/>
                  </a:lnTo>
                  <a:lnTo>
                    <a:pt x="0" y="175"/>
                  </a:lnTo>
                  <a:lnTo>
                    <a:pt x="0" y="13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87"/>
                  </a:lnTo>
                  <a:lnTo>
                    <a:pt x="29" y="78"/>
                  </a:lnTo>
                  <a:lnTo>
                    <a:pt x="49" y="68"/>
                  </a:lnTo>
                  <a:lnTo>
                    <a:pt x="59" y="48"/>
                  </a:lnTo>
                  <a:lnTo>
                    <a:pt x="59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5" name="Freeform 157"/>
            <p:cNvSpPr>
              <a:spLocks/>
            </p:cNvSpPr>
            <p:nvPr/>
          </p:nvSpPr>
          <p:spPr bwMode="auto">
            <a:xfrm>
              <a:off x="1902" y="2352"/>
              <a:ext cx="321" cy="235"/>
            </a:xfrm>
            <a:custGeom>
              <a:avLst/>
              <a:gdLst/>
              <a:ahLst/>
              <a:cxnLst>
                <a:cxn ang="0">
                  <a:pos x="78" y="69"/>
                </a:cxn>
                <a:cxn ang="0">
                  <a:pos x="68" y="88"/>
                </a:cxn>
                <a:cxn ang="0">
                  <a:pos x="68" y="108"/>
                </a:cxn>
                <a:cxn ang="0">
                  <a:pos x="59" y="137"/>
                </a:cxn>
                <a:cxn ang="0">
                  <a:pos x="39" y="147"/>
                </a:cxn>
                <a:cxn ang="0">
                  <a:pos x="0" y="176"/>
                </a:cxn>
                <a:cxn ang="0">
                  <a:pos x="20" y="186"/>
                </a:cxn>
                <a:cxn ang="0">
                  <a:pos x="49" y="215"/>
                </a:cxn>
                <a:cxn ang="0">
                  <a:pos x="68" y="235"/>
                </a:cxn>
                <a:cxn ang="0">
                  <a:pos x="107" y="235"/>
                </a:cxn>
                <a:cxn ang="0">
                  <a:pos x="107" y="215"/>
                </a:cxn>
                <a:cxn ang="0">
                  <a:pos x="98" y="205"/>
                </a:cxn>
                <a:cxn ang="0">
                  <a:pos x="117" y="186"/>
                </a:cxn>
                <a:cxn ang="0">
                  <a:pos x="156" y="186"/>
                </a:cxn>
                <a:cxn ang="0">
                  <a:pos x="176" y="186"/>
                </a:cxn>
                <a:cxn ang="0">
                  <a:pos x="195" y="186"/>
                </a:cxn>
                <a:cxn ang="0">
                  <a:pos x="234" y="205"/>
                </a:cxn>
                <a:cxn ang="0">
                  <a:pos x="273" y="235"/>
                </a:cxn>
                <a:cxn ang="0">
                  <a:pos x="293" y="215"/>
                </a:cxn>
                <a:cxn ang="0">
                  <a:pos x="322" y="205"/>
                </a:cxn>
                <a:cxn ang="0">
                  <a:pos x="322" y="186"/>
                </a:cxn>
                <a:cxn ang="0">
                  <a:pos x="322" y="137"/>
                </a:cxn>
                <a:cxn ang="0">
                  <a:pos x="302" y="117"/>
                </a:cxn>
                <a:cxn ang="0">
                  <a:pos x="273" y="127"/>
                </a:cxn>
                <a:cxn ang="0">
                  <a:pos x="254" y="108"/>
                </a:cxn>
                <a:cxn ang="0">
                  <a:pos x="224" y="88"/>
                </a:cxn>
                <a:cxn ang="0">
                  <a:pos x="205" y="69"/>
                </a:cxn>
                <a:cxn ang="0">
                  <a:pos x="195" y="39"/>
                </a:cxn>
                <a:cxn ang="0">
                  <a:pos x="185" y="20"/>
                </a:cxn>
                <a:cxn ang="0">
                  <a:pos x="166" y="0"/>
                </a:cxn>
                <a:cxn ang="0">
                  <a:pos x="146" y="39"/>
                </a:cxn>
                <a:cxn ang="0">
                  <a:pos x="117" y="39"/>
                </a:cxn>
              </a:cxnLst>
              <a:rect l="0" t="0" r="r" b="b"/>
              <a:pathLst>
                <a:path w="322" h="235">
                  <a:moveTo>
                    <a:pt x="88" y="30"/>
                  </a:moveTo>
                  <a:lnTo>
                    <a:pt x="78" y="69"/>
                  </a:lnTo>
                  <a:lnTo>
                    <a:pt x="68" y="69"/>
                  </a:lnTo>
                  <a:lnTo>
                    <a:pt x="68" y="88"/>
                  </a:lnTo>
                  <a:lnTo>
                    <a:pt x="59" y="108"/>
                  </a:lnTo>
                  <a:lnTo>
                    <a:pt x="68" y="108"/>
                  </a:lnTo>
                  <a:lnTo>
                    <a:pt x="68" y="137"/>
                  </a:lnTo>
                  <a:lnTo>
                    <a:pt x="59" y="137"/>
                  </a:lnTo>
                  <a:lnTo>
                    <a:pt x="59" y="156"/>
                  </a:lnTo>
                  <a:lnTo>
                    <a:pt x="39" y="147"/>
                  </a:lnTo>
                  <a:lnTo>
                    <a:pt x="29" y="17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20" y="18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68" y="215"/>
                  </a:lnTo>
                  <a:lnTo>
                    <a:pt x="68" y="235"/>
                  </a:lnTo>
                  <a:lnTo>
                    <a:pt x="98" y="235"/>
                  </a:lnTo>
                  <a:lnTo>
                    <a:pt x="107" y="235"/>
                  </a:lnTo>
                  <a:lnTo>
                    <a:pt x="107" y="215"/>
                  </a:lnTo>
                  <a:lnTo>
                    <a:pt x="98" y="215"/>
                  </a:lnTo>
                  <a:lnTo>
                    <a:pt x="98" y="205"/>
                  </a:lnTo>
                  <a:lnTo>
                    <a:pt x="117" y="205"/>
                  </a:lnTo>
                  <a:lnTo>
                    <a:pt x="117" y="186"/>
                  </a:lnTo>
                  <a:lnTo>
                    <a:pt x="127" y="186"/>
                  </a:lnTo>
                  <a:lnTo>
                    <a:pt x="156" y="186"/>
                  </a:lnTo>
                  <a:lnTo>
                    <a:pt x="176" y="186"/>
                  </a:lnTo>
                  <a:lnTo>
                    <a:pt x="176" y="176"/>
                  </a:lnTo>
                  <a:lnTo>
                    <a:pt x="195" y="186"/>
                  </a:lnTo>
                  <a:lnTo>
                    <a:pt x="215" y="196"/>
                  </a:lnTo>
                  <a:lnTo>
                    <a:pt x="234" y="205"/>
                  </a:lnTo>
                  <a:lnTo>
                    <a:pt x="254" y="235"/>
                  </a:lnTo>
                  <a:lnTo>
                    <a:pt x="273" y="235"/>
                  </a:lnTo>
                  <a:lnTo>
                    <a:pt x="273" y="215"/>
                  </a:lnTo>
                  <a:lnTo>
                    <a:pt x="293" y="215"/>
                  </a:lnTo>
                  <a:lnTo>
                    <a:pt x="312" y="215"/>
                  </a:lnTo>
                  <a:lnTo>
                    <a:pt x="322" y="205"/>
                  </a:lnTo>
                  <a:lnTo>
                    <a:pt x="322" y="196"/>
                  </a:lnTo>
                  <a:lnTo>
                    <a:pt x="322" y="186"/>
                  </a:lnTo>
                  <a:lnTo>
                    <a:pt x="322" y="156"/>
                  </a:lnTo>
                  <a:lnTo>
                    <a:pt x="322" y="137"/>
                  </a:lnTo>
                  <a:lnTo>
                    <a:pt x="322" y="127"/>
                  </a:lnTo>
                  <a:lnTo>
                    <a:pt x="302" y="117"/>
                  </a:lnTo>
                  <a:lnTo>
                    <a:pt x="283" y="117"/>
                  </a:lnTo>
                  <a:lnTo>
                    <a:pt x="273" y="127"/>
                  </a:lnTo>
                  <a:lnTo>
                    <a:pt x="263" y="117"/>
                  </a:lnTo>
                  <a:lnTo>
                    <a:pt x="254" y="108"/>
                  </a:lnTo>
                  <a:lnTo>
                    <a:pt x="244" y="88"/>
                  </a:lnTo>
                  <a:lnTo>
                    <a:pt x="224" y="88"/>
                  </a:lnTo>
                  <a:lnTo>
                    <a:pt x="224" y="69"/>
                  </a:lnTo>
                  <a:lnTo>
                    <a:pt x="205" y="69"/>
                  </a:lnTo>
                  <a:lnTo>
                    <a:pt x="185" y="69"/>
                  </a:lnTo>
                  <a:lnTo>
                    <a:pt x="195" y="39"/>
                  </a:lnTo>
                  <a:lnTo>
                    <a:pt x="195" y="30"/>
                  </a:lnTo>
                  <a:lnTo>
                    <a:pt x="185" y="20"/>
                  </a:lnTo>
                  <a:lnTo>
                    <a:pt x="185" y="10"/>
                  </a:lnTo>
                  <a:lnTo>
                    <a:pt x="166" y="0"/>
                  </a:lnTo>
                  <a:lnTo>
                    <a:pt x="166" y="20"/>
                  </a:lnTo>
                  <a:lnTo>
                    <a:pt x="146" y="3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88" y="3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6" name="Freeform 156"/>
            <p:cNvSpPr>
              <a:spLocks/>
            </p:cNvSpPr>
            <p:nvPr/>
          </p:nvSpPr>
          <p:spPr bwMode="auto">
            <a:xfrm>
              <a:off x="1989" y="2527"/>
              <a:ext cx="352" cy="282"/>
            </a:xfrm>
            <a:custGeom>
              <a:avLst/>
              <a:gdLst/>
              <a:ahLst/>
              <a:cxnLst>
                <a:cxn ang="0">
                  <a:pos x="19" y="59"/>
                </a:cxn>
                <a:cxn ang="0">
                  <a:pos x="19" y="39"/>
                </a:cxn>
                <a:cxn ang="0">
                  <a:pos x="10" y="29"/>
                </a:cxn>
                <a:cxn ang="0">
                  <a:pos x="29" y="10"/>
                </a:cxn>
                <a:cxn ang="0">
                  <a:pos x="68" y="0"/>
                </a:cxn>
                <a:cxn ang="0">
                  <a:pos x="88" y="10"/>
                </a:cxn>
                <a:cxn ang="0">
                  <a:pos x="107" y="0"/>
                </a:cxn>
                <a:cxn ang="0">
                  <a:pos x="146" y="29"/>
                </a:cxn>
                <a:cxn ang="0">
                  <a:pos x="185" y="59"/>
                </a:cxn>
                <a:cxn ang="0">
                  <a:pos x="205" y="39"/>
                </a:cxn>
                <a:cxn ang="0">
                  <a:pos x="234" y="29"/>
                </a:cxn>
                <a:cxn ang="0">
                  <a:pos x="244" y="0"/>
                </a:cxn>
                <a:cxn ang="0">
                  <a:pos x="253" y="39"/>
                </a:cxn>
                <a:cxn ang="0">
                  <a:pos x="273" y="59"/>
                </a:cxn>
                <a:cxn ang="0">
                  <a:pos x="292" y="39"/>
                </a:cxn>
                <a:cxn ang="0">
                  <a:pos x="322" y="59"/>
                </a:cxn>
                <a:cxn ang="0">
                  <a:pos x="322" y="117"/>
                </a:cxn>
                <a:cxn ang="0">
                  <a:pos x="351" y="117"/>
                </a:cxn>
                <a:cxn ang="0">
                  <a:pos x="341" y="127"/>
                </a:cxn>
                <a:cxn ang="0">
                  <a:pos x="322" y="166"/>
                </a:cxn>
                <a:cxn ang="0">
                  <a:pos x="273" y="185"/>
                </a:cxn>
                <a:cxn ang="0">
                  <a:pos x="263" y="224"/>
                </a:cxn>
                <a:cxn ang="0">
                  <a:pos x="224" y="234"/>
                </a:cxn>
                <a:cxn ang="0">
                  <a:pos x="175" y="254"/>
                </a:cxn>
                <a:cxn ang="0">
                  <a:pos x="156" y="254"/>
                </a:cxn>
                <a:cxn ang="0">
                  <a:pos x="136" y="283"/>
                </a:cxn>
                <a:cxn ang="0">
                  <a:pos x="78" y="283"/>
                </a:cxn>
                <a:cxn ang="0">
                  <a:pos x="49" y="234"/>
                </a:cxn>
                <a:cxn ang="0">
                  <a:pos x="39" y="195"/>
                </a:cxn>
                <a:cxn ang="0">
                  <a:pos x="29" y="156"/>
                </a:cxn>
                <a:cxn ang="0">
                  <a:pos x="39" y="146"/>
                </a:cxn>
                <a:cxn ang="0">
                  <a:pos x="19" y="127"/>
                </a:cxn>
                <a:cxn ang="0">
                  <a:pos x="29" y="107"/>
                </a:cxn>
                <a:cxn ang="0">
                  <a:pos x="29" y="98"/>
                </a:cxn>
                <a:cxn ang="0">
                  <a:pos x="0" y="59"/>
                </a:cxn>
              </a:cxnLst>
              <a:rect l="0" t="0" r="r" b="b"/>
              <a:pathLst>
                <a:path w="351" h="283">
                  <a:moveTo>
                    <a:pt x="0" y="59"/>
                  </a:moveTo>
                  <a:lnTo>
                    <a:pt x="19" y="59"/>
                  </a:lnTo>
                  <a:lnTo>
                    <a:pt x="19" y="39"/>
                  </a:lnTo>
                  <a:lnTo>
                    <a:pt x="10" y="39"/>
                  </a:lnTo>
                  <a:lnTo>
                    <a:pt x="10" y="29"/>
                  </a:lnTo>
                  <a:lnTo>
                    <a:pt x="29" y="20"/>
                  </a:lnTo>
                  <a:lnTo>
                    <a:pt x="29" y="10"/>
                  </a:lnTo>
                  <a:lnTo>
                    <a:pt x="39" y="0"/>
                  </a:lnTo>
                  <a:lnTo>
                    <a:pt x="68" y="0"/>
                  </a:lnTo>
                  <a:lnTo>
                    <a:pt x="68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27" y="20"/>
                  </a:lnTo>
                  <a:lnTo>
                    <a:pt x="146" y="29"/>
                  </a:lnTo>
                  <a:lnTo>
                    <a:pt x="166" y="5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205" y="39"/>
                  </a:lnTo>
                  <a:lnTo>
                    <a:pt x="224" y="39"/>
                  </a:lnTo>
                  <a:lnTo>
                    <a:pt x="234" y="29"/>
                  </a:lnTo>
                  <a:lnTo>
                    <a:pt x="244" y="20"/>
                  </a:lnTo>
                  <a:lnTo>
                    <a:pt x="244" y="0"/>
                  </a:lnTo>
                  <a:lnTo>
                    <a:pt x="244" y="20"/>
                  </a:lnTo>
                  <a:lnTo>
                    <a:pt x="253" y="39"/>
                  </a:lnTo>
                  <a:lnTo>
                    <a:pt x="273" y="39"/>
                  </a:lnTo>
                  <a:lnTo>
                    <a:pt x="273" y="59"/>
                  </a:lnTo>
                  <a:lnTo>
                    <a:pt x="292" y="59"/>
                  </a:lnTo>
                  <a:lnTo>
                    <a:pt x="292" y="39"/>
                  </a:lnTo>
                  <a:lnTo>
                    <a:pt x="312" y="49"/>
                  </a:lnTo>
                  <a:lnTo>
                    <a:pt x="322" y="59"/>
                  </a:lnTo>
                  <a:lnTo>
                    <a:pt x="322" y="88"/>
                  </a:lnTo>
                  <a:lnTo>
                    <a:pt x="322" y="117"/>
                  </a:lnTo>
                  <a:lnTo>
                    <a:pt x="341" y="107"/>
                  </a:lnTo>
                  <a:lnTo>
                    <a:pt x="351" y="117"/>
                  </a:lnTo>
                  <a:lnTo>
                    <a:pt x="351" y="127"/>
                  </a:lnTo>
                  <a:lnTo>
                    <a:pt x="341" y="127"/>
                  </a:lnTo>
                  <a:lnTo>
                    <a:pt x="331" y="137"/>
                  </a:lnTo>
                  <a:lnTo>
                    <a:pt x="322" y="166"/>
                  </a:lnTo>
                  <a:lnTo>
                    <a:pt x="302" y="176"/>
                  </a:lnTo>
                  <a:lnTo>
                    <a:pt x="273" y="185"/>
                  </a:lnTo>
                  <a:lnTo>
                    <a:pt x="273" y="195"/>
                  </a:lnTo>
                  <a:lnTo>
                    <a:pt x="263" y="224"/>
                  </a:lnTo>
                  <a:lnTo>
                    <a:pt x="253" y="234"/>
                  </a:lnTo>
                  <a:lnTo>
                    <a:pt x="224" y="234"/>
                  </a:lnTo>
                  <a:lnTo>
                    <a:pt x="195" y="234"/>
                  </a:lnTo>
                  <a:lnTo>
                    <a:pt x="175" y="254"/>
                  </a:lnTo>
                  <a:lnTo>
                    <a:pt x="166" y="244"/>
                  </a:lnTo>
                  <a:lnTo>
                    <a:pt x="156" y="254"/>
                  </a:lnTo>
                  <a:lnTo>
                    <a:pt x="156" y="263"/>
                  </a:lnTo>
                  <a:lnTo>
                    <a:pt x="136" y="283"/>
                  </a:lnTo>
                  <a:lnTo>
                    <a:pt x="107" y="283"/>
                  </a:lnTo>
                  <a:lnTo>
                    <a:pt x="78" y="283"/>
                  </a:lnTo>
                  <a:lnTo>
                    <a:pt x="58" y="283"/>
                  </a:lnTo>
                  <a:lnTo>
                    <a:pt x="49" y="234"/>
                  </a:lnTo>
                  <a:lnTo>
                    <a:pt x="39" y="205"/>
                  </a:lnTo>
                  <a:lnTo>
                    <a:pt x="39" y="195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46"/>
                  </a:lnTo>
                  <a:lnTo>
                    <a:pt x="39" y="146"/>
                  </a:lnTo>
                  <a:lnTo>
                    <a:pt x="39" y="137"/>
                  </a:lnTo>
                  <a:lnTo>
                    <a:pt x="19" y="127"/>
                  </a:lnTo>
                  <a:lnTo>
                    <a:pt x="29" y="10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10" y="78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7" name="Freeform 155"/>
            <p:cNvSpPr>
              <a:spLocks/>
            </p:cNvSpPr>
            <p:nvPr/>
          </p:nvSpPr>
          <p:spPr bwMode="auto">
            <a:xfrm>
              <a:off x="1590" y="2373"/>
              <a:ext cx="459" cy="497"/>
            </a:xfrm>
            <a:custGeom>
              <a:avLst/>
              <a:gdLst/>
              <a:ahLst/>
              <a:cxnLst>
                <a:cxn ang="0">
                  <a:pos x="322" y="166"/>
                </a:cxn>
                <a:cxn ang="0">
                  <a:pos x="332" y="185"/>
                </a:cxn>
                <a:cxn ang="0">
                  <a:pos x="380" y="195"/>
                </a:cxn>
                <a:cxn ang="0">
                  <a:pos x="400" y="224"/>
                </a:cxn>
                <a:cxn ang="0">
                  <a:pos x="429" y="254"/>
                </a:cxn>
                <a:cxn ang="0">
                  <a:pos x="429" y="273"/>
                </a:cxn>
                <a:cxn ang="0">
                  <a:pos x="419" y="283"/>
                </a:cxn>
                <a:cxn ang="0">
                  <a:pos x="429" y="302"/>
                </a:cxn>
                <a:cxn ang="0">
                  <a:pos x="429" y="322"/>
                </a:cxn>
                <a:cxn ang="0">
                  <a:pos x="439" y="351"/>
                </a:cxn>
                <a:cxn ang="0">
                  <a:pos x="449" y="400"/>
                </a:cxn>
                <a:cxn ang="0">
                  <a:pos x="439" y="449"/>
                </a:cxn>
                <a:cxn ang="0">
                  <a:pos x="429" y="439"/>
                </a:cxn>
                <a:cxn ang="0">
                  <a:pos x="390" y="449"/>
                </a:cxn>
                <a:cxn ang="0">
                  <a:pos x="351" y="439"/>
                </a:cxn>
                <a:cxn ang="0">
                  <a:pos x="341" y="429"/>
                </a:cxn>
                <a:cxn ang="0">
                  <a:pos x="322" y="439"/>
                </a:cxn>
                <a:cxn ang="0">
                  <a:pos x="283" y="439"/>
                </a:cxn>
                <a:cxn ang="0">
                  <a:pos x="273" y="439"/>
                </a:cxn>
                <a:cxn ang="0">
                  <a:pos x="254" y="419"/>
                </a:cxn>
                <a:cxn ang="0">
                  <a:pos x="234" y="429"/>
                </a:cxn>
                <a:cxn ang="0">
                  <a:pos x="215" y="468"/>
                </a:cxn>
                <a:cxn ang="0">
                  <a:pos x="215" y="497"/>
                </a:cxn>
                <a:cxn ang="0">
                  <a:pos x="166" y="468"/>
                </a:cxn>
                <a:cxn ang="0">
                  <a:pos x="176" y="439"/>
                </a:cxn>
                <a:cxn ang="0">
                  <a:pos x="176" y="390"/>
                </a:cxn>
                <a:cxn ang="0">
                  <a:pos x="156" y="380"/>
                </a:cxn>
                <a:cxn ang="0">
                  <a:pos x="146" y="361"/>
                </a:cxn>
                <a:cxn ang="0">
                  <a:pos x="136" y="351"/>
                </a:cxn>
                <a:cxn ang="0">
                  <a:pos x="136" y="312"/>
                </a:cxn>
                <a:cxn ang="0">
                  <a:pos x="107" y="322"/>
                </a:cxn>
                <a:cxn ang="0">
                  <a:pos x="107" y="293"/>
                </a:cxn>
                <a:cxn ang="0">
                  <a:pos x="97" y="273"/>
                </a:cxn>
                <a:cxn ang="0">
                  <a:pos x="58" y="263"/>
                </a:cxn>
                <a:cxn ang="0">
                  <a:pos x="78" y="234"/>
                </a:cxn>
                <a:cxn ang="0">
                  <a:pos x="97" y="176"/>
                </a:cxn>
                <a:cxn ang="0">
                  <a:pos x="58" y="156"/>
                </a:cxn>
                <a:cxn ang="0">
                  <a:pos x="49" y="136"/>
                </a:cxn>
                <a:cxn ang="0">
                  <a:pos x="29" y="127"/>
                </a:cxn>
                <a:cxn ang="0">
                  <a:pos x="10" y="117"/>
                </a:cxn>
                <a:cxn ang="0">
                  <a:pos x="0" y="78"/>
                </a:cxn>
                <a:cxn ang="0">
                  <a:pos x="19" y="49"/>
                </a:cxn>
                <a:cxn ang="0">
                  <a:pos x="39" y="29"/>
                </a:cxn>
                <a:cxn ang="0">
                  <a:pos x="68" y="19"/>
                </a:cxn>
                <a:cxn ang="0">
                  <a:pos x="88" y="0"/>
                </a:cxn>
                <a:cxn ang="0">
                  <a:pos x="117" y="0"/>
                </a:cxn>
                <a:cxn ang="0">
                  <a:pos x="146" y="39"/>
                </a:cxn>
                <a:cxn ang="0">
                  <a:pos x="195" y="58"/>
                </a:cxn>
                <a:cxn ang="0">
                  <a:pos x="195" y="88"/>
                </a:cxn>
                <a:cxn ang="0">
                  <a:pos x="215" y="97"/>
                </a:cxn>
                <a:cxn ang="0">
                  <a:pos x="244" y="117"/>
                </a:cxn>
                <a:cxn ang="0">
                  <a:pos x="263" y="146"/>
                </a:cxn>
                <a:cxn ang="0">
                  <a:pos x="302" y="146"/>
                </a:cxn>
              </a:cxnLst>
              <a:rect l="0" t="0" r="r" b="b"/>
              <a:pathLst>
                <a:path w="458" h="497">
                  <a:moveTo>
                    <a:pt x="312" y="156"/>
                  </a:moveTo>
                  <a:lnTo>
                    <a:pt x="322" y="166"/>
                  </a:lnTo>
                  <a:lnTo>
                    <a:pt x="332" y="176"/>
                  </a:lnTo>
                  <a:lnTo>
                    <a:pt x="332" y="185"/>
                  </a:lnTo>
                  <a:lnTo>
                    <a:pt x="361" y="205"/>
                  </a:lnTo>
                  <a:lnTo>
                    <a:pt x="380" y="195"/>
                  </a:lnTo>
                  <a:lnTo>
                    <a:pt x="380" y="215"/>
                  </a:lnTo>
                  <a:lnTo>
                    <a:pt x="400" y="224"/>
                  </a:lnTo>
                  <a:lnTo>
                    <a:pt x="410" y="234"/>
                  </a:lnTo>
                  <a:lnTo>
                    <a:pt x="429" y="254"/>
                  </a:lnTo>
                  <a:lnTo>
                    <a:pt x="419" y="263"/>
                  </a:lnTo>
                  <a:lnTo>
                    <a:pt x="429" y="273"/>
                  </a:lnTo>
                  <a:lnTo>
                    <a:pt x="419" y="283"/>
                  </a:lnTo>
                  <a:lnTo>
                    <a:pt x="429" y="293"/>
                  </a:lnTo>
                  <a:lnTo>
                    <a:pt x="429" y="302"/>
                  </a:lnTo>
                  <a:lnTo>
                    <a:pt x="429" y="322"/>
                  </a:lnTo>
                  <a:lnTo>
                    <a:pt x="439" y="322"/>
                  </a:lnTo>
                  <a:lnTo>
                    <a:pt x="439" y="351"/>
                  </a:lnTo>
                  <a:lnTo>
                    <a:pt x="439" y="361"/>
                  </a:lnTo>
                  <a:lnTo>
                    <a:pt x="449" y="400"/>
                  </a:lnTo>
                  <a:lnTo>
                    <a:pt x="458" y="439"/>
                  </a:lnTo>
                  <a:lnTo>
                    <a:pt x="439" y="449"/>
                  </a:lnTo>
                  <a:lnTo>
                    <a:pt x="439" y="439"/>
                  </a:lnTo>
                  <a:lnTo>
                    <a:pt x="429" y="439"/>
                  </a:lnTo>
                  <a:lnTo>
                    <a:pt x="419" y="449"/>
                  </a:lnTo>
                  <a:lnTo>
                    <a:pt x="390" y="449"/>
                  </a:lnTo>
                  <a:lnTo>
                    <a:pt x="380" y="439"/>
                  </a:lnTo>
                  <a:lnTo>
                    <a:pt x="351" y="439"/>
                  </a:lnTo>
                  <a:lnTo>
                    <a:pt x="341" y="439"/>
                  </a:lnTo>
                  <a:lnTo>
                    <a:pt x="341" y="429"/>
                  </a:lnTo>
                  <a:lnTo>
                    <a:pt x="332" y="429"/>
                  </a:lnTo>
                  <a:lnTo>
                    <a:pt x="322" y="439"/>
                  </a:lnTo>
                  <a:lnTo>
                    <a:pt x="312" y="439"/>
                  </a:lnTo>
                  <a:lnTo>
                    <a:pt x="283" y="439"/>
                  </a:lnTo>
                  <a:lnTo>
                    <a:pt x="273" y="439"/>
                  </a:lnTo>
                  <a:lnTo>
                    <a:pt x="254" y="439"/>
                  </a:lnTo>
                  <a:lnTo>
                    <a:pt x="254" y="419"/>
                  </a:lnTo>
                  <a:lnTo>
                    <a:pt x="234" y="429"/>
                  </a:lnTo>
                  <a:lnTo>
                    <a:pt x="224" y="439"/>
                  </a:lnTo>
                  <a:lnTo>
                    <a:pt x="215" y="468"/>
                  </a:lnTo>
                  <a:lnTo>
                    <a:pt x="205" y="468"/>
                  </a:lnTo>
                  <a:lnTo>
                    <a:pt x="215" y="497"/>
                  </a:lnTo>
                  <a:lnTo>
                    <a:pt x="166" y="478"/>
                  </a:lnTo>
                  <a:lnTo>
                    <a:pt x="166" y="468"/>
                  </a:lnTo>
                  <a:lnTo>
                    <a:pt x="176" y="458"/>
                  </a:lnTo>
                  <a:lnTo>
                    <a:pt x="176" y="439"/>
                  </a:lnTo>
                  <a:lnTo>
                    <a:pt x="176" y="410"/>
                  </a:lnTo>
                  <a:lnTo>
                    <a:pt x="176" y="390"/>
                  </a:lnTo>
                  <a:lnTo>
                    <a:pt x="166" y="380"/>
                  </a:lnTo>
                  <a:lnTo>
                    <a:pt x="156" y="380"/>
                  </a:lnTo>
                  <a:lnTo>
                    <a:pt x="146" y="371"/>
                  </a:lnTo>
                  <a:lnTo>
                    <a:pt x="146" y="361"/>
                  </a:lnTo>
                  <a:lnTo>
                    <a:pt x="146" y="351"/>
                  </a:lnTo>
                  <a:lnTo>
                    <a:pt x="136" y="351"/>
                  </a:lnTo>
                  <a:lnTo>
                    <a:pt x="146" y="332"/>
                  </a:lnTo>
                  <a:lnTo>
                    <a:pt x="136" y="312"/>
                  </a:lnTo>
                  <a:lnTo>
                    <a:pt x="117" y="322"/>
                  </a:lnTo>
                  <a:lnTo>
                    <a:pt x="107" y="322"/>
                  </a:lnTo>
                  <a:lnTo>
                    <a:pt x="97" y="302"/>
                  </a:lnTo>
                  <a:lnTo>
                    <a:pt x="107" y="293"/>
                  </a:lnTo>
                  <a:lnTo>
                    <a:pt x="107" y="283"/>
                  </a:lnTo>
                  <a:lnTo>
                    <a:pt x="97" y="273"/>
                  </a:lnTo>
                  <a:lnTo>
                    <a:pt x="78" y="283"/>
                  </a:lnTo>
                  <a:lnTo>
                    <a:pt x="58" y="263"/>
                  </a:lnTo>
                  <a:lnTo>
                    <a:pt x="58" y="254"/>
                  </a:lnTo>
                  <a:lnTo>
                    <a:pt x="78" y="234"/>
                  </a:lnTo>
                  <a:lnTo>
                    <a:pt x="107" y="195"/>
                  </a:lnTo>
                  <a:lnTo>
                    <a:pt x="97" y="176"/>
                  </a:lnTo>
                  <a:lnTo>
                    <a:pt x="68" y="146"/>
                  </a:lnTo>
                  <a:lnTo>
                    <a:pt x="58" y="156"/>
                  </a:lnTo>
                  <a:lnTo>
                    <a:pt x="39" y="146"/>
                  </a:lnTo>
                  <a:lnTo>
                    <a:pt x="49" y="136"/>
                  </a:lnTo>
                  <a:lnTo>
                    <a:pt x="58" y="136"/>
                  </a:lnTo>
                  <a:lnTo>
                    <a:pt x="29" y="127"/>
                  </a:lnTo>
                  <a:lnTo>
                    <a:pt x="19" y="127"/>
                  </a:lnTo>
                  <a:lnTo>
                    <a:pt x="10" y="117"/>
                  </a:lnTo>
                  <a:lnTo>
                    <a:pt x="10" y="97"/>
                  </a:lnTo>
                  <a:lnTo>
                    <a:pt x="0" y="78"/>
                  </a:lnTo>
                  <a:lnTo>
                    <a:pt x="19" y="58"/>
                  </a:lnTo>
                  <a:lnTo>
                    <a:pt x="19" y="49"/>
                  </a:lnTo>
                  <a:lnTo>
                    <a:pt x="29" y="29"/>
                  </a:lnTo>
                  <a:lnTo>
                    <a:pt x="39" y="29"/>
                  </a:lnTo>
                  <a:lnTo>
                    <a:pt x="58" y="29"/>
                  </a:lnTo>
                  <a:lnTo>
                    <a:pt x="68" y="19"/>
                  </a:lnTo>
                  <a:lnTo>
                    <a:pt x="78" y="19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17" y="0"/>
                  </a:lnTo>
                  <a:lnTo>
                    <a:pt x="117" y="29"/>
                  </a:lnTo>
                  <a:lnTo>
                    <a:pt x="146" y="39"/>
                  </a:lnTo>
                  <a:lnTo>
                    <a:pt x="166" y="68"/>
                  </a:lnTo>
                  <a:lnTo>
                    <a:pt x="195" y="58"/>
                  </a:lnTo>
                  <a:lnTo>
                    <a:pt x="205" y="78"/>
                  </a:lnTo>
                  <a:lnTo>
                    <a:pt x="195" y="88"/>
                  </a:lnTo>
                  <a:lnTo>
                    <a:pt x="195" y="107"/>
                  </a:lnTo>
                  <a:lnTo>
                    <a:pt x="215" y="97"/>
                  </a:lnTo>
                  <a:lnTo>
                    <a:pt x="224" y="117"/>
                  </a:lnTo>
                  <a:lnTo>
                    <a:pt x="244" y="117"/>
                  </a:lnTo>
                  <a:lnTo>
                    <a:pt x="254" y="146"/>
                  </a:lnTo>
                  <a:lnTo>
                    <a:pt x="263" y="146"/>
                  </a:lnTo>
                  <a:lnTo>
                    <a:pt x="273" y="127"/>
                  </a:lnTo>
                  <a:lnTo>
                    <a:pt x="302" y="146"/>
                  </a:lnTo>
                  <a:lnTo>
                    <a:pt x="312" y="15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8" name="Freeform 154"/>
            <p:cNvSpPr>
              <a:spLocks/>
            </p:cNvSpPr>
            <p:nvPr/>
          </p:nvSpPr>
          <p:spPr bwMode="auto">
            <a:xfrm>
              <a:off x="712" y="2477"/>
              <a:ext cx="332" cy="430"/>
            </a:xfrm>
            <a:custGeom>
              <a:avLst/>
              <a:gdLst/>
              <a:ahLst/>
              <a:cxnLst>
                <a:cxn ang="0">
                  <a:pos x="215" y="361"/>
                </a:cxn>
                <a:cxn ang="0">
                  <a:pos x="234" y="351"/>
                </a:cxn>
                <a:cxn ang="0">
                  <a:pos x="244" y="303"/>
                </a:cxn>
                <a:cxn ang="0">
                  <a:pos x="263" y="283"/>
                </a:cxn>
                <a:cxn ang="0">
                  <a:pos x="283" y="273"/>
                </a:cxn>
                <a:cxn ang="0">
                  <a:pos x="312" y="244"/>
                </a:cxn>
                <a:cxn ang="0">
                  <a:pos x="322" y="215"/>
                </a:cxn>
                <a:cxn ang="0">
                  <a:pos x="302" y="176"/>
                </a:cxn>
                <a:cxn ang="0">
                  <a:pos x="322" y="117"/>
                </a:cxn>
                <a:cxn ang="0">
                  <a:pos x="273" y="108"/>
                </a:cxn>
                <a:cxn ang="0">
                  <a:pos x="273" y="69"/>
                </a:cxn>
                <a:cxn ang="0">
                  <a:pos x="263" y="29"/>
                </a:cxn>
                <a:cxn ang="0">
                  <a:pos x="234" y="39"/>
                </a:cxn>
                <a:cxn ang="0">
                  <a:pos x="215" y="20"/>
                </a:cxn>
                <a:cxn ang="0">
                  <a:pos x="195" y="10"/>
                </a:cxn>
                <a:cxn ang="0">
                  <a:pos x="176" y="39"/>
                </a:cxn>
                <a:cxn ang="0">
                  <a:pos x="185" y="88"/>
                </a:cxn>
                <a:cxn ang="0">
                  <a:pos x="176" y="69"/>
                </a:cxn>
                <a:cxn ang="0">
                  <a:pos x="156" y="59"/>
                </a:cxn>
                <a:cxn ang="0">
                  <a:pos x="117" y="69"/>
                </a:cxn>
                <a:cxn ang="0">
                  <a:pos x="98" y="69"/>
                </a:cxn>
                <a:cxn ang="0">
                  <a:pos x="68" y="88"/>
                </a:cxn>
                <a:cxn ang="0">
                  <a:pos x="59" y="59"/>
                </a:cxn>
                <a:cxn ang="0">
                  <a:pos x="49" y="49"/>
                </a:cxn>
                <a:cxn ang="0">
                  <a:pos x="29" y="29"/>
                </a:cxn>
                <a:cxn ang="0">
                  <a:pos x="10" y="29"/>
                </a:cxn>
                <a:cxn ang="0">
                  <a:pos x="10" y="49"/>
                </a:cxn>
                <a:cxn ang="0">
                  <a:pos x="10" y="88"/>
                </a:cxn>
                <a:cxn ang="0">
                  <a:pos x="0" y="127"/>
                </a:cxn>
                <a:cxn ang="0">
                  <a:pos x="10" y="166"/>
                </a:cxn>
                <a:cxn ang="0">
                  <a:pos x="20" y="205"/>
                </a:cxn>
                <a:cxn ang="0">
                  <a:pos x="20" y="254"/>
                </a:cxn>
                <a:cxn ang="0">
                  <a:pos x="20" y="322"/>
                </a:cxn>
                <a:cxn ang="0">
                  <a:pos x="10" y="361"/>
                </a:cxn>
                <a:cxn ang="0">
                  <a:pos x="39" y="361"/>
                </a:cxn>
                <a:cxn ang="0">
                  <a:pos x="59" y="390"/>
                </a:cxn>
                <a:cxn ang="0">
                  <a:pos x="88" y="390"/>
                </a:cxn>
                <a:cxn ang="0">
                  <a:pos x="127" y="381"/>
                </a:cxn>
                <a:cxn ang="0">
                  <a:pos x="137" y="332"/>
                </a:cxn>
                <a:cxn ang="0">
                  <a:pos x="146" y="303"/>
                </a:cxn>
                <a:cxn ang="0">
                  <a:pos x="107" y="332"/>
                </a:cxn>
                <a:cxn ang="0">
                  <a:pos x="68" y="361"/>
                </a:cxn>
                <a:cxn ang="0">
                  <a:pos x="59" y="342"/>
                </a:cxn>
                <a:cxn ang="0">
                  <a:pos x="68" y="312"/>
                </a:cxn>
                <a:cxn ang="0">
                  <a:pos x="88" y="322"/>
                </a:cxn>
                <a:cxn ang="0">
                  <a:pos x="107" y="303"/>
                </a:cxn>
                <a:cxn ang="0">
                  <a:pos x="146" y="273"/>
                </a:cxn>
                <a:cxn ang="0">
                  <a:pos x="127" y="225"/>
                </a:cxn>
                <a:cxn ang="0">
                  <a:pos x="98" y="195"/>
                </a:cxn>
                <a:cxn ang="0">
                  <a:pos x="98" y="186"/>
                </a:cxn>
                <a:cxn ang="0">
                  <a:pos x="137" y="225"/>
                </a:cxn>
                <a:cxn ang="0">
                  <a:pos x="166" y="244"/>
                </a:cxn>
                <a:cxn ang="0">
                  <a:pos x="176" y="303"/>
                </a:cxn>
                <a:cxn ang="0">
                  <a:pos x="146" y="351"/>
                </a:cxn>
                <a:cxn ang="0">
                  <a:pos x="146" y="400"/>
                </a:cxn>
                <a:cxn ang="0">
                  <a:pos x="166" y="420"/>
                </a:cxn>
                <a:cxn ang="0">
                  <a:pos x="215" y="400"/>
                </a:cxn>
              </a:cxnLst>
              <a:rect l="0" t="0" r="r" b="b"/>
              <a:pathLst>
                <a:path w="332" h="430">
                  <a:moveTo>
                    <a:pt x="215" y="400"/>
                  </a:moveTo>
                  <a:lnTo>
                    <a:pt x="205" y="381"/>
                  </a:lnTo>
                  <a:lnTo>
                    <a:pt x="215" y="361"/>
                  </a:lnTo>
                  <a:lnTo>
                    <a:pt x="224" y="371"/>
                  </a:lnTo>
                  <a:lnTo>
                    <a:pt x="244" y="361"/>
                  </a:lnTo>
                  <a:lnTo>
                    <a:pt x="234" y="351"/>
                  </a:lnTo>
                  <a:lnTo>
                    <a:pt x="244" y="322"/>
                  </a:lnTo>
                  <a:lnTo>
                    <a:pt x="254" y="312"/>
                  </a:lnTo>
                  <a:lnTo>
                    <a:pt x="244" y="303"/>
                  </a:lnTo>
                  <a:lnTo>
                    <a:pt x="254" y="303"/>
                  </a:lnTo>
                  <a:lnTo>
                    <a:pt x="254" y="283"/>
                  </a:lnTo>
                  <a:lnTo>
                    <a:pt x="263" y="283"/>
                  </a:lnTo>
                  <a:lnTo>
                    <a:pt x="263" y="264"/>
                  </a:lnTo>
                  <a:lnTo>
                    <a:pt x="283" y="264"/>
                  </a:lnTo>
                  <a:lnTo>
                    <a:pt x="283" y="273"/>
                  </a:lnTo>
                  <a:lnTo>
                    <a:pt x="302" y="273"/>
                  </a:lnTo>
                  <a:lnTo>
                    <a:pt x="312" y="264"/>
                  </a:lnTo>
                  <a:lnTo>
                    <a:pt x="312" y="244"/>
                  </a:lnTo>
                  <a:lnTo>
                    <a:pt x="322" y="244"/>
                  </a:lnTo>
                  <a:lnTo>
                    <a:pt x="332" y="234"/>
                  </a:lnTo>
                  <a:lnTo>
                    <a:pt x="322" y="215"/>
                  </a:lnTo>
                  <a:lnTo>
                    <a:pt x="302" y="195"/>
                  </a:lnTo>
                  <a:lnTo>
                    <a:pt x="302" y="176"/>
                  </a:lnTo>
                  <a:lnTo>
                    <a:pt x="312" y="156"/>
                  </a:lnTo>
                  <a:lnTo>
                    <a:pt x="322" y="147"/>
                  </a:lnTo>
                  <a:lnTo>
                    <a:pt x="322" y="117"/>
                  </a:lnTo>
                  <a:lnTo>
                    <a:pt x="302" y="88"/>
                  </a:lnTo>
                  <a:lnTo>
                    <a:pt x="293" y="98"/>
                  </a:lnTo>
                  <a:lnTo>
                    <a:pt x="273" y="108"/>
                  </a:lnTo>
                  <a:lnTo>
                    <a:pt x="263" y="98"/>
                  </a:lnTo>
                  <a:lnTo>
                    <a:pt x="263" y="78"/>
                  </a:lnTo>
                  <a:lnTo>
                    <a:pt x="273" y="69"/>
                  </a:lnTo>
                  <a:lnTo>
                    <a:pt x="273" y="49"/>
                  </a:lnTo>
                  <a:lnTo>
                    <a:pt x="263" y="39"/>
                  </a:lnTo>
                  <a:lnTo>
                    <a:pt x="263" y="29"/>
                  </a:lnTo>
                  <a:lnTo>
                    <a:pt x="244" y="29"/>
                  </a:lnTo>
                  <a:lnTo>
                    <a:pt x="244" y="49"/>
                  </a:lnTo>
                  <a:lnTo>
                    <a:pt x="234" y="3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15" y="20"/>
                  </a:lnTo>
                  <a:lnTo>
                    <a:pt x="205" y="10"/>
                  </a:lnTo>
                  <a:lnTo>
                    <a:pt x="205" y="0"/>
                  </a:lnTo>
                  <a:lnTo>
                    <a:pt x="195" y="10"/>
                  </a:lnTo>
                  <a:lnTo>
                    <a:pt x="185" y="20"/>
                  </a:lnTo>
                  <a:lnTo>
                    <a:pt x="176" y="29"/>
                  </a:lnTo>
                  <a:lnTo>
                    <a:pt x="176" y="39"/>
                  </a:lnTo>
                  <a:lnTo>
                    <a:pt x="185" y="59"/>
                  </a:lnTo>
                  <a:lnTo>
                    <a:pt x="185" y="78"/>
                  </a:lnTo>
                  <a:lnTo>
                    <a:pt x="185" y="88"/>
                  </a:lnTo>
                  <a:lnTo>
                    <a:pt x="176" y="88"/>
                  </a:lnTo>
                  <a:lnTo>
                    <a:pt x="176" y="78"/>
                  </a:lnTo>
                  <a:lnTo>
                    <a:pt x="176" y="69"/>
                  </a:lnTo>
                  <a:lnTo>
                    <a:pt x="166" y="69"/>
                  </a:lnTo>
                  <a:lnTo>
                    <a:pt x="156" y="69"/>
                  </a:lnTo>
                  <a:lnTo>
                    <a:pt x="156" y="59"/>
                  </a:lnTo>
                  <a:lnTo>
                    <a:pt x="146" y="59"/>
                  </a:lnTo>
                  <a:lnTo>
                    <a:pt x="137" y="59"/>
                  </a:lnTo>
                  <a:lnTo>
                    <a:pt x="117" y="69"/>
                  </a:lnTo>
                  <a:lnTo>
                    <a:pt x="107" y="59"/>
                  </a:lnTo>
                  <a:lnTo>
                    <a:pt x="98" y="59"/>
                  </a:lnTo>
                  <a:lnTo>
                    <a:pt x="98" y="69"/>
                  </a:lnTo>
                  <a:lnTo>
                    <a:pt x="88" y="88"/>
                  </a:lnTo>
                  <a:lnTo>
                    <a:pt x="78" y="88"/>
                  </a:lnTo>
                  <a:lnTo>
                    <a:pt x="68" y="88"/>
                  </a:lnTo>
                  <a:lnTo>
                    <a:pt x="68" y="78"/>
                  </a:lnTo>
                  <a:lnTo>
                    <a:pt x="59" y="69"/>
                  </a:lnTo>
                  <a:lnTo>
                    <a:pt x="59" y="59"/>
                  </a:lnTo>
                  <a:lnTo>
                    <a:pt x="39" y="59"/>
                  </a:lnTo>
                  <a:lnTo>
                    <a:pt x="49" y="49"/>
                  </a:lnTo>
                  <a:lnTo>
                    <a:pt x="39" y="39"/>
                  </a:lnTo>
                  <a:lnTo>
                    <a:pt x="39" y="29"/>
                  </a:lnTo>
                  <a:lnTo>
                    <a:pt x="29" y="29"/>
                  </a:lnTo>
                  <a:lnTo>
                    <a:pt x="29" y="39"/>
                  </a:lnTo>
                  <a:lnTo>
                    <a:pt x="20" y="3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10" y="49"/>
                  </a:lnTo>
                  <a:lnTo>
                    <a:pt x="10" y="69"/>
                  </a:lnTo>
                  <a:lnTo>
                    <a:pt x="10" y="88"/>
                  </a:lnTo>
                  <a:lnTo>
                    <a:pt x="10" y="98"/>
                  </a:lnTo>
                  <a:lnTo>
                    <a:pt x="0" y="108"/>
                  </a:lnTo>
                  <a:lnTo>
                    <a:pt x="0" y="127"/>
                  </a:lnTo>
                  <a:lnTo>
                    <a:pt x="10" y="137"/>
                  </a:lnTo>
                  <a:lnTo>
                    <a:pt x="10" y="166"/>
                  </a:lnTo>
                  <a:lnTo>
                    <a:pt x="10" y="176"/>
                  </a:lnTo>
                  <a:lnTo>
                    <a:pt x="10" y="195"/>
                  </a:lnTo>
                  <a:lnTo>
                    <a:pt x="20" y="205"/>
                  </a:lnTo>
                  <a:lnTo>
                    <a:pt x="29" y="225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73"/>
                  </a:lnTo>
                  <a:lnTo>
                    <a:pt x="20" y="283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10" y="371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49" y="371"/>
                  </a:lnTo>
                  <a:lnTo>
                    <a:pt x="49" y="381"/>
                  </a:lnTo>
                  <a:lnTo>
                    <a:pt x="59" y="390"/>
                  </a:lnTo>
                  <a:lnTo>
                    <a:pt x="59" y="400"/>
                  </a:lnTo>
                  <a:lnTo>
                    <a:pt x="68" y="410"/>
                  </a:lnTo>
                  <a:lnTo>
                    <a:pt x="88" y="390"/>
                  </a:lnTo>
                  <a:lnTo>
                    <a:pt x="107" y="390"/>
                  </a:lnTo>
                  <a:lnTo>
                    <a:pt x="127" y="381"/>
                  </a:lnTo>
                  <a:lnTo>
                    <a:pt x="137" y="351"/>
                  </a:lnTo>
                  <a:lnTo>
                    <a:pt x="137" y="342"/>
                  </a:lnTo>
                  <a:lnTo>
                    <a:pt x="137" y="332"/>
                  </a:lnTo>
                  <a:lnTo>
                    <a:pt x="146" y="322"/>
                  </a:lnTo>
                  <a:lnTo>
                    <a:pt x="156" y="303"/>
                  </a:lnTo>
                  <a:lnTo>
                    <a:pt x="146" y="303"/>
                  </a:lnTo>
                  <a:lnTo>
                    <a:pt x="137" y="312"/>
                  </a:lnTo>
                  <a:lnTo>
                    <a:pt x="127" y="322"/>
                  </a:lnTo>
                  <a:lnTo>
                    <a:pt x="107" y="332"/>
                  </a:lnTo>
                  <a:lnTo>
                    <a:pt x="98" y="351"/>
                  </a:lnTo>
                  <a:lnTo>
                    <a:pt x="78" y="361"/>
                  </a:lnTo>
                  <a:lnTo>
                    <a:pt x="68" y="361"/>
                  </a:lnTo>
                  <a:lnTo>
                    <a:pt x="68" y="351"/>
                  </a:lnTo>
                  <a:lnTo>
                    <a:pt x="68" y="342"/>
                  </a:lnTo>
                  <a:lnTo>
                    <a:pt x="59" y="342"/>
                  </a:lnTo>
                  <a:lnTo>
                    <a:pt x="49" y="332"/>
                  </a:lnTo>
                  <a:lnTo>
                    <a:pt x="49" y="322"/>
                  </a:lnTo>
                  <a:lnTo>
                    <a:pt x="68" y="312"/>
                  </a:lnTo>
                  <a:lnTo>
                    <a:pt x="78" y="303"/>
                  </a:lnTo>
                  <a:lnTo>
                    <a:pt x="78" y="312"/>
                  </a:lnTo>
                  <a:lnTo>
                    <a:pt x="88" y="322"/>
                  </a:lnTo>
                  <a:lnTo>
                    <a:pt x="98" y="322"/>
                  </a:lnTo>
                  <a:lnTo>
                    <a:pt x="98" y="303"/>
                  </a:lnTo>
                  <a:lnTo>
                    <a:pt x="107" y="303"/>
                  </a:lnTo>
                  <a:lnTo>
                    <a:pt x="117" y="293"/>
                  </a:lnTo>
                  <a:lnTo>
                    <a:pt x="127" y="283"/>
                  </a:lnTo>
                  <a:lnTo>
                    <a:pt x="146" y="273"/>
                  </a:lnTo>
                  <a:lnTo>
                    <a:pt x="146" y="264"/>
                  </a:lnTo>
                  <a:lnTo>
                    <a:pt x="146" y="254"/>
                  </a:lnTo>
                  <a:lnTo>
                    <a:pt x="127" y="225"/>
                  </a:lnTo>
                  <a:lnTo>
                    <a:pt x="117" y="225"/>
                  </a:lnTo>
                  <a:lnTo>
                    <a:pt x="98" y="205"/>
                  </a:lnTo>
                  <a:lnTo>
                    <a:pt x="98" y="195"/>
                  </a:lnTo>
                  <a:lnTo>
                    <a:pt x="88" y="186"/>
                  </a:lnTo>
                  <a:lnTo>
                    <a:pt x="98" y="176"/>
                  </a:lnTo>
                  <a:lnTo>
                    <a:pt x="98" y="186"/>
                  </a:lnTo>
                  <a:lnTo>
                    <a:pt x="117" y="205"/>
                  </a:lnTo>
                  <a:lnTo>
                    <a:pt x="127" y="215"/>
                  </a:lnTo>
                  <a:lnTo>
                    <a:pt x="137" y="225"/>
                  </a:lnTo>
                  <a:lnTo>
                    <a:pt x="156" y="225"/>
                  </a:lnTo>
                  <a:lnTo>
                    <a:pt x="166" y="234"/>
                  </a:lnTo>
                  <a:lnTo>
                    <a:pt x="166" y="244"/>
                  </a:lnTo>
                  <a:lnTo>
                    <a:pt x="185" y="273"/>
                  </a:lnTo>
                  <a:lnTo>
                    <a:pt x="176" y="293"/>
                  </a:lnTo>
                  <a:lnTo>
                    <a:pt x="176" y="303"/>
                  </a:lnTo>
                  <a:lnTo>
                    <a:pt x="176" y="322"/>
                  </a:lnTo>
                  <a:lnTo>
                    <a:pt x="156" y="342"/>
                  </a:lnTo>
                  <a:lnTo>
                    <a:pt x="146" y="351"/>
                  </a:lnTo>
                  <a:lnTo>
                    <a:pt x="137" y="351"/>
                  </a:lnTo>
                  <a:lnTo>
                    <a:pt x="127" y="381"/>
                  </a:lnTo>
                  <a:lnTo>
                    <a:pt x="146" y="400"/>
                  </a:lnTo>
                  <a:lnTo>
                    <a:pt x="137" y="420"/>
                  </a:lnTo>
                  <a:lnTo>
                    <a:pt x="146" y="430"/>
                  </a:lnTo>
                  <a:lnTo>
                    <a:pt x="166" y="420"/>
                  </a:lnTo>
                  <a:lnTo>
                    <a:pt x="185" y="420"/>
                  </a:lnTo>
                  <a:lnTo>
                    <a:pt x="185" y="400"/>
                  </a:lnTo>
                  <a:lnTo>
                    <a:pt x="215" y="4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9" name="Freeform 153"/>
            <p:cNvSpPr>
              <a:spLocks/>
            </p:cNvSpPr>
            <p:nvPr/>
          </p:nvSpPr>
          <p:spPr bwMode="auto">
            <a:xfrm>
              <a:off x="895" y="2730"/>
              <a:ext cx="315" cy="430"/>
            </a:xfrm>
            <a:custGeom>
              <a:avLst/>
              <a:gdLst/>
              <a:ahLst/>
              <a:cxnLst>
                <a:cxn ang="0">
                  <a:pos x="39" y="273"/>
                </a:cxn>
                <a:cxn ang="0">
                  <a:pos x="39" y="293"/>
                </a:cxn>
                <a:cxn ang="0">
                  <a:pos x="69" y="312"/>
                </a:cxn>
                <a:cxn ang="0">
                  <a:pos x="98" y="322"/>
                </a:cxn>
                <a:cxn ang="0">
                  <a:pos x="117" y="341"/>
                </a:cxn>
                <a:cxn ang="0">
                  <a:pos x="117" y="361"/>
                </a:cxn>
                <a:cxn ang="0">
                  <a:pos x="127" y="390"/>
                </a:cxn>
                <a:cxn ang="0">
                  <a:pos x="166" y="390"/>
                </a:cxn>
                <a:cxn ang="0">
                  <a:pos x="166" y="419"/>
                </a:cxn>
                <a:cxn ang="0">
                  <a:pos x="195" y="419"/>
                </a:cxn>
                <a:cxn ang="0">
                  <a:pos x="215" y="410"/>
                </a:cxn>
                <a:cxn ang="0">
                  <a:pos x="186" y="380"/>
                </a:cxn>
                <a:cxn ang="0">
                  <a:pos x="215" y="390"/>
                </a:cxn>
                <a:cxn ang="0">
                  <a:pos x="225" y="371"/>
                </a:cxn>
                <a:cxn ang="0">
                  <a:pos x="234" y="351"/>
                </a:cxn>
                <a:cxn ang="0">
                  <a:pos x="273" y="371"/>
                </a:cxn>
                <a:cxn ang="0">
                  <a:pos x="293" y="351"/>
                </a:cxn>
                <a:cxn ang="0">
                  <a:pos x="313" y="322"/>
                </a:cxn>
                <a:cxn ang="0">
                  <a:pos x="264" y="234"/>
                </a:cxn>
                <a:cxn ang="0">
                  <a:pos x="273" y="195"/>
                </a:cxn>
                <a:cxn ang="0">
                  <a:pos x="264" y="156"/>
                </a:cxn>
                <a:cxn ang="0">
                  <a:pos x="254" y="127"/>
                </a:cxn>
                <a:cxn ang="0">
                  <a:pos x="244" y="97"/>
                </a:cxn>
                <a:cxn ang="0">
                  <a:pos x="205" y="88"/>
                </a:cxn>
                <a:cxn ang="0">
                  <a:pos x="205" y="78"/>
                </a:cxn>
                <a:cxn ang="0">
                  <a:pos x="186" y="68"/>
                </a:cxn>
                <a:cxn ang="0">
                  <a:pos x="166" y="58"/>
                </a:cxn>
                <a:cxn ang="0">
                  <a:pos x="127" y="0"/>
                </a:cxn>
                <a:cxn ang="0">
                  <a:pos x="98" y="19"/>
                </a:cxn>
                <a:cxn ang="0">
                  <a:pos x="78" y="10"/>
                </a:cxn>
                <a:cxn ang="0">
                  <a:pos x="59" y="29"/>
                </a:cxn>
                <a:cxn ang="0">
                  <a:pos x="59" y="49"/>
                </a:cxn>
                <a:cxn ang="0">
                  <a:pos x="59" y="68"/>
                </a:cxn>
                <a:cxn ang="0">
                  <a:pos x="59" y="107"/>
                </a:cxn>
                <a:cxn ang="0">
                  <a:pos x="30" y="107"/>
                </a:cxn>
                <a:cxn ang="0">
                  <a:pos x="20" y="146"/>
                </a:cxn>
                <a:cxn ang="0">
                  <a:pos x="30" y="185"/>
                </a:cxn>
                <a:cxn ang="0">
                  <a:pos x="49" y="195"/>
                </a:cxn>
                <a:cxn ang="0">
                  <a:pos x="30" y="215"/>
                </a:cxn>
                <a:cxn ang="0">
                  <a:pos x="0" y="215"/>
                </a:cxn>
                <a:cxn ang="0">
                  <a:pos x="20" y="234"/>
                </a:cxn>
                <a:cxn ang="0">
                  <a:pos x="20" y="263"/>
                </a:cxn>
              </a:cxnLst>
              <a:rect l="0" t="0" r="r" b="b"/>
              <a:pathLst>
                <a:path w="313" h="429">
                  <a:moveTo>
                    <a:pt x="20" y="263"/>
                  </a:moveTo>
                  <a:lnTo>
                    <a:pt x="39" y="273"/>
                  </a:lnTo>
                  <a:lnTo>
                    <a:pt x="49" y="283"/>
                  </a:lnTo>
                  <a:lnTo>
                    <a:pt x="39" y="293"/>
                  </a:lnTo>
                  <a:lnTo>
                    <a:pt x="59" y="302"/>
                  </a:lnTo>
                  <a:lnTo>
                    <a:pt x="69" y="312"/>
                  </a:lnTo>
                  <a:lnTo>
                    <a:pt x="69" y="322"/>
                  </a:lnTo>
                  <a:lnTo>
                    <a:pt x="98" y="322"/>
                  </a:lnTo>
                  <a:lnTo>
                    <a:pt x="98" y="332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37" y="371"/>
                  </a:lnTo>
                  <a:lnTo>
                    <a:pt x="127" y="390"/>
                  </a:lnTo>
                  <a:lnTo>
                    <a:pt x="137" y="410"/>
                  </a:lnTo>
                  <a:lnTo>
                    <a:pt x="166" y="390"/>
                  </a:lnTo>
                  <a:lnTo>
                    <a:pt x="176" y="410"/>
                  </a:lnTo>
                  <a:lnTo>
                    <a:pt x="166" y="419"/>
                  </a:lnTo>
                  <a:lnTo>
                    <a:pt x="176" y="429"/>
                  </a:lnTo>
                  <a:lnTo>
                    <a:pt x="195" y="419"/>
                  </a:lnTo>
                  <a:lnTo>
                    <a:pt x="205" y="429"/>
                  </a:lnTo>
                  <a:lnTo>
                    <a:pt x="215" y="410"/>
                  </a:lnTo>
                  <a:lnTo>
                    <a:pt x="195" y="400"/>
                  </a:lnTo>
                  <a:lnTo>
                    <a:pt x="186" y="380"/>
                  </a:lnTo>
                  <a:lnTo>
                    <a:pt x="205" y="380"/>
                  </a:lnTo>
                  <a:lnTo>
                    <a:pt x="215" y="390"/>
                  </a:lnTo>
                  <a:lnTo>
                    <a:pt x="225" y="371"/>
                  </a:lnTo>
                  <a:lnTo>
                    <a:pt x="225" y="351"/>
                  </a:lnTo>
                  <a:lnTo>
                    <a:pt x="234" y="351"/>
                  </a:lnTo>
                  <a:lnTo>
                    <a:pt x="254" y="371"/>
                  </a:lnTo>
                  <a:lnTo>
                    <a:pt x="273" y="371"/>
                  </a:lnTo>
                  <a:lnTo>
                    <a:pt x="283" y="361"/>
                  </a:lnTo>
                  <a:lnTo>
                    <a:pt x="293" y="351"/>
                  </a:lnTo>
                  <a:lnTo>
                    <a:pt x="313" y="332"/>
                  </a:lnTo>
                  <a:lnTo>
                    <a:pt x="313" y="322"/>
                  </a:lnTo>
                  <a:lnTo>
                    <a:pt x="293" y="293"/>
                  </a:lnTo>
                  <a:lnTo>
                    <a:pt x="264" y="234"/>
                  </a:lnTo>
                  <a:lnTo>
                    <a:pt x="264" y="215"/>
                  </a:lnTo>
                  <a:lnTo>
                    <a:pt x="273" y="195"/>
                  </a:lnTo>
                  <a:lnTo>
                    <a:pt x="273" y="176"/>
                  </a:lnTo>
                  <a:lnTo>
                    <a:pt x="264" y="156"/>
                  </a:lnTo>
                  <a:lnTo>
                    <a:pt x="254" y="146"/>
                  </a:lnTo>
                  <a:lnTo>
                    <a:pt x="254" y="127"/>
                  </a:lnTo>
                  <a:lnTo>
                    <a:pt x="254" y="117"/>
                  </a:lnTo>
                  <a:lnTo>
                    <a:pt x="244" y="97"/>
                  </a:lnTo>
                  <a:lnTo>
                    <a:pt x="225" y="97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205" y="78"/>
                  </a:lnTo>
                  <a:lnTo>
                    <a:pt x="195" y="68"/>
                  </a:lnTo>
                  <a:lnTo>
                    <a:pt x="186" y="68"/>
                  </a:lnTo>
                  <a:lnTo>
                    <a:pt x="176" y="78"/>
                  </a:lnTo>
                  <a:lnTo>
                    <a:pt x="166" y="58"/>
                  </a:lnTo>
                  <a:lnTo>
                    <a:pt x="156" y="39"/>
                  </a:lnTo>
                  <a:lnTo>
                    <a:pt x="127" y="0"/>
                  </a:lnTo>
                  <a:lnTo>
                    <a:pt x="117" y="10"/>
                  </a:lnTo>
                  <a:lnTo>
                    <a:pt x="98" y="19"/>
                  </a:lnTo>
                  <a:lnTo>
                    <a:pt x="98" y="0"/>
                  </a:lnTo>
                  <a:lnTo>
                    <a:pt x="78" y="10"/>
                  </a:lnTo>
                  <a:lnTo>
                    <a:pt x="69" y="29"/>
                  </a:lnTo>
                  <a:lnTo>
                    <a:pt x="59" y="29"/>
                  </a:lnTo>
                  <a:lnTo>
                    <a:pt x="59" y="49"/>
                  </a:lnTo>
                  <a:lnTo>
                    <a:pt x="69" y="58"/>
                  </a:lnTo>
                  <a:lnTo>
                    <a:pt x="59" y="68"/>
                  </a:lnTo>
                  <a:lnTo>
                    <a:pt x="49" y="97"/>
                  </a:lnTo>
                  <a:lnTo>
                    <a:pt x="59" y="107"/>
                  </a:lnTo>
                  <a:lnTo>
                    <a:pt x="39" y="12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20" y="146"/>
                  </a:lnTo>
                  <a:lnTo>
                    <a:pt x="20" y="166"/>
                  </a:lnTo>
                  <a:lnTo>
                    <a:pt x="30" y="18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10" y="215"/>
                  </a:lnTo>
                  <a:lnTo>
                    <a:pt x="0" y="215"/>
                  </a:lnTo>
                  <a:lnTo>
                    <a:pt x="10" y="224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6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0" name="Freeform 152"/>
            <p:cNvSpPr>
              <a:spLocks/>
            </p:cNvSpPr>
            <p:nvPr/>
          </p:nvSpPr>
          <p:spPr bwMode="auto">
            <a:xfrm>
              <a:off x="1052" y="2753"/>
              <a:ext cx="431" cy="430"/>
            </a:xfrm>
            <a:custGeom>
              <a:avLst/>
              <a:gdLst/>
              <a:ahLst/>
              <a:cxnLst>
                <a:cxn ang="0">
                  <a:pos x="157" y="313"/>
                </a:cxn>
                <a:cxn ang="0">
                  <a:pos x="137" y="274"/>
                </a:cxn>
                <a:cxn ang="0">
                  <a:pos x="108" y="196"/>
                </a:cxn>
                <a:cxn ang="0">
                  <a:pos x="117" y="157"/>
                </a:cxn>
                <a:cxn ang="0">
                  <a:pos x="98" y="137"/>
                </a:cxn>
                <a:cxn ang="0">
                  <a:pos x="98" y="98"/>
                </a:cxn>
                <a:cxn ang="0">
                  <a:pos x="69" y="78"/>
                </a:cxn>
                <a:cxn ang="0">
                  <a:pos x="39" y="69"/>
                </a:cxn>
                <a:cxn ang="0">
                  <a:pos x="39" y="49"/>
                </a:cxn>
                <a:cxn ang="0">
                  <a:pos x="20" y="59"/>
                </a:cxn>
                <a:cxn ang="0">
                  <a:pos x="0" y="30"/>
                </a:cxn>
                <a:cxn ang="0">
                  <a:pos x="30" y="10"/>
                </a:cxn>
                <a:cxn ang="0">
                  <a:pos x="69" y="30"/>
                </a:cxn>
                <a:cxn ang="0">
                  <a:pos x="78" y="0"/>
                </a:cxn>
                <a:cxn ang="0">
                  <a:pos x="88" y="39"/>
                </a:cxn>
                <a:cxn ang="0">
                  <a:pos x="108" y="69"/>
                </a:cxn>
                <a:cxn ang="0">
                  <a:pos x="117" y="117"/>
                </a:cxn>
                <a:cxn ang="0">
                  <a:pos x="157" y="137"/>
                </a:cxn>
                <a:cxn ang="0">
                  <a:pos x="186" y="117"/>
                </a:cxn>
                <a:cxn ang="0">
                  <a:pos x="196" y="98"/>
                </a:cxn>
                <a:cxn ang="0">
                  <a:pos x="235" y="98"/>
                </a:cxn>
                <a:cxn ang="0">
                  <a:pos x="283" y="69"/>
                </a:cxn>
                <a:cxn ang="0">
                  <a:pos x="264" y="49"/>
                </a:cxn>
                <a:cxn ang="0">
                  <a:pos x="235" y="49"/>
                </a:cxn>
                <a:cxn ang="0">
                  <a:pos x="264" y="30"/>
                </a:cxn>
                <a:cxn ang="0">
                  <a:pos x="283" y="20"/>
                </a:cxn>
                <a:cxn ang="0">
                  <a:pos x="313" y="39"/>
                </a:cxn>
                <a:cxn ang="0">
                  <a:pos x="322" y="10"/>
                </a:cxn>
                <a:cxn ang="0">
                  <a:pos x="342" y="30"/>
                </a:cxn>
                <a:cxn ang="0">
                  <a:pos x="371" y="39"/>
                </a:cxn>
                <a:cxn ang="0">
                  <a:pos x="391" y="78"/>
                </a:cxn>
                <a:cxn ang="0">
                  <a:pos x="391" y="98"/>
                </a:cxn>
                <a:cxn ang="0">
                  <a:pos x="381" y="147"/>
                </a:cxn>
                <a:cxn ang="0">
                  <a:pos x="391" y="176"/>
                </a:cxn>
                <a:cxn ang="0">
                  <a:pos x="430" y="196"/>
                </a:cxn>
                <a:cxn ang="0">
                  <a:pos x="430" y="205"/>
                </a:cxn>
                <a:cxn ang="0">
                  <a:pos x="391" y="196"/>
                </a:cxn>
                <a:cxn ang="0">
                  <a:pos x="371" y="244"/>
                </a:cxn>
                <a:cxn ang="0">
                  <a:pos x="381" y="283"/>
                </a:cxn>
                <a:cxn ang="0">
                  <a:pos x="342" y="283"/>
                </a:cxn>
                <a:cxn ang="0">
                  <a:pos x="322" y="283"/>
                </a:cxn>
                <a:cxn ang="0">
                  <a:pos x="313" y="293"/>
                </a:cxn>
                <a:cxn ang="0">
                  <a:pos x="313" y="332"/>
                </a:cxn>
                <a:cxn ang="0">
                  <a:pos x="274" y="352"/>
                </a:cxn>
                <a:cxn ang="0">
                  <a:pos x="293" y="381"/>
                </a:cxn>
                <a:cxn ang="0">
                  <a:pos x="283" y="410"/>
                </a:cxn>
                <a:cxn ang="0">
                  <a:pos x="254" y="420"/>
                </a:cxn>
                <a:cxn ang="0">
                  <a:pos x="215" y="430"/>
                </a:cxn>
                <a:cxn ang="0">
                  <a:pos x="196" y="420"/>
                </a:cxn>
                <a:cxn ang="0">
                  <a:pos x="205" y="410"/>
                </a:cxn>
                <a:cxn ang="0">
                  <a:pos x="186" y="400"/>
                </a:cxn>
                <a:cxn ang="0">
                  <a:pos x="137" y="332"/>
                </a:cxn>
              </a:cxnLst>
              <a:rect l="0" t="0" r="r" b="b"/>
              <a:pathLst>
                <a:path w="430" h="430">
                  <a:moveTo>
                    <a:pt x="137" y="332"/>
                  </a:moveTo>
                  <a:lnTo>
                    <a:pt x="157" y="313"/>
                  </a:lnTo>
                  <a:lnTo>
                    <a:pt x="157" y="303"/>
                  </a:lnTo>
                  <a:lnTo>
                    <a:pt x="137" y="274"/>
                  </a:lnTo>
                  <a:lnTo>
                    <a:pt x="117" y="225"/>
                  </a:lnTo>
                  <a:lnTo>
                    <a:pt x="108" y="196"/>
                  </a:lnTo>
                  <a:lnTo>
                    <a:pt x="117" y="176"/>
                  </a:lnTo>
                  <a:lnTo>
                    <a:pt x="117" y="157"/>
                  </a:lnTo>
                  <a:lnTo>
                    <a:pt x="117" y="147"/>
                  </a:lnTo>
                  <a:lnTo>
                    <a:pt x="98" y="137"/>
                  </a:lnTo>
                  <a:lnTo>
                    <a:pt x="98" y="117"/>
                  </a:lnTo>
                  <a:lnTo>
                    <a:pt x="98" y="98"/>
                  </a:lnTo>
                  <a:lnTo>
                    <a:pt x="88" y="78"/>
                  </a:lnTo>
                  <a:lnTo>
                    <a:pt x="69" y="78"/>
                  </a:lnTo>
                  <a:lnTo>
                    <a:pt x="49" y="78"/>
                  </a:lnTo>
                  <a:lnTo>
                    <a:pt x="39" y="69"/>
                  </a:lnTo>
                  <a:lnTo>
                    <a:pt x="49" y="59"/>
                  </a:lnTo>
                  <a:lnTo>
                    <a:pt x="39" y="49"/>
                  </a:lnTo>
                  <a:lnTo>
                    <a:pt x="30" y="59"/>
                  </a:lnTo>
                  <a:lnTo>
                    <a:pt x="20" y="59"/>
                  </a:lnTo>
                  <a:lnTo>
                    <a:pt x="10" y="39"/>
                  </a:lnTo>
                  <a:lnTo>
                    <a:pt x="0" y="30"/>
                  </a:lnTo>
                  <a:lnTo>
                    <a:pt x="20" y="10"/>
                  </a:lnTo>
                  <a:lnTo>
                    <a:pt x="30" y="10"/>
                  </a:lnTo>
                  <a:lnTo>
                    <a:pt x="59" y="20"/>
                  </a:lnTo>
                  <a:lnTo>
                    <a:pt x="69" y="3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88" y="30"/>
                  </a:lnTo>
                  <a:lnTo>
                    <a:pt x="88" y="39"/>
                  </a:lnTo>
                  <a:lnTo>
                    <a:pt x="108" y="49"/>
                  </a:lnTo>
                  <a:lnTo>
                    <a:pt x="108" y="69"/>
                  </a:lnTo>
                  <a:lnTo>
                    <a:pt x="117" y="98"/>
                  </a:lnTo>
                  <a:lnTo>
                    <a:pt x="117" y="117"/>
                  </a:lnTo>
                  <a:lnTo>
                    <a:pt x="157" y="117"/>
                  </a:lnTo>
                  <a:lnTo>
                    <a:pt x="157" y="137"/>
                  </a:lnTo>
                  <a:lnTo>
                    <a:pt x="166" y="137"/>
                  </a:lnTo>
                  <a:lnTo>
                    <a:pt x="186" y="117"/>
                  </a:lnTo>
                  <a:lnTo>
                    <a:pt x="176" y="108"/>
                  </a:lnTo>
                  <a:lnTo>
                    <a:pt x="196" y="98"/>
                  </a:lnTo>
                  <a:lnTo>
                    <a:pt x="215" y="108"/>
                  </a:lnTo>
                  <a:lnTo>
                    <a:pt x="235" y="98"/>
                  </a:lnTo>
                  <a:lnTo>
                    <a:pt x="264" y="88"/>
                  </a:lnTo>
                  <a:lnTo>
                    <a:pt x="283" y="69"/>
                  </a:lnTo>
                  <a:lnTo>
                    <a:pt x="274" y="59"/>
                  </a:lnTo>
                  <a:lnTo>
                    <a:pt x="264" y="49"/>
                  </a:lnTo>
                  <a:lnTo>
                    <a:pt x="244" y="59"/>
                  </a:lnTo>
                  <a:lnTo>
                    <a:pt x="235" y="49"/>
                  </a:lnTo>
                  <a:lnTo>
                    <a:pt x="244" y="39"/>
                  </a:lnTo>
                  <a:lnTo>
                    <a:pt x="264" y="30"/>
                  </a:lnTo>
                  <a:lnTo>
                    <a:pt x="264" y="10"/>
                  </a:lnTo>
                  <a:lnTo>
                    <a:pt x="283" y="20"/>
                  </a:lnTo>
                  <a:lnTo>
                    <a:pt x="303" y="30"/>
                  </a:lnTo>
                  <a:lnTo>
                    <a:pt x="313" y="39"/>
                  </a:lnTo>
                  <a:lnTo>
                    <a:pt x="322" y="30"/>
                  </a:lnTo>
                  <a:lnTo>
                    <a:pt x="322" y="10"/>
                  </a:lnTo>
                  <a:lnTo>
                    <a:pt x="342" y="10"/>
                  </a:lnTo>
                  <a:lnTo>
                    <a:pt x="342" y="30"/>
                  </a:lnTo>
                  <a:lnTo>
                    <a:pt x="352" y="39"/>
                  </a:lnTo>
                  <a:lnTo>
                    <a:pt x="371" y="39"/>
                  </a:lnTo>
                  <a:lnTo>
                    <a:pt x="371" y="59"/>
                  </a:lnTo>
                  <a:lnTo>
                    <a:pt x="391" y="78"/>
                  </a:lnTo>
                  <a:lnTo>
                    <a:pt x="381" y="88"/>
                  </a:lnTo>
                  <a:lnTo>
                    <a:pt x="391" y="98"/>
                  </a:lnTo>
                  <a:lnTo>
                    <a:pt x="381" y="117"/>
                  </a:lnTo>
                  <a:lnTo>
                    <a:pt x="381" y="147"/>
                  </a:lnTo>
                  <a:lnTo>
                    <a:pt x="381" y="166"/>
                  </a:lnTo>
                  <a:lnTo>
                    <a:pt x="391" y="176"/>
                  </a:lnTo>
                  <a:lnTo>
                    <a:pt x="410" y="176"/>
                  </a:lnTo>
                  <a:lnTo>
                    <a:pt x="430" y="196"/>
                  </a:lnTo>
                  <a:lnTo>
                    <a:pt x="430" y="205"/>
                  </a:lnTo>
                  <a:lnTo>
                    <a:pt x="410" y="196"/>
                  </a:lnTo>
                  <a:lnTo>
                    <a:pt x="391" y="196"/>
                  </a:lnTo>
                  <a:lnTo>
                    <a:pt x="381" y="225"/>
                  </a:lnTo>
                  <a:lnTo>
                    <a:pt x="371" y="244"/>
                  </a:lnTo>
                  <a:lnTo>
                    <a:pt x="371" y="264"/>
                  </a:lnTo>
                  <a:lnTo>
                    <a:pt x="381" y="283"/>
                  </a:lnTo>
                  <a:lnTo>
                    <a:pt x="361" y="283"/>
                  </a:lnTo>
                  <a:lnTo>
                    <a:pt x="342" y="283"/>
                  </a:lnTo>
                  <a:lnTo>
                    <a:pt x="332" y="293"/>
                  </a:lnTo>
                  <a:lnTo>
                    <a:pt x="322" y="283"/>
                  </a:lnTo>
                  <a:lnTo>
                    <a:pt x="303" y="283"/>
                  </a:lnTo>
                  <a:lnTo>
                    <a:pt x="313" y="293"/>
                  </a:lnTo>
                  <a:lnTo>
                    <a:pt x="303" y="313"/>
                  </a:lnTo>
                  <a:lnTo>
                    <a:pt x="313" y="332"/>
                  </a:lnTo>
                  <a:lnTo>
                    <a:pt x="293" y="342"/>
                  </a:lnTo>
                  <a:lnTo>
                    <a:pt x="274" y="352"/>
                  </a:lnTo>
                  <a:lnTo>
                    <a:pt x="274" y="371"/>
                  </a:lnTo>
                  <a:lnTo>
                    <a:pt x="293" y="381"/>
                  </a:lnTo>
                  <a:lnTo>
                    <a:pt x="293" y="400"/>
                  </a:lnTo>
                  <a:lnTo>
                    <a:pt x="283" y="410"/>
                  </a:lnTo>
                  <a:lnTo>
                    <a:pt x="274" y="420"/>
                  </a:lnTo>
                  <a:lnTo>
                    <a:pt x="254" y="420"/>
                  </a:lnTo>
                  <a:lnTo>
                    <a:pt x="235" y="430"/>
                  </a:lnTo>
                  <a:lnTo>
                    <a:pt x="215" y="430"/>
                  </a:lnTo>
                  <a:lnTo>
                    <a:pt x="215" y="420"/>
                  </a:lnTo>
                  <a:lnTo>
                    <a:pt x="196" y="420"/>
                  </a:lnTo>
                  <a:lnTo>
                    <a:pt x="205" y="410"/>
                  </a:lnTo>
                  <a:lnTo>
                    <a:pt x="196" y="391"/>
                  </a:lnTo>
                  <a:lnTo>
                    <a:pt x="186" y="400"/>
                  </a:lnTo>
                  <a:lnTo>
                    <a:pt x="166" y="352"/>
                  </a:lnTo>
                  <a:lnTo>
                    <a:pt x="137" y="33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1" name="Freeform 151"/>
            <p:cNvSpPr>
              <a:spLocks/>
            </p:cNvSpPr>
            <p:nvPr/>
          </p:nvSpPr>
          <p:spPr bwMode="auto">
            <a:xfrm>
              <a:off x="1328" y="2782"/>
              <a:ext cx="242" cy="407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7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34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5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7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39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292"/>
                  </a:lnTo>
                  <a:lnTo>
                    <a:pt x="234" y="253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34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39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5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29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59" name="Group 148"/>
            <p:cNvGrpSpPr>
              <a:grpSpLocks/>
            </p:cNvGrpSpPr>
            <p:nvPr/>
          </p:nvGrpSpPr>
          <p:grpSpPr bwMode="auto">
            <a:xfrm>
              <a:off x="1327" y="2781"/>
              <a:ext cx="243" cy="409"/>
              <a:chOff x="1327" y="2781"/>
              <a:chExt cx="243" cy="409"/>
            </a:xfrm>
          </p:grpSpPr>
          <p:sp>
            <p:nvSpPr>
              <p:cNvPr id="335" name="Freeform 150"/>
              <p:cNvSpPr>
                <a:spLocks/>
              </p:cNvSpPr>
              <p:nvPr/>
            </p:nvSpPr>
            <p:spPr bwMode="auto">
              <a:xfrm>
                <a:off x="1328" y="2782"/>
                <a:ext cx="242" cy="407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6" name="Freeform 149"/>
              <p:cNvSpPr>
                <a:spLocks/>
              </p:cNvSpPr>
              <p:nvPr/>
            </p:nvSpPr>
            <p:spPr bwMode="auto">
              <a:xfrm>
                <a:off x="1328" y="2782"/>
                <a:ext cx="236" cy="407"/>
              </a:xfrm>
              <a:custGeom>
                <a:avLst/>
                <a:gdLst/>
                <a:ahLst/>
                <a:cxnLst>
                  <a:cxn ang="0">
                    <a:pos x="39" y="351"/>
                  </a:cxn>
                  <a:cxn ang="0">
                    <a:pos x="48" y="361"/>
                  </a:cxn>
                  <a:cxn ang="0">
                    <a:pos x="68" y="380"/>
                  </a:cxn>
                  <a:cxn ang="0">
                    <a:pos x="87" y="390"/>
                  </a:cxn>
                  <a:cxn ang="0">
                    <a:pos x="117" y="390"/>
                  </a:cxn>
                  <a:cxn ang="0">
                    <a:pos x="136" y="400"/>
                  </a:cxn>
                  <a:cxn ang="0">
                    <a:pos x="146" y="400"/>
                  </a:cxn>
                  <a:cxn ang="0">
                    <a:pos x="185" y="400"/>
                  </a:cxn>
                  <a:cxn ang="0">
                    <a:pos x="195" y="380"/>
                  </a:cxn>
                  <a:cxn ang="0">
                    <a:pos x="165" y="351"/>
                  </a:cxn>
                  <a:cxn ang="0">
                    <a:pos x="175" y="331"/>
                  </a:cxn>
                  <a:cxn ang="0">
                    <a:pos x="185" y="341"/>
                  </a:cxn>
                  <a:cxn ang="0">
                    <a:pos x="204" y="351"/>
                  </a:cxn>
                  <a:cxn ang="0">
                    <a:pos x="224" y="322"/>
                  </a:cxn>
                  <a:cxn ang="0">
                    <a:pos x="234" y="253"/>
                  </a:cxn>
                  <a:cxn ang="0">
                    <a:pos x="234" y="224"/>
                  </a:cxn>
                  <a:cxn ang="0">
                    <a:pos x="214" y="185"/>
                  </a:cxn>
                  <a:cxn ang="0">
                    <a:pos x="195" y="185"/>
                  </a:cxn>
                  <a:cxn ang="0">
                    <a:pos x="195" y="166"/>
                  </a:cxn>
                  <a:cxn ang="0">
                    <a:pos x="214" y="146"/>
                  </a:cxn>
                  <a:cxn ang="0">
                    <a:pos x="224" y="117"/>
                  </a:cxn>
                  <a:cxn ang="0">
                    <a:pos x="214" y="78"/>
                  </a:cxn>
                  <a:cxn ang="0">
                    <a:pos x="243" y="68"/>
                  </a:cxn>
                  <a:cxn ang="0">
                    <a:pos x="234" y="48"/>
                  </a:cxn>
                  <a:cxn ang="0">
                    <a:pos x="185" y="29"/>
                  </a:cxn>
                  <a:cxn ang="0">
                    <a:pos x="146" y="9"/>
                  </a:cxn>
                  <a:cxn ang="0">
                    <a:pos x="136" y="9"/>
                  </a:cxn>
                  <a:cxn ang="0">
                    <a:pos x="117" y="0"/>
                  </a:cxn>
                  <a:cxn ang="0">
                    <a:pos x="107" y="58"/>
                  </a:cxn>
                  <a:cxn ang="0">
                    <a:pos x="107" y="87"/>
                  </a:cxn>
                  <a:cxn ang="0">
                    <a:pos x="107" y="136"/>
                  </a:cxn>
                  <a:cxn ang="0">
                    <a:pos x="136" y="146"/>
                  </a:cxn>
                  <a:cxn ang="0">
                    <a:pos x="156" y="175"/>
                  </a:cxn>
                  <a:cxn ang="0">
                    <a:pos x="136" y="166"/>
                  </a:cxn>
                  <a:cxn ang="0">
                    <a:pos x="107" y="185"/>
                  </a:cxn>
                  <a:cxn ang="0">
                    <a:pos x="97" y="234"/>
                  </a:cxn>
                  <a:cxn ang="0">
                    <a:pos x="87" y="253"/>
                  </a:cxn>
                  <a:cxn ang="0">
                    <a:pos x="58" y="263"/>
                  </a:cxn>
                  <a:cxn ang="0">
                    <a:pos x="29" y="244"/>
                  </a:cxn>
                  <a:cxn ang="0">
                    <a:pos x="29" y="283"/>
                  </a:cxn>
                  <a:cxn ang="0">
                    <a:pos x="19" y="312"/>
                  </a:cxn>
                  <a:cxn ang="0">
                    <a:pos x="0" y="341"/>
                  </a:cxn>
                  <a:cxn ang="0">
                    <a:pos x="19" y="370"/>
                  </a:cxn>
                </a:cxnLst>
                <a:rect l="0" t="0" r="r" b="b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03" name="Freeform 147"/>
            <p:cNvSpPr>
              <a:spLocks/>
            </p:cNvSpPr>
            <p:nvPr/>
          </p:nvSpPr>
          <p:spPr bwMode="auto">
            <a:xfrm>
              <a:off x="1483" y="1150"/>
              <a:ext cx="293" cy="383"/>
            </a:xfrm>
            <a:custGeom>
              <a:avLst/>
              <a:gdLst/>
              <a:ahLst/>
              <a:cxnLst>
                <a:cxn ang="0">
                  <a:pos x="107" y="352"/>
                </a:cxn>
                <a:cxn ang="0">
                  <a:pos x="78" y="371"/>
                </a:cxn>
                <a:cxn ang="0">
                  <a:pos x="48" y="361"/>
                </a:cxn>
                <a:cxn ang="0">
                  <a:pos x="29" y="352"/>
                </a:cxn>
                <a:cxn ang="0">
                  <a:pos x="39" y="322"/>
                </a:cxn>
                <a:cxn ang="0">
                  <a:pos x="19" y="293"/>
                </a:cxn>
                <a:cxn ang="0">
                  <a:pos x="0" y="273"/>
                </a:cxn>
                <a:cxn ang="0">
                  <a:pos x="19" y="254"/>
                </a:cxn>
                <a:cxn ang="0">
                  <a:pos x="9" y="234"/>
                </a:cxn>
                <a:cxn ang="0">
                  <a:pos x="0" y="215"/>
                </a:cxn>
                <a:cxn ang="0">
                  <a:pos x="0" y="195"/>
                </a:cxn>
                <a:cxn ang="0">
                  <a:pos x="0" y="176"/>
                </a:cxn>
                <a:cxn ang="0">
                  <a:pos x="29" y="166"/>
                </a:cxn>
                <a:cxn ang="0">
                  <a:pos x="39" y="147"/>
                </a:cxn>
                <a:cxn ang="0">
                  <a:pos x="58" y="127"/>
                </a:cxn>
                <a:cxn ang="0">
                  <a:pos x="58" y="108"/>
                </a:cxn>
                <a:cxn ang="0">
                  <a:pos x="78" y="98"/>
                </a:cxn>
                <a:cxn ang="0">
                  <a:pos x="107" y="88"/>
                </a:cxn>
                <a:cxn ang="0">
                  <a:pos x="126" y="59"/>
                </a:cxn>
                <a:cxn ang="0">
                  <a:pos x="146" y="49"/>
                </a:cxn>
                <a:cxn ang="0">
                  <a:pos x="185" y="49"/>
                </a:cxn>
                <a:cxn ang="0">
                  <a:pos x="195" y="39"/>
                </a:cxn>
                <a:cxn ang="0">
                  <a:pos x="224" y="30"/>
                </a:cxn>
                <a:cxn ang="0">
                  <a:pos x="253" y="10"/>
                </a:cxn>
                <a:cxn ang="0">
                  <a:pos x="283" y="0"/>
                </a:cxn>
                <a:cxn ang="0">
                  <a:pos x="292" y="10"/>
                </a:cxn>
                <a:cxn ang="0">
                  <a:pos x="292" y="30"/>
                </a:cxn>
                <a:cxn ang="0">
                  <a:pos x="292" y="69"/>
                </a:cxn>
                <a:cxn ang="0">
                  <a:pos x="283" y="98"/>
                </a:cxn>
                <a:cxn ang="0">
                  <a:pos x="283" y="117"/>
                </a:cxn>
                <a:cxn ang="0">
                  <a:pos x="263" y="127"/>
                </a:cxn>
                <a:cxn ang="0">
                  <a:pos x="243" y="127"/>
                </a:cxn>
                <a:cxn ang="0">
                  <a:pos x="253" y="176"/>
                </a:cxn>
                <a:cxn ang="0">
                  <a:pos x="224" y="215"/>
                </a:cxn>
                <a:cxn ang="0">
                  <a:pos x="195" y="215"/>
                </a:cxn>
                <a:cxn ang="0">
                  <a:pos x="185" y="244"/>
                </a:cxn>
                <a:cxn ang="0">
                  <a:pos x="165" y="264"/>
                </a:cxn>
                <a:cxn ang="0">
                  <a:pos x="156" y="283"/>
                </a:cxn>
                <a:cxn ang="0">
                  <a:pos x="136" y="293"/>
                </a:cxn>
                <a:cxn ang="0">
                  <a:pos x="136" y="313"/>
                </a:cxn>
                <a:cxn ang="0">
                  <a:pos x="117" y="332"/>
                </a:cxn>
              </a:cxnLst>
              <a:rect l="0" t="0" r="r" b="b"/>
              <a:pathLst>
                <a:path w="292" h="381">
                  <a:moveTo>
                    <a:pt x="117" y="332"/>
                  </a:moveTo>
                  <a:lnTo>
                    <a:pt x="107" y="352"/>
                  </a:lnTo>
                  <a:lnTo>
                    <a:pt x="97" y="361"/>
                  </a:lnTo>
                  <a:lnTo>
                    <a:pt x="78" y="371"/>
                  </a:lnTo>
                  <a:lnTo>
                    <a:pt x="48" y="381"/>
                  </a:lnTo>
                  <a:lnTo>
                    <a:pt x="48" y="361"/>
                  </a:lnTo>
                  <a:lnTo>
                    <a:pt x="39" y="352"/>
                  </a:lnTo>
                  <a:lnTo>
                    <a:pt x="29" y="352"/>
                  </a:lnTo>
                  <a:lnTo>
                    <a:pt x="29" y="342"/>
                  </a:lnTo>
                  <a:lnTo>
                    <a:pt x="39" y="322"/>
                  </a:lnTo>
                  <a:lnTo>
                    <a:pt x="39" y="303"/>
                  </a:lnTo>
                  <a:lnTo>
                    <a:pt x="19" y="293"/>
                  </a:lnTo>
                  <a:lnTo>
                    <a:pt x="9" y="283"/>
                  </a:lnTo>
                  <a:lnTo>
                    <a:pt x="0" y="273"/>
                  </a:lnTo>
                  <a:lnTo>
                    <a:pt x="9" y="264"/>
                  </a:lnTo>
                  <a:lnTo>
                    <a:pt x="19" y="254"/>
                  </a:lnTo>
                  <a:lnTo>
                    <a:pt x="19" y="244"/>
                  </a:lnTo>
                  <a:lnTo>
                    <a:pt x="9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9" y="19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0" y="176"/>
                  </a:lnTo>
                  <a:lnTo>
                    <a:pt x="9" y="166"/>
                  </a:lnTo>
                  <a:lnTo>
                    <a:pt x="29" y="166"/>
                  </a:lnTo>
                  <a:lnTo>
                    <a:pt x="39" y="156"/>
                  </a:lnTo>
                  <a:lnTo>
                    <a:pt x="39" y="14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58" y="117"/>
                  </a:lnTo>
                  <a:lnTo>
                    <a:pt x="58" y="108"/>
                  </a:lnTo>
                  <a:lnTo>
                    <a:pt x="68" y="98"/>
                  </a:lnTo>
                  <a:lnTo>
                    <a:pt x="78" y="98"/>
                  </a:lnTo>
                  <a:lnTo>
                    <a:pt x="97" y="98"/>
                  </a:lnTo>
                  <a:lnTo>
                    <a:pt x="107" y="88"/>
                  </a:lnTo>
                  <a:lnTo>
                    <a:pt x="117" y="69"/>
                  </a:lnTo>
                  <a:lnTo>
                    <a:pt x="126" y="59"/>
                  </a:lnTo>
                  <a:lnTo>
                    <a:pt x="136" y="49"/>
                  </a:lnTo>
                  <a:lnTo>
                    <a:pt x="146" y="49"/>
                  </a:lnTo>
                  <a:lnTo>
                    <a:pt x="165" y="59"/>
                  </a:lnTo>
                  <a:lnTo>
                    <a:pt x="185" y="49"/>
                  </a:lnTo>
                  <a:lnTo>
                    <a:pt x="195" y="39"/>
                  </a:lnTo>
                  <a:lnTo>
                    <a:pt x="204" y="30"/>
                  </a:lnTo>
                  <a:lnTo>
                    <a:pt x="224" y="30"/>
                  </a:lnTo>
                  <a:lnTo>
                    <a:pt x="234" y="20"/>
                  </a:lnTo>
                  <a:lnTo>
                    <a:pt x="253" y="10"/>
                  </a:lnTo>
                  <a:lnTo>
                    <a:pt x="273" y="10"/>
                  </a:lnTo>
                  <a:lnTo>
                    <a:pt x="283" y="0"/>
                  </a:lnTo>
                  <a:lnTo>
                    <a:pt x="292" y="10"/>
                  </a:lnTo>
                  <a:lnTo>
                    <a:pt x="283" y="30"/>
                  </a:lnTo>
                  <a:lnTo>
                    <a:pt x="292" y="30"/>
                  </a:lnTo>
                  <a:lnTo>
                    <a:pt x="292" y="49"/>
                  </a:lnTo>
                  <a:lnTo>
                    <a:pt x="292" y="69"/>
                  </a:lnTo>
                  <a:lnTo>
                    <a:pt x="283" y="78"/>
                  </a:lnTo>
                  <a:lnTo>
                    <a:pt x="283" y="98"/>
                  </a:lnTo>
                  <a:lnTo>
                    <a:pt x="283" y="108"/>
                  </a:lnTo>
                  <a:lnTo>
                    <a:pt x="283" y="117"/>
                  </a:lnTo>
                  <a:lnTo>
                    <a:pt x="283" y="127"/>
                  </a:lnTo>
                  <a:lnTo>
                    <a:pt x="263" y="127"/>
                  </a:lnTo>
                  <a:lnTo>
                    <a:pt x="263" y="117"/>
                  </a:lnTo>
                  <a:lnTo>
                    <a:pt x="243" y="127"/>
                  </a:lnTo>
                  <a:lnTo>
                    <a:pt x="243" y="166"/>
                  </a:lnTo>
                  <a:lnTo>
                    <a:pt x="253" y="176"/>
                  </a:lnTo>
                  <a:lnTo>
                    <a:pt x="224" y="195"/>
                  </a:lnTo>
                  <a:lnTo>
                    <a:pt x="224" y="215"/>
                  </a:lnTo>
                  <a:lnTo>
                    <a:pt x="195" y="215"/>
                  </a:lnTo>
                  <a:lnTo>
                    <a:pt x="204" y="234"/>
                  </a:lnTo>
                  <a:lnTo>
                    <a:pt x="185" y="244"/>
                  </a:lnTo>
                  <a:lnTo>
                    <a:pt x="165" y="254"/>
                  </a:lnTo>
                  <a:lnTo>
                    <a:pt x="165" y="264"/>
                  </a:lnTo>
                  <a:lnTo>
                    <a:pt x="175" y="283"/>
                  </a:lnTo>
                  <a:lnTo>
                    <a:pt x="156" y="283"/>
                  </a:lnTo>
                  <a:lnTo>
                    <a:pt x="146" y="283"/>
                  </a:lnTo>
                  <a:lnTo>
                    <a:pt x="136" y="293"/>
                  </a:lnTo>
                  <a:lnTo>
                    <a:pt x="136" y="303"/>
                  </a:lnTo>
                  <a:lnTo>
                    <a:pt x="136" y="313"/>
                  </a:lnTo>
                  <a:lnTo>
                    <a:pt x="126" y="322"/>
                  </a:lnTo>
                  <a:lnTo>
                    <a:pt x="117" y="33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4" name="Freeform 146"/>
            <p:cNvSpPr>
              <a:spLocks/>
            </p:cNvSpPr>
            <p:nvPr/>
          </p:nvSpPr>
          <p:spPr bwMode="auto">
            <a:xfrm>
              <a:off x="839" y="2994"/>
              <a:ext cx="174" cy="128"/>
            </a:xfrm>
            <a:custGeom>
              <a:avLst/>
              <a:gdLst/>
              <a:ahLst/>
              <a:cxnLst>
                <a:cxn ang="0">
                  <a:pos x="39" y="98"/>
                </a:cxn>
                <a:cxn ang="0">
                  <a:pos x="39" y="69"/>
                </a:cxn>
                <a:cxn ang="0">
                  <a:pos x="29" y="49"/>
                </a:cxn>
                <a:cxn ang="0">
                  <a:pos x="10" y="39"/>
                </a:cxn>
                <a:cxn ang="0">
                  <a:pos x="10" y="20"/>
                </a:cxn>
                <a:cxn ang="0">
                  <a:pos x="0" y="10"/>
                </a:cxn>
                <a:cxn ang="0">
                  <a:pos x="29" y="0"/>
                </a:cxn>
                <a:cxn ang="0">
                  <a:pos x="49" y="0"/>
                </a:cxn>
                <a:cxn ang="0">
                  <a:pos x="78" y="0"/>
                </a:cxn>
                <a:cxn ang="0">
                  <a:pos x="97" y="10"/>
                </a:cxn>
                <a:cxn ang="0">
                  <a:pos x="107" y="20"/>
                </a:cxn>
                <a:cxn ang="0">
                  <a:pos x="97" y="30"/>
                </a:cxn>
                <a:cxn ang="0">
                  <a:pos x="127" y="39"/>
                </a:cxn>
                <a:cxn ang="0">
                  <a:pos x="127" y="49"/>
                </a:cxn>
                <a:cxn ang="0">
                  <a:pos x="127" y="59"/>
                </a:cxn>
                <a:cxn ang="0">
                  <a:pos x="156" y="49"/>
                </a:cxn>
                <a:cxn ang="0">
                  <a:pos x="156" y="69"/>
                </a:cxn>
                <a:cxn ang="0">
                  <a:pos x="175" y="69"/>
                </a:cxn>
                <a:cxn ang="0">
                  <a:pos x="175" y="88"/>
                </a:cxn>
                <a:cxn ang="0">
                  <a:pos x="175" y="98"/>
                </a:cxn>
                <a:cxn ang="0">
                  <a:pos x="156" y="117"/>
                </a:cxn>
                <a:cxn ang="0">
                  <a:pos x="146" y="117"/>
                </a:cxn>
                <a:cxn ang="0">
                  <a:pos x="127" y="127"/>
                </a:cxn>
                <a:cxn ang="0">
                  <a:pos x="107" y="117"/>
                </a:cxn>
                <a:cxn ang="0">
                  <a:pos x="97" y="117"/>
                </a:cxn>
                <a:cxn ang="0">
                  <a:pos x="78" y="117"/>
                </a:cxn>
                <a:cxn ang="0">
                  <a:pos x="49" y="117"/>
                </a:cxn>
                <a:cxn ang="0">
                  <a:pos x="39" y="117"/>
                </a:cxn>
                <a:cxn ang="0">
                  <a:pos x="39" y="98"/>
                </a:cxn>
              </a:cxnLst>
              <a:rect l="0" t="0" r="r" b="b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4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1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49"/>
                  </a:lnTo>
                  <a:lnTo>
                    <a:pt x="156" y="69"/>
                  </a:lnTo>
                  <a:lnTo>
                    <a:pt x="175" y="69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17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17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62" name="Group 143"/>
            <p:cNvGrpSpPr>
              <a:grpSpLocks/>
            </p:cNvGrpSpPr>
            <p:nvPr/>
          </p:nvGrpSpPr>
          <p:grpSpPr bwMode="auto">
            <a:xfrm>
              <a:off x="839" y="2995"/>
              <a:ext cx="175" cy="127"/>
              <a:chOff x="839" y="2995"/>
              <a:chExt cx="175" cy="127"/>
            </a:xfrm>
          </p:grpSpPr>
          <p:sp>
            <p:nvSpPr>
              <p:cNvPr id="333" name="Freeform 145"/>
              <p:cNvSpPr>
                <a:spLocks/>
              </p:cNvSpPr>
              <p:nvPr/>
            </p:nvSpPr>
            <p:spPr bwMode="auto">
              <a:xfrm>
                <a:off x="839" y="2994"/>
                <a:ext cx="174" cy="128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4" name="Freeform 144"/>
              <p:cNvSpPr>
                <a:spLocks/>
              </p:cNvSpPr>
              <p:nvPr/>
            </p:nvSpPr>
            <p:spPr bwMode="auto">
              <a:xfrm>
                <a:off x="839" y="2994"/>
                <a:ext cx="174" cy="128"/>
              </a:xfrm>
              <a:custGeom>
                <a:avLst/>
                <a:gdLst/>
                <a:ahLst/>
                <a:cxnLst>
                  <a:cxn ang="0">
                    <a:pos x="39" y="98"/>
                  </a:cxn>
                  <a:cxn ang="0">
                    <a:pos x="39" y="69"/>
                  </a:cxn>
                  <a:cxn ang="0">
                    <a:pos x="29" y="59"/>
                  </a:cxn>
                  <a:cxn ang="0">
                    <a:pos x="10" y="39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29" y="0"/>
                  </a:cxn>
                  <a:cxn ang="0">
                    <a:pos x="49" y="0"/>
                  </a:cxn>
                  <a:cxn ang="0">
                    <a:pos x="78" y="0"/>
                  </a:cxn>
                  <a:cxn ang="0">
                    <a:pos x="97" y="10"/>
                  </a:cxn>
                  <a:cxn ang="0">
                    <a:pos x="107" y="20"/>
                  </a:cxn>
                  <a:cxn ang="0">
                    <a:pos x="97" y="30"/>
                  </a:cxn>
                  <a:cxn ang="0">
                    <a:pos x="127" y="39"/>
                  </a:cxn>
                  <a:cxn ang="0">
                    <a:pos x="127" y="49"/>
                  </a:cxn>
                  <a:cxn ang="0">
                    <a:pos x="127" y="59"/>
                  </a:cxn>
                  <a:cxn ang="0">
                    <a:pos x="156" y="59"/>
                  </a:cxn>
                  <a:cxn ang="0">
                    <a:pos x="156" y="69"/>
                  </a:cxn>
                  <a:cxn ang="0">
                    <a:pos x="175" y="78"/>
                  </a:cxn>
                  <a:cxn ang="0">
                    <a:pos x="175" y="88"/>
                  </a:cxn>
                  <a:cxn ang="0">
                    <a:pos x="175" y="98"/>
                  </a:cxn>
                  <a:cxn ang="0">
                    <a:pos x="156" y="108"/>
                  </a:cxn>
                  <a:cxn ang="0">
                    <a:pos x="146" y="117"/>
                  </a:cxn>
                  <a:cxn ang="0">
                    <a:pos x="127" y="127"/>
                  </a:cxn>
                  <a:cxn ang="0">
                    <a:pos x="107" y="117"/>
                  </a:cxn>
                  <a:cxn ang="0">
                    <a:pos x="97" y="108"/>
                  </a:cxn>
                  <a:cxn ang="0">
                    <a:pos x="78" y="117"/>
                  </a:cxn>
                  <a:cxn ang="0">
                    <a:pos x="49" y="117"/>
                  </a:cxn>
                  <a:cxn ang="0">
                    <a:pos x="39" y="117"/>
                  </a:cxn>
                  <a:cxn ang="0">
                    <a:pos x="39" y="98"/>
                  </a:cxn>
                </a:cxnLst>
                <a:rect l="0" t="0" r="r" b="b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06" name="Freeform 142"/>
            <p:cNvSpPr>
              <a:spLocks/>
            </p:cNvSpPr>
            <p:nvPr/>
          </p:nvSpPr>
          <p:spPr bwMode="auto">
            <a:xfrm>
              <a:off x="878" y="3093"/>
              <a:ext cx="155" cy="107"/>
            </a:xfrm>
            <a:custGeom>
              <a:avLst/>
              <a:gdLst>
                <a:gd name="T0" fmla="*/ 146 w 156"/>
                <a:gd name="T1" fmla="*/ 29 h 107"/>
                <a:gd name="T2" fmla="*/ 14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2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146 w 156"/>
                <a:gd name="T65" fmla="*/ 29 h 1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07"/>
                <a:gd name="T101" fmla="*/ 156 w 156"/>
                <a:gd name="T102" fmla="*/ 107 h 1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07">
                  <a:moveTo>
                    <a:pt x="146" y="29"/>
                  </a:moveTo>
                  <a:lnTo>
                    <a:pt x="146" y="39"/>
                  </a:ln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2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  <a:lnTo>
                    <a:pt x="146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64" name="Group 139"/>
            <p:cNvGrpSpPr>
              <a:grpSpLocks/>
            </p:cNvGrpSpPr>
            <p:nvPr/>
          </p:nvGrpSpPr>
          <p:grpSpPr bwMode="auto">
            <a:xfrm>
              <a:off x="878" y="3093"/>
              <a:ext cx="156" cy="107"/>
              <a:chOff x="878" y="3093"/>
              <a:chExt cx="156" cy="107"/>
            </a:xfrm>
          </p:grpSpPr>
          <p:sp>
            <p:nvSpPr>
              <p:cNvPr id="331" name="Freeform 141"/>
              <p:cNvSpPr>
                <a:spLocks/>
              </p:cNvSpPr>
              <p:nvPr/>
            </p:nvSpPr>
            <p:spPr bwMode="auto">
              <a:xfrm>
                <a:off x="878" y="3093"/>
                <a:ext cx="155" cy="107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146 w 156"/>
                  <a:gd name="T65" fmla="*/ 39 h 10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6"/>
                  <a:gd name="T100" fmla="*/ 0 h 107"/>
                  <a:gd name="T101" fmla="*/ 156 w 156"/>
                  <a:gd name="T102" fmla="*/ 107 h 10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  <a:lnTo>
                      <a:pt x="146" y="39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2" name="Freeform 140"/>
              <p:cNvSpPr>
                <a:spLocks/>
              </p:cNvSpPr>
              <p:nvPr/>
            </p:nvSpPr>
            <p:spPr bwMode="auto">
              <a:xfrm>
                <a:off x="878" y="3093"/>
                <a:ext cx="155" cy="107"/>
              </a:xfrm>
              <a:custGeom>
                <a:avLst/>
                <a:gdLst/>
                <a:ahLst/>
                <a:cxnLst>
                  <a:cxn ang="0">
                    <a:pos x="146" y="39"/>
                  </a:cxn>
                  <a:cxn ang="0">
                    <a:pos x="136" y="39"/>
                  </a:cxn>
                  <a:cxn ang="0">
                    <a:pos x="136" y="39"/>
                  </a:cxn>
                  <a:cxn ang="0">
                    <a:pos x="136" y="29"/>
                  </a:cxn>
                  <a:cxn ang="0">
                    <a:pos x="127" y="29"/>
                  </a:cxn>
                  <a:cxn ang="0">
                    <a:pos x="117" y="39"/>
                  </a:cxn>
                  <a:cxn ang="0">
                    <a:pos x="107" y="39"/>
                  </a:cxn>
                  <a:cxn ang="0">
                    <a:pos x="117" y="58"/>
                  </a:cxn>
                  <a:cxn ang="0">
                    <a:pos x="107" y="58"/>
                  </a:cxn>
                  <a:cxn ang="0">
                    <a:pos x="107" y="78"/>
                  </a:cxn>
                  <a:cxn ang="0">
                    <a:pos x="97" y="97"/>
                  </a:cxn>
                  <a:cxn ang="0">
                    <a:pos x="88" y="107"/>
                  </a:cxn>
                  <a:cxn ang="0">
                    <a:pos x="68" y="97"/>
                  </a:cxn>
                  <a:cxn ang="0">
                    <a:pos x="49" y="97"/>
                  </a:cxn>
                  <a:cxn ang="0">
                    <a:pos x="39" y="88"/>
                  </a:cxn>
                  <a:cxn ang="0">
                    <a:pos x="29" y="78"/>
                  </a:cxn>
                  <a:cxn ang="0">
                    <a:pos x="19" y="88"/>
                  </a:cxn>
                  <a:cxn ang="0">
                    <a:pos x="0" y="78"/>
                  </a:cxn>
                  <a:cxn ang="0">
                    <a:pos x="0" y="58"/>
                  </a:cxn>
                  <a:cxn ang="0">
                    <a:pos x="10" y="49"/>
                  </a:cxn>
                  <a:cxn ang="0">
                    <a:pos x="10" y="29"/>
                  </a:cxn>
                  <a:cxn ang="0">
                    <a:pos x="0" y="19"/>
                  </a:cxn>
                  <a:cxn ang="0">
                    <a:pos x="19" y="19"/>
                  </a:cxn>
                  <a:cxn ang="0">
                    <a:pos x="39" y="19"/>
                  </a:cxn>
                  <a:cxn ang="0">
                    <a:pos x="58" y="19"/>
                  </a:cxn>
                  <a:cxn ang="0">
                    <a:pos x="68" y="19"/>
                  </a:cxn>
                  <a:cxn ang="0">
                    <a:pos x="88" y="29"/>
                  </a:cxn>
                  <a:cxn ang="0">
                    <a:pos x="107" y="19"/>
                  </a:cxn>
                  <a:cxn ang="0">
                    <a:pos x="117" y="19"/>
                  </a:cxn>
                  <a:cxn ang="0">
                    <a:pos x="136" y="0"/>
                  </a:cxn>
                  <a:cxn ang="0">
                    <a:pos x="156" y="10"/>
                  </a:cxn>
                  <a:cxn ang="0">
                    <a:pos x="146" y="19"/>
                  </a:cxn>
                </a:cxnLst>
                <a:rect l="0" t="0" r="r" b="b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08" name="Freeform 138"/>
            <p:cNvSpPr>
              <a:spLocks/>
            </p:cNvSpPr>
            <p:nvPr/>
          </p:nvSpPr>
          <p:spPr bwMode="auto">
            <a:xfrm>
              <a:off x="937" y="3122"/>
              <a:ext cx="96" cy="116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3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107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3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107"/>
                  </a:lnTo>
                  <a:lnTo>
                    <a:pt x="30" y="11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66" name="Group 135"/>
            <p:cNvGrpSpPr>
              <a:grpSpLocks/>
            </p:cNvGrpSpPr>
            <p:nvPr/>
          </p:nvGrpSpPr>
          <p:grpSpPr bwMode="auto">
            <a:xfrm>
              <a:off x="936" y="3122"/>
              <a:ext cx="98" cy="117"/>
              <a:chOff x="936" y="3122"/>
              <a:chExt cx="98" cy="117"/>
            </a:xfrm>
          </p:grpSpPr>
          <p:sp>
            <p:nvSpPr>
              <p:cNvPr id="329" name="Freeform 137"/>
              <p:cNvSpPr>
                <a:spLocks/>
              </p:cNvSpPr>
              <p:nvPr/>
            </p:nvSpPr>
            <p:spPr bwMode="auto">
              <a:xfrm>
                <a:off x="937" y="3122"/>
                <a:ext cx="96" cy="116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  <a:close/>
                  </a:path>
                </a:pathLst>
              </a:custGeom>
              <a:solidFill>
                <a:srgbClr val="E4481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0" name="Freeform 136"/>
              <p:cNvSpPr>
                <a:spLocks/>
              </p:cNvSpPr>
              <p:nvPr/>
            </p:nvSpPr>
            <p:spPr bwMode="auto">
              <a:xfrm>
                <a:off x="937" y="3122"/>
                <a:ext cx="96" cy="116"/>
              </a:xfrm>
              <a:custGeom>
                <a:avLst/>
                <a:gdLst/>
                <a:ahLst/>
                <a:cxnLst>
                  <a:cxn ang="0">
                    <a:pos x="30" y="117"/>
                  </a:cxn>
                  <a:cxn ang="0">
                    <a:pos x="59" y="107"/>
                  </a:cxn>
                  <a:cxn ang="0">
                    <a:pos x="78" y="78"/>
                  </a:cxn>
                  <a:cxn ang="0">
                    <a:pos x="98" y="49"/>
                  </a:cxn>
                  <a:cxn ang="0">
                    <a:pos x="98" y="20"/>
                  </a:cxn>
                  <a:cxn ang="0">
                    <a:pos x="88" y="0"/>
                  </a:cxn>
                  <a:cxn ang="0">
                    <a:pos x="88" y="10"/>
                  </a:cxn>
                  <a:cxn ang="0">
                    <a:pos x="78" y="10"/>
                  </a:cxn>
                  <a:cxn ang="0">
                    <a:pos x="78" y="0"/>
                  </a:cxn>
                  <a:cxn ang="0">
                    <a:pos x="69" y="0"/>
                  </a:cxn>
                  <a:cxn ang="0">
                    <a:pos x="59" y="0"/>
                  </a:cxn>
                  <a:cxn ang="0">
                    <a:pos x="49" y="10"/>
                  </a:cxn>
                  <a:cxn ang="0">
                    <a:pos x="59" y="20"/>
                  </a:cxn>
                  <a:cxn ang="0">
                    <a:pos x="49" y="29"/>
                  </a:cxn>
                  <a:cxn ang="0">
                    <a:pos x="49" y="49"/>
                  </a:cxn>
                  <a:cxn ang="0">
                    <a:pos x="49" y="68"/>
                  </a:cxn>
                  <a:cxn ang="0">
                    <a:pos x="30" y="78"/>
                  </a:cxn>
                  <a:cxn ang="0">
                    <a:pos x="10" y="68"/>
                  </a:cxn>
                  <a:cxn ang="0">
                    <a:pos x="0" y="78"/>
                  </a:cxn>
                  <a:cxn ang="0">
                    <a:pos x="10" y="88"/>
                  </a:cxn>
                  <a:cxn ang="0">
                    <a:pos x="30" y="98"/>
                  </a:cxn>
                  <a:cxn ang="0">
                    <a:pos x="30" y="117"/>
                  </a:cxn>
                </a:cxnLst>
                <a:rect l="0" t="0" r="r" b="b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10" name="Freeform 134"/>
            <p:cNvSpPr>
              <a:spLocks/>
            </p:cNvSpPr>
            <p:nvPr/>
          </p:nvSpPr>
          <p:spPr bwMode="auto">
            <a:xfrm>
              <a:off x="965" y="3122"/>
              <a:ext cx="174" cy="177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6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6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2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88 h 176"/>
                <a:gd name="T48" fmla="*/ 146 w 175"/>
                <a:gd name="T49" fmla="*/ 88 h 176"/>
                <a:gd name="T50" fmla="*/ 136 w 175"/>
                <a:gd name="T51" fmla="*/ 78 h 176"/>
                <a:gd name="T52" fmla="*/ 146 w 175"/>
                <a:gd name="T53" fmla="*/ 59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97 w 175"/>
                <a:gd name="T65" fmla="*/ 29 h 176"/>
                <a:gd name="T66" fmla="*/ 97 w 175"/>
                <a:gd name="T67" fmla="*/ 10 h 176"/>
                <a:gd name="T68" fmla="*/ 97 w 175"/>
                <a:gd name="T69" fmla="*/ 0 h 176"/>
                <a:gd name="T70" fmla="*/ 68 w 175"/>
                <a:gd name="T71" fmla="*/ 2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176"/>
                <a:gd name="T110" fmla="*/ 175 w 175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6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6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2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88"/>
                  </a:lnTo>
                  <a:lnTo>
                    <a:pt x="146" y="88"/>
                  </a:lnTo>
                  <a:lnTo>
                    <a:pt x="136" y="78"/>
                  </a:lnTo>
                  <a:lnTo>
                    <a:pt x="146" y="59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97" y="29"/>
                  </a:lnTo>
                  <a:lnTo>
                    <a:pt x="97" y="10"/>
                  </a:lnTo>
                  <a:lnTo>
                    <a:pt x="97" y="0"/>
                  </a:lnTo>
                  <a:lnTo>
                    <a:pt x="68" y="2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68" name="Group 131"/>
            <p:cNvGrpSpPr>
              <a:grpSpLocks/>
            </p:cNvGrpSpPr>
            <p:nvPr/>
          </p:nvGrpSpPr>
          <p:grpSpPr bwMode="auto">
            <a:xfrm>
              <a:off x="966" y="3122"/>
              <a:ext cx="175" cy="176"/>
              <a:chOff x="966" y="3122"/>
              <a:chExt cx="175" cy="176"/>
            </a:xfrm>
          </p:grpSpPr>
          <p:sp>
            <p:nvSpPr>
              <p:cNvPr id="327" name="Freeform 133"/>
              <p:cNvSpPr>
                <a:spLocks/>
              </p:cNvSpPr>
              <p:nvPr/>
            </p:nvSpPr>
            <p:spPr bwMode="auto">
              <a:xfrm>
                <a:off x="965" y="3122"/>
                <a:ext cx="174" cy="177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68 w 175"/>
                  <a:gd name="T71" fmla="*/ 20 h 17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75"/>
                  <a:gd name="T109" fmla="*/ 0 h 176"/>
                  <a:gd name="T110" fmla="*/ 175 w 175"/>
                  <a:gd name="T111" fmla="*/ 176 h 17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  <a:lnTo>
                      <a:pt x="68" y="20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8" name="Freeform 132"/>
              <p:cNvSpPr>
                <a:spLocks/>
              </p:cNvSpPr>
              <p:nvPr/>
            </p:nvSpPr>
            <p:spPr bwMode="auto">
              <a:xfrm>
                <a:off x="965" y="3122"/>
                <a:ext cx="172" cy="177"/>
              </a:xfrm>
              <a:custGeom>
                <a:avLst/>
                <a:gdLst/>
                <a:ahLst/>
                <a:cxnLst>
                  <a:cxn ang="0">
                    <a:pos x="68" y="20"/>
                  </a:cxn>
                  <a:cxn ang="0">
                    <a:pos x="68" y="49"/>
                  </a:cxn>
                  <a:cxn ang="0">
                    <a:pos x="48" y="78"/>
                  </a:cxn>
                  <a:cxn ang="0">
                    <a:pos x="29" y="107"/>
                  </a:cxn>
                  <a:cxn ang="0">
                    <a:pos x="0" y="117"/>
                  </a:cxn>
                  <a:cxn ang="0">
                    <a:pos x="0" y="137"/>
                  </a:cxn>
                  <a:cxn ang="0">
                    <a:pos x="19" y="156"/>
                  </a:cxn>
                  <a:cxn ang="0">
                    <a:pos x="39" y="156"/>
                  </a:cxn>
                  <a:cxn ang="0">
                    <a:pos x="58" y="156"/>
                  </a:cxn>
                  <a:cxn ang="0">
                    <a:pos x="68" y="147"/>
                  </a:cxn>
                  <a:cxn ang="0">
                    <a:pos x="68" y="156"/>
                  </a:cxn>
                  <a:cxn ang="0">
                    <a:pos x="78" y="176"/>
                  </a:cxn>
                  <a:cxn ang="0">
                    <a:pos x="87" y="176"/>
                  </a:cxn>
                  <a:cxn ang="0">
                    <a:pos x="97" y="156"/>
                  </a:cxn>
                  <a:cxn ang="0">
                    <a:pos x="117" y="156"/>
                  </a:cxn>
                  <a:cxn ang="0">
                    <a:pos x="107" y="137"/>
                  </a:cxn>
                  <a:cxn ang="0">
                    <a:pos x="117" y="127"/>
                  </a:cxn>
                  <a:cxn ang="0">
                    <a:pos x="117" y="117"/>
                  </a:cxn>
                  <a:cxn ang="0">
                    <a:pos x="126" y="117"/>
                  </a:cxn>
                  <a:cxn ang="0">
                    <a:pos x="156" y="117"/>
                  </a:cxn>
                  <a:cxn ang="0">
                    <a:pos x="165" y="117"/>
                  </a:cxn>
                  <a:cxn ang="0">
                    <a:pos x="175" y="107"/>
                  </a:cxn>
                  <a:cxn ang="0">
                    <a:pos x="175" y="88"/>
                  </a:cxn>
                  <a:cxn ang="0">
                    <a:pos x="165" y="78"/>
                  </a:cxn>
                  <a:cxn ang="0">
                    <a:pos x="146" y="78"/>
                  </a:cxn>
                  <a:cxn ang="0">
                    <a:pos x="136" y="78"/>
                  </a:cxn>
                  <a:cxn ang="0">
                    <a:pos x="146" y="68"/>
                  </a:cxn>
                  <a:cxn ang="0">
                    <a:pos x="146" y="49"/>
                  </a:cxn>
                  <a:cxn ang="0">
                    <a:pos x="126" y="49"/>
                  </a:cxn>
                  <a:cxn ang="0">
                    <a:pos x="126" y="39"/>
                  </a:cxn>
                  <a:cxn ang="0">
                    <a:pos x="126" y="29"/>
                  </a:cxn>
                  <a:cxn ang="0">
                    <a:pos x="107" y="39"/>
                  </a:cxn>
                  <a:cxn ang="0">
                    <a:pos x="87" y="29"/>
                  </a:cxn>
                  <a:cxn ang="0">
                    <a:pos x="97" y="10"/>
                  </a:cxn>
                  <a:cxn ang="0">
                    <a:pos x="87" y="0"/>
                  </a:cxn>
                </a:cxnLst>
                <a:rect l="0" t="0" r="r" b="b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12" name="Freeform 130"/>
            <p:cNvSpPr>
              <a:spLocks/>
            </p:cNvSpPr>
            <p:nvPr/>
          </p:nvSpPr>
          <p:spPr bwMode="auto">
            <a:xfrm>
              <a:off x="957" y="3073"/>
              <a:ext cx="301" cy="439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88 w 302"/>
                <a:gd name="T101" fmla="*/ 225 h 4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2"/>
                <a:gd name="T154" fmla="*/ 0 h 439"/>
                <a:gd name="T155" fmla="*/ 302 w 302"/>
                <a:gd name="T156" fmla="*/ 439 h 4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1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  <a:lnTo>
                    <a:pt x="88" y="22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70" name="Group 127"/>
            <p:cNvGrpSpPr>
              <a:grpSpLocks/>
            </p:cNvGrpSpPr>
            <p:nvPr/>
          </p:nvGrpSpPr>
          <p:grpSpPr bwMode="auto">
            <a:xfrm>
              <a:off x="956" y="3073"/>
              <a:ext cx="302" cy="439"/>
              <a:chOff x="956" y="3073"/>
              <a:chExt cx="302" cy="439"/>
            </a:xfrm>
          </p:grpSpPr>
          <p:sp>
            <p:nvSpPr>
              <p:cNvPr id="325" name="Freeform 129"/>
              <p:cNvSpPr>
                <a:spLocks/>
              </p:cNvSpPr>
              <p:nvPr/>
            </p:nvSpPr>
            <p:spPr bwMode="auto">
              <a:xfrm>
                <a:off x="957" y="3073"/>
                <a:ext cx="301" cy="439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88 w 302"/>
                  <a:gd name="T101" fmla="*/ 225 h 43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2"/>
                  <a:gd name="T154" fmla="*/ 0 h 439"/>
                  <a:gd name="T155" fmla="*/ 302 w 302"/>
                  <a:gd name="T156" fmla="*/ 439 h 43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  <a:lnTo>
                      <a:pt x="88" y="225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6" name="Freeform 128"/>
              <p:cNvSpPr>
                <a:spLocks/>
              </p:cNvSpPr>
              <p:nvPr/>
            </p:nvSpPr>
            <p:spPr bwMode="auto">
              <a:xfrm>
                <a:off x="957" y="3073"/>
                <a:ext cx="301" cy="439"/>
              </a:xfrm>
              <a:custGeom>
                <a:avLst/>
                <a:gdLst/>
                <a:ahLst/>
                <a:cxnLst>
                  <a:cxn ang="0">
                    <a:pos x="97" y="225"/>
                  </a:cxn>
                  <a:cxn ang="0">
                    <a:pos x="127" y="205"/>
                  </a:cxn>
                  <a:cxn ang="0">
                    <a:pos x="127" y="176"/>
                  </a:cxn>
                  <a:cxn ang="0">
                    <a:pos x="146" y="176"/>
                  </a:cxn>
                  <a:cxn ang="0">
                    <a:pos x="175" y="166"/>
                  </a:cxn>
                  <a:cxn ang="0">
                    <a:pos x="185" y="137"/>
                  </a:cxn>
                  <a:cxn ang="0">
                    <a:pos x="156" y="137"/>
                  </a:cxn>
                  <a:cxn ang="0">
                    <a:pos x="156" y="117"/>
                  </a:cxn>
                  <a:cxn ang="0">
                    <a:pos x="146" y="98"/>
                  </a:cxn>
                  <a:cxn ang="0">
                    <a:pos x="156" y="59"/>
                  </a:cxn>
                  <a:cxn ang="0">
                    <a:pos x="127" y="39"/>
                  </a:cxn>
                  <a:cxn ang="0">
                    <a:pos x="156" y="49"/>
                  </a:cxn>
                  <a:cxn ang="0">
                    <a:pos x="166" y="20"/>
                  </a:cxn>
                  <a:cxn ang="0">
                    <a:pos x="175" y="10"/>
                  </a:cxn>
                  <a:cxn ang="0">
                    <a:pos x="214" y="20"/>
                  </a:cxn>
                  <a:cxn ang="0">
                    <a:pos x="234" y="0"/>
                  </a:cxn>
                  <a:cxn ang="0">
                    <a:pos x="283" y="78"/>
                  </a:cxn>
                  <a:cxn ang="0">
                    <a:pos x="302" y="78"/>
                  </a:cxn>
                  <a:cxn ang="0">
                    <a:pos x="293" y="98"/>
                  </a:cxn>
                  <a:cxn ang="0">
                    <a:pos x="273" y="108"/>
                  </a:cxn>
                  <a:cxn ang="0">
                    <a:pos x="254" y="117"/>
                  </a:cxn>
                  <a:cxn ang="0">
                    <a:pos x="263" y="137"/>
                  </a:cxn>
                  <a:cxn ang="0">
                    <a:pos x="254" y="156"/>
                  </a:cxn>
                  <a:cxn ang="0">
                    <a:pos x="254" y="176"/>
                  </a:cxn>
                  <a:cxn ang="0">
                    <a:pos x="244" y="215"/>
                  </a:cxn>
                  <a:cxn ang="0">
                    <a:pos x="224" y="225"/>
                  </a:cxn>
                  <a:cxn ang="0">
                    <a:pos x="224" y="235"/>
                  </a:cxn>
                  <a:cxn ang="0">
                    <a:pos x="254" y="215"/>
                  </a:cxn>
                  <a:cxn ang="0">
                    <a:pos x="244" y="235"/>
                  </a:cxn>
                  <a:cxn ang="0">
                    <a:pos x="214" y="244"/>
                  </a:cxn>
                  <a:cxn ang="0">
                    <a:pos x="205" y="254"/>
                  </a:cxn>
                  <a:cxn ang="0">
                    <a:pos x="205" y="274"/>
                  </a:cxn>
                  <a:cxn ang="0">
                    <a:pos x="185" y="274"/>
                  </a:cxn>
                  <a:cxn ang="0">
                    <a:pos x="175" y="303"/>
                  </a:cxn>
                  <a:cxn ang="0">
                    <a:pos x="166" y="322"/>
                  </a:cxn>
                  <a:cxn ang="0">
                    <a:pos x="166" y="361"/>
                  </a:cxn>
                  <a:cxn ang="0">
                    <a:pos x="156" y="410"/>
                  </a:cxn>
                  <a:cxn ang="0">
                    <a:pos x="136" y="439"/>
                  </a:cxn>
                  <a:cxn ang="0">
                    <a:pos x="88" y="439"/>
                  </a:cxn>
                  <a:cxn ang="0">
                    <a:pos x="58" y="439"/>
                  </a:cxn>
                  <a:cxn ang="0">
                    <a:pos x="29" y="420"/>
                  </a:cxn>
                  <a:cxn ang="0">
                    <a:pos x="29" y="391"/>
                  </a:cxn>
                  <a:cxn ang="0">
                    <a:pos x="29" y="371"/>
                  </a:cxn>
                  <a:cxn ang="0">
                    <a:pos x="29" y="332"/>
                  </a:cxn>
                  <a:cxn ang="0">
                    <a:pos x="19" y="313"/>
                  </a:cxn>
                  <a:cxn ang="0">
                    <a:pos x="10" y="274"/>
                  </a:cxn>
                  <a:cxn ang="0">
                    <a:pos x="0" y="235"/>
                  </a:cxn>
                  <a:cxn ang="0">
                    <a:pos x="19" y="215"/>
                  </a:cxn>
                  <a:cxn ang="0">
                    <a:pos x="49" y="215"/>
                  </a:cxn>
                  <a:cxn ang="0">
                    <a:pos x="78" y="196"/>
                  </a:cxn>
                </a:cxnLst>
                <a:rect l="0" t="0" r="r" b="b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14" name="Freeform 126"/>
            <p:cNvSpPr>
              <a:spLocks/>
            </p:cNvSpPr>
            <p:nvPr/>
          </p:nvSpPr>
          <p:spPr bwMode="auto">
            <a:xfrm>
              <a:off x="3171" y="2692"/>
              <a:ext cx="692" cy="529"/>
            </a:xfrm>
            <a:custGeom>
              <a:avLst/>
              <a:gdLst/>
              <a:ahLst/>
              <a:cxnLst>
                <a:cxn ang="0">
                  <a:pos x="263" y="517"/>
                </a:cxn>
                <a:cxn ang="0">
                  <a:pos x="283" y="497"/>
                </a:cxn>
                <a:cxn ang="0">
                  <a:pos x="293" y="468"/>
                </a:cxn>
                <a:cxn ang="0">
                  <a:pos x="312" y="449"/>
                </a:cxn>
                <a:cxn ang="0">
                  <a:pos x="322" y="449"/>
                </a:cxn>
                <a:cxn ang="0">
                  <a:pos x="332" y="429"/>
                </a:cxn>
                <a:cxn ang="0">
                  <a:pos x="342" y="429"/>
                </a:cxn>
                <a:cxn ang="0">
                  <a:pos x="342" y="410"/>
                </a:cxn>
                <a:cxn ang="0">
                  <a:pos x="361" y="400"/>
                </a:cxn>
                <a:cxn ang="0">
                  <a:pos x="361" y="390"/>
                </a:cxn>
                <a:cxn ang="0">
                  <a:pos x="400" y="390"/>
                </a:cxn>
                <a:cxn ang="0">
                  <a:pos x="410" y="371"/>
                </a:cxn>
                <a:cxn ang="0">
                  <a:pos x="390" y="312"/>
                </a:cxn>
                <a:cxn ang="0">
                  <a:pos x="351" y="293"/>
                </a:cxn>
                <a:cxn ang="0">
                  <a:pos x="381" y="293"/>
                </a:cxn>
                <a:cxn ang="0">
                  <a:pos x="390" y="283"/>
                </a:cxn>
                <a:cxn ang="0">
                  <a:pos x="390" y="234"/>
                </a:cxn>
                <a:cxn ang="0">
                  <a:pos x="439" y="185"/>
                </a:cxn>
                <a:cxn ang="0">
                  <a:pos x="449" y="215"/>
                </a:cxn>
                <a:cxn ang="0">
                  <a:pos x="449" y="244"/>
                </a:cxn>
                <a:cxn ang="0">
                  <a:pos x="468" y="254"/>
                </a:cxn>
                <a:cxn ang="0">
                  <a:pos x="507" y="293"/>
                </a:cxn>
                <a:cxn ang="0">
                  <a:pos x="546" y="293"/>
                </a:cxn>
                <a:cxn ang="0">
                  <a:pos x="595" y="302"/>
                </a:cxn>
                <a:cxn ang="0">
                  <a:pos x="624" y="312"/>
                </a:cxn>
                <a:cxn ang="0">
                  <a:pos x="654" y="293"/>
                </a:cxn>
                <a:cxn ang="0">
                  <a:pos x="683" y="283"/>
                </a:cxn>
                <a:cxn ang="0">
                  <a:pos x="663" y="263"/>
                </a:cxn>
                <a:cxn ang="0">
                  <a:pos x="624" y="234"/>
                </a:cxn>
                <a:cxn ang="0">
                  <a:pos x="585" y="205"/>
                </a:cxn>
                <a:cxn ang="0">
                  <a:pos x="585" y="175"/>
                </a:cxn>
                <a:cxn ang="0">
                  <a:pos x="566" y="166"/>
                </a:cxn>
                <a:cxn ang="0">
                  <a:pos x="566" y="136"/>
                </a:cxn>
                <a:cxn ang="0">
                  <a:pos x="537" y="68"/>
                </a:cxn>
                <a:cxn ang="0">
                  <a:pos x="498" y="39"/>
                </a:cxn>
                <a:cxn ang="0">
                  <a:pos x="468" y="19"/>
                </a:cxn>
                <a:cxn ang="0">
                  <a:pos x="449" y="0"/>
                </a:cxn>
                <a:cxn ang="0">
                  <a:pos x="420" y="0"/>
                </a:cxn>
                <a:cxn ang="0">
                  <a:pos x="410" y="19"/>
                </a:cxn>
                <a:cxn ang="0">
                  <a:pos x="361" y="29"/>
                </a:cxn>
                <a:cxn ang="0">
                  <a:pos x="332" y="49"/>
                </a:cxn>
                <a:cxn ang="0">
                  <a:pos x="303" y="49"/>
                </a:cxn>
                <a:cxn ang="0">
                  <a:pos x="263" y="39"/>
                </a:cxn>
                <a:cxn ang="0">
                  <a:pos x="234" y="39"/>
                </a:cxn>
                <a:cxn ang="0">
                  <a:pos x="215" y="68"/>
                </a:cxn>
                <a:cxn ang="0">
                  <a:pos x="176" y="58"/>
                </a:cxn>
                <a:cxn ang="0">
                  <a:pos x="166" y="117"/>
                </a:cxn>
                <a:cxn ang="0">
                  <a:pos x="107" y="117"/>
                </a:cxn>
                <a:cxn ang="0">
                  <a:pos x="49" y="146"/>
                </a:cxn>
                <a:cxn ang="0">
                  <a:pos x="49" y="185"/>
                </a:cxn>
                <a:cxn ang="0">
                  <a:pos x="0" y="224"/>
                </a:cxn>
                <a:cxn ang="0">
                  <a:pos x="10" y="263"/>
                </a:cxn>
                <a:cxn ang="0">
                  <a:pos x="29" y="312"/>
                </a:cxn>
                <a:cxn ang="0">
                  <a:pos x="78" y="341"/>
                </a:cxn>
                <a:cxn ang="0">
                  <a:pos x="88" y="380"/>
                </a:cxn>
                <a:cxn ang="0">
                  <a:pos x="127" y="410"/>
                </a:cxn>
                <a:cxn ang="0">
                  <a:pos x="146" y="419"/>
                </a:cxn>
                <a:cxn ang="0">
                  <a:pos x="166" y="468"/>
                </a:cxn>
                <a:cxn ang="0">
                  <a:pos x="195" y="468"/>
                </a:cxn>
                <a:cxn ang="0">
                  <a:pos x="205" y="478"/>
                </a:cxn>
                <a:cxn ang="0">
                  <a:pos x="234" y="517"/>
                </a:cxn>
                <a:cxn ang="0">
                  <a:pos x="254" y="517"/>
                </a:cxn>
              </a:cxnLst>
              <a:rect l="0" t="0" r="r" b="b"/>
              <a:pathLst>
                <a:path w="693" h="527">
                  <a:moveTo>
                    <a:pt x="263" y="517"/>
                  </a:moveTo>
                  <a:lnTo>
                    <a:pt x="263" y="517"/>
                  </a:lnTo>
                  <a:lnTo>
                    <a:pt x="263" y="497"/>
                  </a:lnTo>
                  <a:lnTo>
                    <a:pt x="283" y="497"/>
                  </a:lnTo>
                  <a:lnTo>
                    <a:pt x="293" y="488"/>
                  </a:lnTo>
                  <a:lnTo>
                    <a:pt x="293" y="468"/>
                  </a:lnTo>
                  <a:lnTo>
                    <a:pt x="293" y="458"/>
                  </a:lnTo>
                  <a:lnTo>
                    <a:pt x="312" y="449"/>
                  </a:lnTo>
                  <a:lnTo>
                    <a:pt x="322" y="449"/>
                  </a:lnTo>
                  <a:lnTo>
                    <a:pt x="322" y="429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32" y="419"/>
                  </a:lnTo>
                  <a:lnTo>
                    <a:pt x="342" y="410"/>
                  </a:lnTo>
                  <a:lnTo>
                    <a:pt x="361" y="410"/>
                  </a:lnTo>
                  <a:lnTo>
                    <a:pt x="361" y="400"/>
                  </a:lnTo>
                  <a:lnTo>
                    <a:pt x="361" y="390"/>
                  </a:lnTo>
                  <a:lnTo>
                    <a:pt x="381" y="410"/>
                  </a:lnTo>
                  <a:lnTo>
                    <a:pt x="400" y="390"/>
                  </a:lnTo>
                  <a:lnTo>
                    <a:pt x="410" y="380"/>
                  </a:lnTo>
                  <a:lnTo>
                    <a:pt x="410" y="371"/>
                  </a:lnTo>
                  <a:lnTo>
                    <a:pt x="400" y="332"/>
                  </a:lnTo>
                  <a:lnTo>
                    <a:pt x="390" y="312"/>
                  </a:lnTo>
                  <a:lnTo>
                    <a:pt x="361" y="312"/>
                  </a:lnTo>
                  <a:lnTo>
                    <a:pt x="351" y="293"/>
                  </a:lnTo>
                  <a:lnTo>
                    <a:pt x="361" y="293"/>
                  </a:lnTo>
                  <a:lnTo>
                    <a:pt x="381" y="293"/>
                  </a:lnTo>
                  <a:lnTo>
                    <a:pt x="390" y="293"/>
                  </a:lnTo>
                  <a:lnTo>
                    <a:pt x="390" y="283"/>
                  </a:lnTo>
                  <a:lnTo>
                    <a:pt x="390" y="254"/>
                  </a:lnTo>
                  <a:lnTo>
                    <a:pt x="390" y="234"/>
                  </a:lnTo>
                  <a:lnTo>
                    <a:pt x="420" y="205"/>
                  </a:lnTo>
                  <a:lnTo>
                    <a:pt x="439" y="185"/>
                  </a:lnTo>
                  <a:lnTo>
                    <a:pt x="449" y="195"/>
                  </a:lnTo>
                  <a:lnTo>
                    <a:pt x="449" y="215"/>
                  </a:lnTo>
                  <a:lnTo>
                    <a:pt x="449" y="234"/>
                  </a:lnTo>
                  <a:lnTo>
                    <a:pt x="449" y="244"/>
                  </a:lnTo>
                  <a:lnTo>
                    <a:pt x="449" y="254"/>
                  </a:lnTo>
                  <a:lnTo>
                    <a:pt x="468" y="254"/>
                  </a:lnTo>
                  <a:lnTo>
                    <a:pt x="488" y="263"/>
                  </a:lnTo>
                  <a:lnTo>
                    <a:pt x="507" y="293"/>
                  </a:lnTo>
                  <a:lnTo>
                    <a:pt x="527" y="293"/>
                  </a:lnTo>
                  <a:lnTo>
                    <a:pt x="546" y="293"/>
                  </a:lnTo>
                  <a:lnTo>
                    <a:pt x="566" y="283"/>
                  </a:lnTo>
                  <a:lnTo>
                    <a:pt x="595" y="302"/>
                  </a:lnTo>
                  <a:lnTo>
                    <a:pt x="605" y="312"/>
                  </a:lnTo>
                  <a:lnTo>
                    <a:pt x="624" y="312"/>
                  </a:lnTo>
                  <a:lnTo>
                    <a:pt x="644" y="302"/>
                  </a:lnTo>
                  <a:lnTo>
                    <a:pt x="654" y="293"/>
                  </a:lnTo>
                  <a:lnTo>
                    <a:pt x="663" y="283"/>
                  </a:lnTo>
                  <a:lnTo>
                    <a:pt x="683" y="283"/>
                  </a:lnTo>
                  <a:lnTo>
                    <a:pt x="693" y="273"/>
                  </a:lnTo>
                  <a:lnTo>
                    <a:pt x="663" y="263"/>
                  </a:lnTo>
                  <a:lnTo>
                    <a:pt x="654" y="254"/>
                  </a:lnTo>
                  <a:lnTo>
                    <a:pt x="624" y="234"/>
                  </a:lnTo>
                  <a:lnTo>
                    <a:pt x="605" y="224"/>
                  </a:lnTo>
                  <a:lnTo>
                    <a:pt x="585" y="205"/>
                  </a:lnTo>
                  <a:lnTo>
                    <a:pt x="576" y="185"/>
                  </a:lnTo>
                  <a:lnTo>
                    <a:pt x="585" y="175"/>
                  </a:lnTo>
                  <a:lnTo>
                    <a:pt x="585" y="166"/>
                  </a:lnTo>
                  <a:lnTo>
                    <a:pt x="566" y="166"/>
                  </a:lnTo>
                  <a:lnTo>
                    <a:pt x="566" y="156"/>
                  </a:lnTo>
                  <a:lnTo>
                    <a:pt x="566" y="136"/>
                  </a:lnTo>
                  <a:lnTo>
                    <a:pt x="566" y="107"/>
                  </a:lnTo>
                  <a:lnTo>
                    <a:pt x="537" y="68"/>
                  </a:lnTo>
                  <a:lnTo>
                    <a:pt x="517" y="49"/>
                  </a:lnTo>
                  <a:lnTo>
                    <a:pt x="498" y="39"/>
                  </a:lnTo>
                  <a:lnTo>
                    <a:pt x="478" y="29"/>
                  </a:lnTo>
                  <a:lnTo>
                    <a:pt x="468" y="19"/>
                  </a:lnTo>
                  <a:lnTo>
                    <a:pt x="449" y="19"/>
                  </a:lnTo>
                  <a:lnTo>
                    <a:pt x="449" y="0"/>
                  </a:lnTo>
                  <a:lnTo>
                    <a:pt x="429" y="0"/>
                  </a:lnTo>
                  <a:lnTo>
                    <a:pt x="420" y="0"/>
                  </a:lnTo>
                  <a:lnTo>
                    <a:pt x="420" y="10"/>
                  </a:lnTo>
                  <a:lnTo>
                    <a:pt x="410" y="19"/>
                  </a:lnTo>
                  <a:lnTo>
                    <a:pt x="381" y="29"/>
                  </a:lnTo>
                  <a:lnTo>
                    <a:pt x="361" y="29"/>
                  </a:lnTo>
                  <a:lnTo>
                    <a:pt x="361" y="49"/>
                  </a:lnTo>
                  <a:lnTo>
                    <a:pt x="332" y="49"/>
                  </a:lnTo>
                  <a:lnTo>
                    <a:pt x="322" y="39"/>
                  </a:lnTo>
                  <a:lnTo>
                    <a:pt x="303" y="49"/>
                  </a:lnTo>
                  <a:lnTo>
                    <a:pt x="283" y="49"/>
                  </a:lnTo>
                  <a:lnTo>
                    <a:pt x="263" y="39"/>
                  </a:lnTo>
                  <a:lnTo>
                    <a:pt x="254" y="39"/>
                  </a:lnTo>
                  <a:lnTo>
                    <a:pt x="234" y="39"/>
                  </a:lnTo>
                  <a:lnTo>
                    <a:pt x="234" y="68"/>
                  </a:lnTo>
                  <a:lnTo>
                    <a:pt x="215" y="68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66" y="88"/>
                  </a:lnTo>
                  <a:lnTo>
                    <a:pt x="166" y="117"/>
                  </a:lnTo>
                  <a:lnTo>
                    <a:pt x="127" y="117"/>
                  </a:lnTo>
                  <a:lnTo>
                    <a:pt x="107" y="117"/>
                  </a:lnTo>
                  <a:lnTo>
                    <a:pt x="59" y="117"/>
                  </a:lnTo>
                  <a:lnTo>
                    <a:pt x="49" y="146"/>
                  </a:lnTo>
                  <a:lnTo>
                    <a:pt x="49" y="166"/>
                  </a:lnTo>
                  <a:lnTo>
                    <a:pt x="49" y="185"/>
                  </a:lnTo>
                  <a:lnTo>
                    <a:pt x="20" y="205"/>
                  </a:lnTo>
                  <a:lnTo>
                    <a:pt x="0" y="224"/>
                  </a:lnTo>
                  <a:lnTo>
                    <a:pt x="0" y="244"/>
                  </a:lnTo>
                  <a:lnTo>
                    <a:pt x="10" y="263"/>
                  </a:lnTo>
                  <a:lnTo>
                    <a:pt x="20" y="283"/>
                  </a:lnTo>
                  <a:lnTo>
                    <a:pt x="29" y="312"/>
                  </a:lnTo>
                  <a:lnTo>
                    <a:pt x="49" y="332"/>
                  </a:lnTo>
                  <a:lnTo>
                    <a:pt x="78" y="341"/>
                  </a:lnTo>
                  <a:lnTo>
                    <a:pt x="88" y="361"/>
                  </a:lnTo>
                  <a:lnTo>
                    <a:pt x="88" y="380"/>
                  </a:lnTo>
                  <a:lnTo>
                    <a:pt x="107" y="390"/>
                  </a:lnTo>
                  <a:lnTo>
                    <a:pt x="127" y="410"/>
                  </a:lnTo>
                  <a:lnTo>
                    <a:pt x="146" y="400"/>
                  </a:lnTo>
                  <a:lnTo>
                    <a:pt x="146" y="419"/>
                  </a:lnTo>
                  <a:lnTo>
                    <a:pt x="156" y="429"/>
                  </a:lnTo>
                  <a:lnTo>
                    <a:pt x="166" y="468"/>
                  </a:lnTo>
                  <a:lnTo>
                    <a:pt x="185" y="468"/>
                  </a:lnTo>
                  <a:lnTo>
                    <a:pt x="195" y="468"/>
                  </a:lnTo>
                  <a:lnTo>
                    <a:pt x="195" y="478"/>
                  </a:lnTo>
                  <a:lnTo>
                    <a:pt x="205" y="478"/>
                  </a:lnTo>
                  <a:lnTo>
                    <a:pt x="215" y="497"/>
                  </a:lnTo>
                  <a:lnTo>
                    <a:pt x="234" y="517"/>
                  </a:lnTo>
                  <a:lnTo>
                    <a:pt x="244" y="527"/>
                  </a:lnTo>
                  <a:lnTo>
                    <a:pt x="254" y="517"/>
                  </a:lnTo>
                  <a:lnTo>
                    <a:pt x="263" y="51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5" name="Freeform 125"/>
            <p:cNvSpPr>
              <a:spLocks/>
            </p:cNvSpPr>
            <p:nvPr/>
          </p:nvSpPr>
          <p:spPr bwMode="auto">
            <a:xfrm>
              <a:off x="3413" y="2878"/>
              <a:ext cx="447" cy="616"/>
            </a:xfrm>
            <a:custGeom>
              <a:avLst/>
              <a:gdLst>
                <a:gd name="T0" fmla="*/ 166 w 449"/>
                <a:gd name="T1" fmla="*/ 195 h 615"/>
                <a:gd name="T2" fmla="*/ 146 w 449"/>
                <a:gd name="T3" fmla="*/ 127 h 615"/>
                <a:gd name="T4" fmla="*/ 117 w 449"/>
                <a:gd name="T5" fmla="*/ 108 h 615"/>
                <a:gd name="T6" fmla="*/ 146 w 449"/>
                <a:gd name="T7" fmla="*/ 98 h 615"/>
                <a:gd name="T8" fmla="*/ 176 w 449"/>
                <a:gd name="T9" fmla="*/ 20 h 615"/>
                <a:gd name="T10" fmla="*/ 205 w 449"/>
                <a:gd name="T11" fmla="*/ 30 h 615"/>
                <a:gd name="T12" fmla="*/ 205 w 449"/>
                <a:gd name="T13" fmla="*/ 69 h 615"/>
                <a:gd name="T14" fmla="*/ 262 w 449"/>
                <a:gd name="T15" fmla="*/ 108 h 615"/>
                <a:gd name="T16" fmla="*/ 311 w 449"/>
                <a:gd name="T17" fmla="*/ 98 h 615"/>
                <a:gd name="T18" fmla="*/ 369 w 449"/>
                <a:gd name="T19" fmla="*/ 127 h 615"/>
                <a:gd name="T20" fmla="*/ 408 w 449"/>
                <a:gd name="T21" fmla="*/ 98 h 615"/>
                <a:gd name="T22" fmla="*/ 438 w 449"/>
                <a:gd name="T23" fmla="*/ 108 h 615"/>
                <a:gd name="T24" fmla="*/ 408 w 449"/>
                <a:gd name="T25" fmla="*/ 127 h 615"/>
                <a:gd name="T26" fmla="*/ 408 w 449"/>
                <a:gd name="T27" fmla="*/ 147 h 615"/>
                <a:gd name="T28" fmla="*/ 438 w 449"/>
                <a:gd name="T29" fmla="*/ 186 h 615"/>
                <a:gd name="T30" fmla="*/ 408 w 449"/>
                <a:gd name="T31" fmla="*/ 225 h 615"/>
                <a:gd name="T32" fmla="*/ 418 w 449"/>
                <a:gd name="T33" fmla="*/ 293 h 615"/>
                <a:gd name="T34" fmla="*/ 399 w 449"/>
                <a:gd name="T35" fmla="*/ 332 h 615"/>
                <a:gd name="T36" fmla="*/ 399 w 449"/>
                <a:gd name="T37" fmla="*/ 371 h 615"/>
                <a:gd name="T38" fmla="*/ 379 w 449"/>
                <a:gd name="T39" fmla="*/ 381 h 615"/>
                <a:gd name="T40" fmla="*/ 330 w 449"/>
                <a:gd name="T41" fmla="*/ 381 h 615"/>
                <a:gd name="T42" fmla="*/ 311 w 449"/>
                <a:gd name="T43" fmla="*/ 410 h 615"/>
                <a:gd name="T44" fmla="*/ 291 w 449"/>
                <a:gd name="T45" fmla="*/ 430 h 615"/>
                <a:gd name="T46" fmla="*/ 291 w 449"/>
                <a:gd name="T47" fmla="*/ 488 h 615"/>
                <a:gd name="T48" fmla="*/ 311 w 449"/>
                <a:gd name="T49" fmla="*/ 527 h 615"/>
                <a:gd name="T50" fmla="*/ 282 w 449"/>
                <a:gd name="T51" fmla="*/ 547 h 615"/>
                <a:gd name="T52" fmla="*/ 272 w 449"/>
                <a:gd name="T53" fmla="*/ 586 h 615"/>
                <a:gd name="T54" fmla="*/ 243 w 449"/>
                <a:gd name="T55" fmla="*/ 605 h 615"/>
                <a:gd name="T56" fmla="*/ 195 w 449"/>
                <a:gd name="T57" fmla="*/ 605 h 615"/>
                <a:gd name="T58" fmla="*/ 166 w 449"/>
                <a:gd name="T59" fmla="*/ 615 h 615"/>
                <a:gd name="T60" fmla="*/ 137 w 449"/>
                <a:gd name="T61" fmla="*/ 595 h 615"/>
                <a:gd name="T62" fmla="*/ 107 w 449"/>
                <a:gd name="T63" fmla="*/ 595 h 615"/>
                <a:gd name="T64" fmla="*/ 127 w 449"/>
                <a:gd name="T65" fmla="*/ 556 h 615"/>
                <a:gd name="T66" fmla="*/ 156 w 449"/>
                <a:gd name="T67" fmla="*/ 547 h 615"/>
                <a:gd name="T68" fmla="*/ 127 w 449"/>
                <a:gd name="T69" fmla="*/ 547 h 615"/>
                <a:gd name="T70" fmla="*/ 107 w 449"/>
                <a:gd name="T71" fmla="*/ 517 h 615"/>
                <a:gd name="T72" fmla="*/ 88 w 449"/>
                <a:gd name="T73" fmla="*/ 527 h 615"/>
                <a:gd name="T74" fmla="*/ 78 w 449"/>
                <a:gd name="T75" fmla="*/ 508 h 615"/>
                <a:gd name="T76" fmla="*/ 78 w 449"/>
                <a:gd name="T77" fmla="*/ 478 h 615"/>
                <a:gd name="T78" fmla="*/ 68 w 449"/>
                <a:gd name="T79" fmla="*/ 488 h 615"/>
                <a:gd name="T80" fmla="*/ 49 w 449"/>
                <a:gd name="T81" fmla="*/ 478 h 615"/>
                <a:gd name="T82" fmla="*/ 19 w 449"/>
                <a:gd name="T83" fmla="*/ 478 h 615"/>
                <a:gd name="T84" fmla="*/ 0 w 449"/>
                <a:gd name="T85" fmla="*/ 469 h 615"/>
                <a:gd name="T86" fmla="*/ 19 w 449"/>
                <a:gd name="T87" fmla="*/ 430 h 615"/>
                <a:gd name="T88" fmla="*/ 29 w 449"/>
                <a:gd name="T89" fmla="*/ 400 h 615"/>
                <a:gd name="T90" fmla="*/ 39 w 449"/>
                <a:gd name="T91" fmla="*/ 351 h 615"/>
                <a:gd name="T92" fmla="*/ 29 w 449"/>
                <a:gd name="T93" fmla="*/ 312 h 615"/>
                <a:gd name="T94" fmla="*/ 49 w 449"/>
                <a:gd name="T95" fmla="*/ 293 h 615"/>
                <a:gd name="T96" fmla="*/ 78 w 449"/>
                <a:gd name="T97" fmla="*/ 273 h 615"/>
                <a:gd name="T98" fmla="*/ 88 w 449"/>
                <a:gd name="T99" fmla="*/ 254 h 615"/>
                <a:gd name="T100" fmla="*/ 98 w 449"/>
                <a:gd name="T101" fmla="*/ 234 h 615"/>
                <a:gd name="T102" fmla="*/ 117 w 449"/>
                <a:gd name="T103" fmla="*/ 215 h 615"/>
                <a:gd name="T104" fmla="*/ 137 w 449"/>
                <a:gd name="T105" fmla="*/ 225 h 6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49"/>
                <a:gd name="T160" fmla="*/ 0 h 615"/>
                <a:gd name="T161" fmla="*/ 449 w 449"/>
                <a:gd name="T162" fmla="*/ 615 h 6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49" h="615">
                  <a:moveTo>
                    <a:pt x="137" y="225"/>
                  </a:moveTo>
                  <a:lnTo>
                    <a:pt x="156" y="215"/>
                  </a:lnTo>
                  <a:lnTo>
                    <a:pt x="166" y="195"/>
                  </a:lnTo>
                  <a:lnTo>
                    <a:pt x="166" y="186"/>
                  </a:lnTo>
                  <a:lnTo>
                    <a:pt x="156" y="156"/>
                  </a:lnTo>
                  <a:lnTo>
                    <a:pt x="146" y="12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117" y="108"/>
                  </a:lnTo>
                  <a:lnTo>
                    <a:pt x="137" y="108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46" y="69"/>
                  </a:lnTo>
                  <a:lnTo>
                    <a:pt x="146" y="59"/>
                  </a:lnTo>
                  <a:lnTo>
                    <a:pt x="176" y="20"/>
                  </a:lnTo>
                  <a:lnTo>
                    <a:pt x="195" y="0"/>
                  </a:lnTo>
                  <a:lnTo>
                    <a:pt x="205" y="20"/>
                  </a:lnTo>
                  <a:lnTo>
                    <a:pt x="205" y="30"/>
                  </a:lnTo>
                  <a:lnTo>
                    <a:pt x="205" y="49"/>
                  </a:lnTo>
                  <a:lnTo>
                    <a:pt x="205" y="59"/>
                  </a:lnTo>
                  <a:lnTo>
                    <a:pt x="205" y="69"/>
                  </a:lnTo>
                  <a:lnTo>
                    <a:pt x="224" y="69"/>
                  </a:lnTo>
                  <a:lnTo>
                    <a:pt x="244" y="78"/>
                  </a:lnTo>
                  <a:lnTo>
                    <a:pt x="273" y="108"/>
                  </a:lnTo>
                  <a:lnTo>
                    <a:pt x="283" y="117"/>
                  </a:lnTo>
                  <a:lnTo>
                    <a:pt x="302" y="108"/>
                  </a:lnTo>
                  <a:lnTo>
                    <a:pt x="322" y="98"/>
                  </a:lnTo>
                  <a:lnTo>
                    <a:pt x="351" y="117"/>
                  </a:lnTo>
                  <a:lnTo>
                    <a:pt x="361" y="127"/>
                  </a:lnTo>
                  <a:lnTo>
                    <a:pt x="380" y="127"/>
                  </a:lnTo>
                  <a:lnTo>
                    <a:pt x="400" y="117"/>
                  </a:lnTo>
                  <a:lnTo>
                    <a:pt x="410" y="117"/>
                  </a:lnTo>
                  <a:lnTo>
                    <a:pt x="419" y="98"/>
                  </a:lnTo>
                  <a:lnTo>
                    <a:pt x="439" y="98"/>
                  </a:lnTo>
                  <a:lnTo>
                    <a:pt x="449" y="88"/>
                  </a:lnTo>
                  <a:lnTo>
                    <a:pt x="449" y="108"/>
                  </a:lnTo>
                  <a:lnTo>
                    <a:pt x="439" y="117"/>
                  </a:lnTo>
                  <a:lnTo>
                    <a:pt x="429" y="117"/>
                  </a:lnTo>
                  <a:lnTo>
                    <a:pt x="419" y="127"/>
                  </a:lnTo>
                  <a:lnTo>
                    <a:pt x="429" y="137"/>
                  </a:lnTo>
                  <a:lnTo>
                    <a:pt x="429" y="147"/>
                  </a:lnTo>
                  <a:lnTo>
                    <a:pt x="419" y="147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49" y="186"/>
                  </a:lnTo>
                  <a:lnTo>
                    <a:pt x="429" y="195"/>
                  </a:lnTo>
                  <a:lnTo>
                    <a:pt x="429" y="215"/>
                  </a:lnTo>
                  <a:lnTo>
                    <a:pt x="419" y="225"/>
                  </a:lnTo>
                  <a:lnTo>
                    <a:pt x="429" y="244"/>
                  </a:lnTo>
                  <a:lnTo>
                    <a:pt x="429" y="254"/>
                  </a:lnTo>
                  <a:lnTo>
                    <a:pt x="429" y="293"/>
                  </a:lnTo>
                  <a:lnTo>
                    <a:pt x="429" y="312"/>
                  </a:lnTo>
                  <a:lnTo>
                    <a:pt x="429" y="332"/>
                  </a:lnTo>
                  <a:lnTo>
                    <a:pt x="410" y="332"/>
                  </a:lnTo>
                  <a:lnTo>
                    <a:pt x="400" y="332"/>
                  </a:lnTo>
                  <a:lnTo>
                    <a:pt x="390" y="351"/>
                  </a:lnTo>
                  <a:lnTo>
                    <a:pt x="410" y="371"/>
                  </a:lnTo>
                  <a:lnTo>
                    <a:pt x="410" y="381"/>
                  </a:lnTo>
                  <a:lnTo>
                    <a:pt x="400" y="381"/>
                  </a:lnTo>
                  <a:lnTo>
                    <a:pt x="390" y="381"/>
                  </a:lnTo>
                  <a:lnTo>
                    <a:pt x="380" y="371"/>
                  </a:lnTo>
                  <a:lnTo>
                    <a:pt x="371" y="381"/>
                  </a:lnTo>
                  <a:lnTo>
                    <a:pt x="341" y="381"/>
                  </a:lnTo>
                  <a:lnTo>
                    <a:pt x="332" y="391"/>
                  </a:lnTo>
                  <a:lnTo>
                    <a:pt x="332" y="410"/>
                  </a:lnTo>
                  <a:lnTo>
                    <a:pt x="322" y="410"/>
                  </a:lnTo>
                  <a:lnTo>
                    <a:pt x="312" y="410"/>
                  </a:lnTo>
                  <a:lnTo>
                    <a:pt x="312" y="430"/>
                  </a:lnTo>
                  <a:lnTo>
                    <a:pt x="302" y="430"/>
                  </a:lnTo>
                  <a:lnTo>
                    <a:pt x="293" y="449"/>
                  </a:lnTo>
                  <a:lnTo>
                    <a:pt x="293" y="469"/>
                  </a:lnTo>
                  <a:lnTo>
                    <a:pt x="302" y="488"/>
                  </a:lnTo>
                  <a:lnTo>
                    <a:pt x="312" y="498"/>
                  </a:lnTo>
                  <a:lnTo>
                    <a:pt x="322" y="517"/>
                  </a:lnTo>
                  <a:lnTo>
                    <a:pt x="322" y="527"/>
                  </a:lnTo>
                  <a:lnTo>
                    <a:pt x="312" y="527"/>
                  </a:lnTo>
                  <a:lnTo>
                    <a:pt x="302" y="527"/>
                  </a:lnTo>
                  <a:lnTo>
                    <a:pt x="293" y="547"/>
                  </a:lnTo>
                  <a:lnTo>
                    <a:pt x="293" y="566"/>
                  </a:lnTo>
                  <a:lnTo>
                    <a:pt x="283" y="576"/>
                  </a:lnTo>
                  <a:lnTo>
                    <a:pt x="283" y="586"/>
                  </a:lnTo>
                  <a:lnTo>
                    <a:pt x="273" y="586"/>
                  </a:lnTo>
                  <a:lnTo>
                    <a:pt x="273" y="595"/>
                  </a:lnTo>
                  <a:lnTo>
                    <a:pt x="254" y="605"/>
                  </a:lnTo>
                  <a:lnTo>
                    <a:pt x="244" y="605"/>
                  </a:lnTo>
                  <a:lnTo>
                    <a:pt x="215" y="605"/>
                  </a:lnTo>
                  <a:lnTo>
                    <a:pt x="195" y="605"/>
                  </a:lnTo>
                  <a:lnTo>
                    <a:pt x="185" y="605"/>
                  </a:lnTo>
                  <a:lnTo>
                    <a:pt x="185" y="615"/>
                  </a:lnTo>
                  <a:lnTo>
                    <a:pt x="166" y="615"/>
                  </a:lnTo>
                  <a:lnTo>
                    <a:pt x="166" y="605"/>
                  </a:lnTo>
                  <a:lnTo>
                    <a:pt x="156" y="605"/>
                  </a:lnTo>
                  <a:lnTo>
                    <a:pt x="137" y="595"/>
                  </a:lnTo>
                  <a:lnTo>
                    <a:pt x="127" y="595"/>
                  </a:lnTo>
                  <a:lnTo>
                    <a:pt x="117" y="595"/>
                  </a:lnTo>
                  <a:lnTo>
                    <a:pt x="107" y="595"/>
                  </a:lnTo>
                  <a:lnTo>
                    <a:pt x="107" y="576"/>
                  </a:lnTo>
                  <a:lnTo>
                    <a:pt x="107" y="566"/>
                  </a:lnTo>
                  <a:lnTo>
                    <a:pt x="127" y="556"/>
                  </a:lnTo>
                  <a:lnTo>
                    <a:pt x="137" y="556"/>
                  </a:lnTo>
                  <a:lnTo>
                    <a:pt x="156" y="556"/>
                  </a:lnTo>
                  <a:lnTo>
                    <a:pt x="156" y="547"/>
                  </a:lnTo>
                  <a:lnTo>
                    <a:pt x="146" y="547"/>
                  </a:lnTo>
                  <a:lnTo>
                    <a:pt x="137" y="547"/>
                  </a:lnTo>
                  <a:lnTo>
                    <a:pt x="127" y="547"/>
                  </a:lnTo>
                  <a:lnTo>
                    <a:pt x="117" y="537"/>
                  </a:lnTo>
                  <a:lnTo>
                    <a:pt x="107" y="527"/>
                  </a:lnTo>
                  <a:lnTo>
                    <a:pt x="107" y="517"/>
                  </a:lnTo>
                  <a:lnTo>
                    <a:pt x="98" y="508"/>
                  </a:lnTo>
                  <a:lnTo>
                    <a:pt x="88" y="517"/>
                  </a:lnTo>
                  <a:lnTo>
                    <a:pt x="88" y="527"/>
                  </a:lnTo>
                  <a:lnTo>
                    <a:pt x="78" y="517"/>
                  </a:lnTo>
                  <a:lnTo>
                    <a:pt x="68" y="517"/>
                  </a:lnTo>
                  <a:lnTo>
                    <a:pt x="78" y="508"/>
                  </a:lnTo>
                  <a:lnTo>
                    <a:pt x="78" y="498"/>
                  </a:lnTo>
                  <a:lnTo>
                    <a:pt x="78" y="488"/>
                  </a:lnTo>
                  <a:lnTo>
                    <a:pt x="78" y="478"/>
                  </a:lnTo>
                  <a:lnTo>
                    <a:pt x="68" y="478"/>
                  </a:lnTo>
                  <a:lnTo>
                    <a:pt x="68" y="488"/>
                  </a:lnTo>
                  <a:lnTo>
                    <a:pt x="59" y="488"/>
                  </a:lnTo>
                  <a:lnTo>
                    <a:pt x="49" y="478"/>
                  </a:lnTo>
                  <a:lnTo>
                    <a:pt x="39" y="478"/>
                  </a:lnTo>
                  <a:lnTo>
                    <a:pt x="29" y="488"/>
                  </a:lnTo>
                  <a:lnTo>
                    <a:pt x="19" y="478"/>
                  </a:lnTo>
                  <a:lnTo>
                    <a:pt x="19" y="469"/>
                  </a:lnTo>
                  <a:lnTo>
                    <a:pt x="10" y="469"/>
                  </a:lnTo>
                  <a:lnTo>
                    <a:pt x="0" y="469"/>
                  </a:lnTo>
                  <a:lnTo>
                    <a:pt x="0" y="459"/>
                  </a:lnTo>
                  <a:lnTo>
                    <a:pt x="10" y="439"/>
                  </a:lnTo>
                  <a:lnTo>
                    <a:pt x="19" y="430"/>
                  </a:lnTo>
                  <a:lnTo>
                    <a:pt x="19" y="420"/>
                  </a:lnTo>
                  <a:lnTo>
                    <a:pt x="39" y="410"/>
                  </a:lnTo>
                  <a:lnTo>
                    <a:pt x="29" y="400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39" y="351"/>
                  </a:lnTo>
                  <a:lnTo>
                    <a:pt x="39" y="332"/>
                  </a:lnTo>
                  <a:lnTo>
                    <a:pt x="19" y="332"/>
                  </a:lnTo>
                  <a:lnTo>
                    <a:pt x="29" y="312"/>
                  </a:lnTo>
                  <a:lnTo>
                    <a:pt x="39" y="312"/>
                  </a:lnTo>
                  <a:lnTo>
                    <a:pt x="49" y="303"/>
                  </a:lnTo>
                  <a:lnTo>
                    <a:pt x="49" y="293"/>
                  </a:lnTo>
                  <a:lnTo>
                    <a:pt x="49" y="273"/>
                  </a:lnTo>
                  <a:lnTo>
                    <a:pt x="68" y="273"/>
                  </a:lnTo>
                  <a:lnTo>
                    <a:pt x="78" y="273"/>
                  </a:lnTo>
                  <a:lnTo>
                    <a:pt x="78" y="264"/>
                  </a:lnTo>
                  <a:lnTo>
                    <a:pt x="78" y="254"/>
                  </a:lnTo>
                  <a:lnTo>
                    <a:pt x="88" y="254"/>
                  </a:lnTo>
                  <a:lnTo>
                    <a:pt x="98" y="254"/>
                  </a:lnTo>
                  <a:lnTo>
                    <a:pt x="98" y="244"/>
                  </a:lnTo>
                  <a:lnTo>
                    <a:pt x="98" y="234"/>
                  </a:lnTo>
                  <a:lnTo>
                    <a:pt x="117" y="225"/>
                  </a:lnTo>
                  <a:lnTo>
                    <a:pt x="117" y="215"/>
                  </a:lnTo>
                  <a:lnTo>
                    <a:pt x="127" y="205"/>
                  </a:lnTo>
                  <a:lnTo>
                    <a:pt x="137" y="225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6" name="Freeform 124"/>
            <p:cNvSpPr>
              <a:spLocks/>
            </p:cNvSpPr>
            <p:nvPr/>
          </p:nvSpPr>
          <p:spPr bwMode="auto">
            <a:xfrm>
              <a:off x="3833" y="2771"/>
              <a:ext cx="850" cy="674"/>
            </a:xfrm>
            <a:custGeom>
              <a:avLst/>
              <a:gdLst>
                <a:gd name="T0" fmla="*/ 565 w 849"/>
                <a:gd name="T1" fmla="*/ 666 h 673"/>
                <a:gd name="T2" fmla="*/ 604 w 849"/>
                <a:gd name="T3" fmla="*/ 646 h 673"/>
                <a:gd name="T4" fmla="*/ 653 w 849"/>
                <a:gd name="T5" fmla="*/ 656 h 673"/>
                <a:gd name="T6" fmla="*/ 701 w 849"/>
                <a:gd name="T7" fmla="*/ 656 h 673"/>
                <a:gd name="T8" fmla="*/ 750 w 849"/>
                <a:gd name="T9" fmla="*/ 637 h 673"/>
                <a:gd name="T10" fmla="*/ 770 w 849"/>
                <a:gd name="T11" fmla="*/ 627 h 673"/>
                <a:gd name="T12" fmla="*/ 770 w 849"/>
                <a:gd name="T13" fmla="*/ 598 h 673"/>
                <a:gd name="T14" fmla="*/ 789 w 849"/>
                <a:gd name="T15" fmla="*/ 588 h 673"/>
                <a:gd name="T16" fmla="*/ 809 w 849"/>
                <a:gd name="T17" fmla="*/ 568 h 673"/>
                <a:gd name="T18" fmla="*/ 828 w 849"/>
                <a:gd name="T19" fmla="*/ 513 h 673"/>
                <a:gd name="T20" fmla="*/ 780 w 849"/>
                <a:gd name="T21" fmla="*/ 469 h 673"/>
                <a:gd name="T22" fmla="*/ 760 w 849"/>
                <a:gd name="T23" fmla="*/ 421 h 673"/>
                <a:gd name="T24" fmla="*/ 819 w 849"/>
                <a:gd name="T25" fmla="*/ 391 h 673"/>
                <a:gd name="T26" fmla="*/ 809 w 849"/>
                <a:gd name="T27" fmla="*/ 352 h 673"/>
                <a:gd name="T28" fmla="*/ 780 w 849"/>
                <a:gd name="T29" fmla="*/ 352 h 673"/>
                <a:gd name="T30" fmla="*/ 740 w 849"/>
                <a:gd name="T31" fmla="*/ 284 h 673"/>
                <a:gd name="T32" fmla="*/ 721 w 849"/>
                <a:gd name="T33" fmla="*/ 255 h 673"/>
                <a:gd name="T34" fmla="*/ 643 w 849"/>
                <a:gd name="T35" fmla="*/ 255 h 673"/>
                <a:gd name="T36" fmla="*/ 604 w 849"/>
                <a:gd name="T37" fmla="*/ 216 h 673"/>
                <a:gd name="T38" fmla="*/ 623 w 849"/>
                <a:gd name="T39" fmla="*/ 166 h 673"/>
                <a:gd name="T40" fmla="*/ 623 w 849"/>
                <a:gd name="T41" fmla="*/ 127 h 673"/>
                <a:gd name="T42" fmla="*/ 584 w 849"/>
                <a:gd name="T43" fmla="*/ 107 h 673"/>
                <a:gd name="T44" fmla="*/ 536 w 849"/>
                <a:gd name="T45" fmla="*/ 97 h 673"/>
                <a:gd name="T46" fmla="*/ 506 w 849"/>
                <a:gd name="T47" fmla="*/ 117 h 673"/>
                <a:gd name="T48" fmla="*/ 458 w 849"/>
                <a:gd name="T49" fmla="*/ 107 h 673"/>
                <a:gd name="T50" fmla="*/ 424 w 849"/>
                <a:gd name="T51" fmla="*/ 88 h 673"/>
                <a:gd name="T52" fmla="*/ 410 w 849"/>
                <a:gd name="T53" fmla="*/ 68 h 673"/>
                <a:gd name="T54" fmla="*/ 371 w 849"/>
                <a:gd name="T55" fmla="*/ 68 h 673"/>
                <a:gd name="T56" fmla="*/ 293 w 849"/>
                <a:gd name="T57" fmla="*/ 29 h 673"/>
                <a:gd name="T58" fmla="*/ 264 w 849"/>
                <a:gd name="T59" fmla="*/ 10 h 673"/>
                <a:gd name="T60" fmla="*/ 235 w 849"/>
                <a:gd name="T61" fmla="*/ 0 h 673"/>
                <a:gd name="T62" fmla="*/ 205 w 849"/>
                <a:gd name="T63" fmla="*/ 29 h 673"/>
                <a:gd name="T64" fmla="*/ 176 w 849"/>
                <a:gd name="T65" fmla="*/ 68 h 673"/>
                <a:gd name="T66" fmla="*/ 156 w 849"/>
                <a:gd name="T67" fmla="*/ 117 h 673"/>
                <a:gd name="T68" fmla="*/ 108 w 849"/>
                <a:gd name="T69" fmla="*/ 137 h 673"/>
                <a:gd name="T70" fmla="*/ 78 w 849"/>
                <a:gd name="T71" fmla="*/ 187 h 673"/>
                <a:gd name="T72" fmla="*/ 30 w 849"/>
                <a:gd name="T73" fmla="*/ 226 h 673"/>
                <a:gd name="T74" fmla="*/ 10 w 849"/>
                <a:gd name="T75" fmla="*/ 245 h 673"/>
                <a:gd name="T76" fmla="*/ 0 w 849"/>
                <a:gd name="T77" fmla="*/ 265 h 673"/>
                <a:gd name="T78" fmla="*/ 30 w 849"/>
                <a:gd name="T79" fmla="*/ 304 h 673"/>
                <a:gd name="T80" fmla="*/ 10 w 849"/>
                <a:gd name="T81" fmla="*/ 343 h 673"/>
                <a:gd name="T82" fmla="*/ 30 w 849"/>
                <a:gd name="T83" fmla="*/ 382 h 673"/>
                <a:gd name="T84" fmla="*/ 88 w 849"/>
                <a:gd name="T85" fmla="*/ 411 h 673"/>
                <a:gd name="T86" fmla="*/ 156 w 849"/>
                <a:gd name="T87" fmla="*/ 440 h 673"/>
                <a:gd name="T88" fmla="*/ 215 w 849"/>
                <a:gd name="T89" fmla="*/ 489 h 673"/>
                <a:gd name="T90" fmla="*/ 254 w 849"/>
                <a:gd name="T91" fmla="*/ 549 h 673"/>
                <a:gd name="T92" fmla="*/ 313 w 849"/>
                <a:gd name="T93" fmla="*/ 549 h 673"/>
                <a:gd name="T94" fmla="*/ 332 w 849"/>
                <a:gd name="T95" fmla="*/ 598 h 673"/>
                <a:gd name="T96" fmla="*/ 381 w 849"/>
                <a:gd name="T97" fmla="*/ 607 h 673"/>
                <a:gd name="T98" fmla="*/ 410 w 849"/>
                <a:gd name="T99" fmla="*/ 598 h 673"/>
                <a:gd name="T100" fmla="*/ 420 w 849"/>
                <a:gd name="T101" fmla="*/ 627 h 673"/>
                <a:gd name="T102" fmla="*/ 420 w 849"/>
                <a:gd name="T103" fmla="*/ 676 h 673"/>
                <a:gd name="T104" fmla="*/ 424 w 849"/>
                <a:gd name="T105" fmla="*/ 695 h 673"/>
                <a:gd name="T106" fmla="*/ 448 w 849"/>
                <a:gd name="T107" fmla="*/ 676 h 673"/>
                <a:gd name="T108" fmla="*/ 497 w 849"/>
                <a:gd name="T109" fmla="*/ 676 h 67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49"/>
                <a:gd name="T166" fmla="*/ 0 h 673"/>
                <a:gd name="T167" fmla="*/ 849 w 849"/>
                <a:gd name="T168" fmla="*/ 673 h 67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49" h="673">
                  <a:moveTo>
                    <a:pt x="537" y="644"/>
                  </a:moveTo>
                  <a:lnTo>
                    <a:pt x="566" y="654"/>
                  </a:lnTo>
                  <a:lnTo>
                    <a:pt x="576" y="644"/>
                  </a:lnTo>
                  <a:lnTo>
                    <a:pt x="576" y="634"/>
                  </a:lnTo>
                  <a:lnTo>
                    <a:pt x="595" y="624"/>
                  </a:lnTo>
                  <a:lnTo>
                    <a:pt x="615" y="624"/>
                  </a:lnTo>
                  <a:lnTo>
                    <a:pt x="634" y="624"/>
                  </a:lnTo>
                  <a:lnTo>
                    <a:pt x="664" y="634"/>
                  </a:lnTo>
                  <a:lnTo>
                    <a:pt x="683" y="634"/>
                  </a:lnTo>
                  <a:lnTo>
                    <a:pt x="703" y="624"/>
                  </a:lnTo>
                  <a:lnTo>
                    <a:pt x="712" y="634"/>
                  </a:lnTo>
                  <a:lnTo>
                    <a:pt x="732" y="624"/>
                  </a:lnTo>
                  <a:lnTo>
                    <a:pt x="751" y="624"/>
                  </a:lnTo>
                  <a:lnTo>
                    <a:pt x="761" y="615"/>
                  </a:lnTo>
                  <a:lnTo>
                    <a:pt x="771" y="624"/>
                  </a:lnTo>
                  <a:lnTo>
                    <a:pt x="781" y="634"/>
                  </a:lnTo>
                  <a:lnTo>
                    <a:pt x="781" y="605"/>
                  </a:lnTo>
                  <a:lnTo>
                    <a:pt x="791" y="585"/>
                  </a:lnTo>
                  <a:lnTo>
                    <a:pt x="781" y="576"/>
                  </a:lnTo>
                  <a:lnTo>
                    <a:pt x="791" y="566"/>
                  </a:lnTo>
                  <a:lnTo>
                    <a:pt x="800" y="576"/>
                  </a:lnTo>
                  <a:lnTo>
                    <a:pt x="800" y="566"/>
                  </a:lnTo>
                  <a:lnTo>
                    <a:pt x="810" y="546"/>
                  </a:lnTo>
                  <a:lnTo>
                    <a:pt x="820" y="546"/>
                  </a:lnTo>
                  <a:lnTo>
                    <a:pt x="830" y="537"/>
                  </a:lnTo>
                  <a:lnTo>
                    <a:pt x="849" y="517"/>
                  </a:lnTo>
                  <a:lnTo>
                    <a:pt x="839" y="498"/>
                  </a:lnTo>
                  <a:lnTo>
                    <a:pt x="820" y="478"/>
                  </a:lnTo>
                  <a:lnTo>
                    <a:pt x="810" y="468"/>
                  </a:lnTo>
                  <a:lnTo>
                    <a:pt x="791" y="458"/>
                  </a:lnTo>
                  <a:lnTo>
                    <a:pt x="781" y="458"/>
                  </a:lnTo>
                  <a:lnTo>
                    <a:pt x="771" y="449"/>
                  </a:lnTo>
                  <a:lnTo>
                    <a:pt x="771" y="410"/>
                  </a:lnTo>
                  <a:lnTo>
                    <a:pt x="791" y="400"/>
                  </a:lnTo>
                  <a:lnTo>
                    <a:pt x="810" y="390"/>
                  </a:lnTo>
                  <a:lnTo>
                    <a:pt x="830" y="380"/>
                  </a:lnTo>
                  <a:lnTo>
                    <a:pt x="830" y="371"/>
                  </a:lnTo>
                  <a:lnTo>
                    <a:pt x="820" y="351"/>
                  </a:lnTo>
                  <a:lnTo>
                    <a:pt x="820" y="341"/>
                  </a:lnTo>
                  <a:lnTo>
                    <a:pt x="810" y="332"/>
                  </a:lnTo>
                  <a:lnTo>
                    <a:pt x="800" y="341"/>
                  </a:lnTo>
                  <a:lnTo>
                    <a:pt x="791" y="341"/>
                  </a:lnTo>
                  <a:lnTo>
                    <a:pt x="781" y="293"/>
                  </a:lnTo>
                  <a:lnTo>
                    <a:pt x="761" y="273"/>
                  </a:lnTo>
                  <a:lnTo>
                    <a:pt x="751" y="273"/>
                  </a:lnTo>
                  <a:lnTo>
                    <a:pt x="751" y="263"/>
                  </a:lnTo>
                  <a:lnTo>
                    <a:pt x="751" y="254"/>
                  </a:lnTo>
                  <a:lnTo>
                    <a:pt x="732" y="244"/>
                  </a:lnTo>
                  <a:lnTo>
                    <a:pt x="703" y="244"/>
                  </a:lnTo>
                  <a:lnTo>
                    <a:pt x="673" y="234"/>
                  </a:lnTo>
                  <a:lnTo>
                    <a:pt x="654" y="244"/>
                  </a:lnTo>
                  <a:lnTo>
                    <a:pt x="644" y="244"/>
                  </a:lnTo>
                  <a:lnTo>
                    <a:pt x="615" y="224"/>
                  </a:lnTo>
                  <a:lnTo>
                    <a:pt x="615" y="205"/>
                  </a:lnTo>
                  <a:lnTo>
                    <a:pt x="634" y="195"/>
                  </a:lnTo>
                  <a:lnTo>
                    <a:pt x="634" y="185"/>
                  </a:lnTo>
                  <a:lnTo>
                    <a:pt x="634" y="166"/>
                  </a:lnTo>
                  <a:lnTo>
                    <a:pt x="634" y="146"/>
                  </a:lnTo>
                  <a:lnTo>
                    <a:pt x="625" y="137"/>
                  </a:lnTo>
                  <a:lnTo>
                    <a:pt x="634" y="127"/>
                  </a:lnTo>
                  <a:lnTo>
                    <a:pt x="615" y="117"/>
                  </a:lnTo>
                  <a:lnTo>
                    <a:pt x="595" y="107"/>
                  </a:lnTo>
                  <a:lnTo>
                    <a:pt x="586" y="97"/>
                  </a:lnTo>
                  <a:lnTo>
                    <a:pt x="566" y="88"/>
                  </a:lnTo>
                  <a:lnTo>
                    <a:pt x="547" y="97"/>
                  </a:lnTo>
                  <a:lnTo>
                    <a:pt x="527" y="97"/>
                  </a:lnTo>
                  <a:lnTo>
                    <a:pt x="517" y="107"/>
                  </a:lnTo>
                  <a:lnTo>
                    <a:pt x="517" y="117"/>
                  </a:lnTo>
                  <a:lnTo>
                    <a:pt x="498" y="117"/>
                  </a:lnTo>
                  <a:lnTo>
                    <a:pt x="478" y="117"/>
                  </a:lnTo>
                  <a:lnTo>
                    <a:pt x="469" y="107"/>
                  </a:lnTo>
                  <a:lnTo>
                    <a:pt x="459" y="97"/>
                  </a:lnTo>
                  <a:lnTo>
                    <a:pt x="439" y="97"/>
                  </a:lnTo>
                  <a:lnTo>
                    <a:pt x="430" y="88"/>
                  </a:lnTo>
                  <a:lnTo>
                    <a:pt x="430" y="68"/>
                  </a:lnTo>
                  <a:lnTo>
                    <a:pt x="420" y="68"/>
                  </a:lnTo>
                  <a:lnTo>
                    <a:pt x="410" y="68"/>
                  </a:lnTo>
                  <a:lnTo>
                    <a:pt x="391" y="78"/>
                  </a:lnTo>
                  <a:lnTo>
                    <a:pt x="381" y="68"/>
                  </a:lnTo>
                  <a:lnTo>
                    <a:pt x="371" y="68"/>
                  </a:lnTo>
                  <a:lnTo>
                    <a:pt x="332" y="58"/>
                  </a:lnTo>
                  <a:lnTo>
                    <a:pt x="322" y="29"/>
                  </a:lnTo>
                  <a:lnTo>
                    <a:pt x="293" y="29"/>
                  </a:lnTo>
                  <a:lnTo>
                    <a:pt x="274" y="19"/>
                  </a:lnTo>
                  <a:lnTo>
                    <a:pt x="274" y="29"/>
                  </a:lnTo>
                  <a:lnTo>
                    <a:pt x="264" y="10"/>
                  </a:lnTo>
                  <a:lnTo>
                    <a:pt x="254" y="10"/>
                  </a:lnTo>
                  <a:lnTo>
                    <a:pt x="235" y="10"/>
                  </a:lnTo>
                  <a:lnTo>
                    <a:pt x="235" y="0"/>
                  </a:lnTo>
                  <a:lnTo>
                    <a:pt x="215" y="10"/>
                  </a:lnTo>
                  <a:lnTo>
                    <a:pt x="215" y="29"/>
                  </a:lnTo>
                  <a:lnTo>
                    <a:pt x="205" y="29"/>
                  </a:lnTo>
                  <a:lnTo>
                    <a:pt x="195" y="29"/>
                  </a:lnTo>
                  <a:lnTo>
                    <a:pt x="195" y="58"/>
                  </a:lnTo>
                  <a:lnTo>
                    <a:pt x="176" y="68"/>
                  </a:lnTo>
                  <a:lnTo>
                    <a:pt x="176" y="107"/>
                  </a:lnTo>
                  <a:lnTo>
                    <a:pt x="166" y="117"/>
                  </a:lnTo>
                  <a:lnTo>
                    <a:pt x="156" y="117"/>
                  </a:lnTo>
                  <a:lnTo>
                    <a:pt x="137" y="117"/>
                  </a:lnTo>
                  <a:lnTo>
                    <a:pt x="117" y="127"/>
                  </a:lnTo>
                  <a:lnTo>
                    <a:pt x="108" y="137"/>
                  </a:lnTo>
                  <a:lnTo>
                    <a:pt x="88" y="146"/>
                  </a:lnTo>
                  <a:lnTo>
                    <a:pt x="78" y="156"/>
                  </a:lnTo>
                  <a:lnTo>
                    <a:pt x="78" y="176"/>
                  </a:lnTo>
                  <a:lnTo>
                    <a:pt x="59" y="185"/>
                  </a:lnTo>
                  <a:lnTo>
                    <a:pt x="30" y="195"/>
                  </a:lnTo>
                  <a:lnTo>
                    <a:pt x="30" y="215"/>
                  </a:lnTo>
                  <a:lnTo>
                    <a:pt x="20" y="215"/>
                  </a:lnTo>
                  <a:lnTo>
                    <a:pt x="10" y="224"/>
                  </a:lnTo>
                  <a:lnTo>
                    <a:pt x="10" y="234"/>
                  </a:lnTo>
                  <a:lnTo>
                    <a:pt x="10" y="244"/>
                  </a:lnTo>
                  <a:lnTo>
                    <a:pt x="10" y="254"/>
                  </a:lnTo>
                  <a:lnTo>
                    <a:pt x="0" y="254"/>
                  </a:lnTo>
                  <a:lnTo>
                    <a:pt x="10" y="263"/>
                  </a:lnTo>
                  <a:lnTo>
                    <a:pt x="20" y="273"/>
                  </a:lnTo>
                  <a:lnTo>
                    <a:pt x="30" y="293"/>
                  </a:lnTo>
                  <a:lnTo>
                    <a:pt x="10" y="302"/>
                  </a:lnTo>
                  <a:lnTo>
                    <a:pt x="10" y="322"/>
                  </a:lnTo>
                  <a:lnTo>
                    <a:pt x="10" y="33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30" y="371"/>
                  </a:lnTo>
                  <a:lnTo>
                    <a:pt x="59" y="380"/>
                  </a:lnTo>
                  <a:lnTo>
                    <a:pt x="69" y="390"/>
                  </a:lnTo>
                  <a:lnTo>
                    <a:pt x="88" y="400"/>
                  </a:lnTo>
                  <a:lnTo>
                    <a:pt x="117" y="410"/>
                  </a:lnTo>
                  <a:lnTo>
                    <a:pt x="147" y="419"/>
                  </a:lnTo>
                  <a:lnTo>
                    <a:pt x="156" y="429"/>
                  </a:lnTo>
                  <a:lnTo>
                    <a:pt x="166" y="439"/>
                  </a:lnTo>
                  <a:lnTo>
                    <a:pt x="186" y="449"/>
                  </a:lnTo>
                  <a:lnTo>
                    <a:pt x="215" y="478"/>
                  </a:lnTo>
                  <a:lnTo>
                    <a:pt x="235" y="507"/>
                  </a:lnTo>
                  <a:lnTo>
                    <a:pt x="244" y="527"/>
                  </a:lnTo>
                  <a:lnTo>
                    <a:pt x="254" y="527"/>
                  </a:lnTo>
                  <a:lnTo>
                    <a:pt x="274" y="527"/>
                  </a:lnTo>
                  <a:lnTo>
                    <a:pt x="293" y="527"/>
                  </a:lnTo>
                  <a:lnTo>
                    <a:pt x="313" y="527"/>
                  </a:lnTo>
                  <a:lnTo>
                    <a:pt x="313" y="546"/>
                  </a:lnTo>
                  <a:lnTo>
                    <a:pt x="322" y="576"/>
                  </a:lnTo>
                  <a:lnTo>
                    <a:pt x="332" y="576"/>
                  </a:lnTo>
                  <a:lnTo>
                    <a:pt x="342" y="585"/>
                  </a:lnTo>
                  <a:lnTo>
                    <a:pt x="371" y="585"/>
                  </a:lnTo>
                  <a:lnTo>
                    <a:pt x="381" y="585"/>
                  </a:lnTo>
                  <a:lnTo>
                    <a:pt x="400" y="595"/>
                  </a:lnTo>
                  <a:lnTo>
                    <a:pt x="400" y="585"/>
                  </a:lnTo>
                  <a:lnTo>
                    <a:pt x="410" y="576"/>
                  </a:lnTo>
                  <a:lnTo>
                    <a:pt x="420" y="585"/>
                  </a:lnTo>
                  <a:lnTo>
                    <a:pt x="430" y="585"/>
                  </a:lnTo>
                  <a:lnTo>
                    <a:pt x="420" y="605"/>
                  </a:lnTo>
                  <a:lnTo>
                    <a:pt x="420" y="624"/>
                  </a:lnTo>
                  <a:lnTo>
                    <a:pt x="420" y="654"/>
                  </a:lnTo>
                  <a:lnTo>
                    <a:pt x="420" y="663"/>
                  </a:lnTo>
                  <a:lnTo>
                    <a:pt x="430" y="67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59" y="654"/>
                  </a:lnTo>
                  <a:lnTo>
                    <a:pt x="478" y="654"/>
                  </a:lnTo>
                  <a:lnTo>
                    <a:pt x="488" y="654"/>
                  </a:lnTo>
                  <a:lnTo>
                    <a:pt x="508" y="654"/>
                  </a:lnTo>
                  <a:lnTo>
                    <a:pt x="517" y="654"/>
                  </a:lnTo>
                  <a:lnTo>
                    <a:pt x="537" y="644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7" name="Freeform 123"/>
            <p:cNvSpPr>
              <a:spLocks/>
            </p:cNvSpPr>
            <p:nvPr/>
          </p:nvSpPr>
          <p:spPr bwMode="auto">
            <a:xfrm>
              <a:off x="1649" y="1266"/>
              <a:ext cx="352" cy="334"/>
            </a:xfrm>
            <a:custGeom>
              <a:avLst/>
              <a:gdLst/>
              <a:ahLst/>
              <a:cxnLst>
                <a:cxn ang="0">
                  <a:pos x="342" y="225"/>
                </a:cxn>
                <a:cxn ang="0">
                  <a:pos x="332" y="244"/>
                </a:cxn>
                <a:cxn ang="0">
                  <a:pos x="342" y="264"/>
                </a:cxn>
                <a:cxn ang="0">
                  <a:pos x="352" y="303"/>
                </a:cxn>
                <a:cxn ang="0">
                  <a:pos x="313" y="322"/>
                </a:cxn>
                <a:cxn ang="0">
                  <a:pos x="274" y="283"/>
                </a:cxn>
                <a:cxn ang="0">
                  <a:pos x="244" y="274"/>
                </a:cxn>
                <a:cxn ang="0">
                  <a:pos x="225" y="225"/>
                </a:cxn>
                <a:cxn ang="0">
                  <a:pos x="205" y="225"/>
                </a:cxn>
                <a:cxn ang="0">
                  <a:pos x="186" y="235"/>
                </a:cxn>
                <a:cxn ang="0">
                  <a:pos x="147" y="235"/>
                </a:cxn>
                <a:cxn ang="0">
                  <a:pos x="127" y="225"/>
                </a:cxn>
                <a:cxn ang="0">
                  <a:pos x="88" y="215"/>
                </a:cxn>
                <a:cxn ang="0">
                  <a:pos x="88" y="205"/>
                </a:cxn>
                <a:cxn ang="0">
                  <a:pos x="49" y="186"/>
                </a:cxn>
                <a:cxn ang="0">
                  <a:pos x="30" y="186"/>
                </a:cxn>
                <a:cxn ang="0">
                  <a:pos x="20" y="166"/>
                </a:cxn>
                <a:cxn ang="0">
                  <a:pos x="0" y="147"/>
                </a:cxn>
                <a:cxn ang="0">
                  <a:pos x="20" y="127"/>
                </a:cxn>
                <a:cxn ang="0">
                  <a:pos x="30" y="108"/>
                </a:cxn>
                <a:cxn ang="0">
                  <a:pos x="59" y="98"/>
                </a:cxn>
                <a:cxn ang="0">
                  <a:pos x="88" y="59"/>
                </a:cxn>
                <a:cxn ang="0">
                  <a:pos x="78" y="10"/>
                </a:cxn>
                <a:cxn ang="0">
                  <a:pos x="98" y="10"/>
                </a:cxn>
                <a:cxn ang="0">
                  <a:pos x="118" y="0"/>
                </a:cxn>
                <a:cxn ang="0">
                  <a:pos x="147" y="10"/>
                </a:cxn>
                <a:cxn ang="0">
                  <a:pos x="166" y="10"/>
                </a:cxn>
                <a:cxn ang="0">
                  <a:pos x="176" y="30"/>
                </a:cxn>
                <a:cxn ang="0">
                  <a:pos x="205" y="20"/>
                </a:cxn>
                <a:cxn ang="0">
                  <a:pos x="225" y="49"/>
                </a:cxn>
                <a:cxn ang="0">
                  <a:pos x="274" y="49"/>
                </a:cxn>
                <a:cxn ang="0">
                  <a:pos x="293" y="69"/>
                </a:cxn>
                <a:cxn ang="0">
                  <a:pos x="274" y="98"/>
                </a:cxn>
                <a:cxn ang="0">
                  <a:pos x="303" y="108"/>
                </a:cxn>
                <a:cxn ang="0">
                  <a:pos x="332" y="127"/>
                </a:cxn>
                <a:cxn ang="0">
                  <a:pos x="322" y="156"/>
                </a:cxn>
                <a:cxn ang="0">
                  <a:pos x="342" y="156"/>
                </a:cxn>
                <a:cxn ang="0">
                  <a:pos x="332" y="186"/>
                </a:cxn>
                <a:cxn ang="0">
                  <a:pos x="342" y="215"/>
                </a:cxn>
              </a:cxnLst>
              <a:rect l="0" t="0" r="r" b="b"/>
              <a:pathLst>
                <a:path w="352" h="332">
                  <a:moveTo>
                    <a:pt x="342" y="215"/>
                  </a:moveTo>
                  <a:lnTo>
                    <a:pt x="342" y="225"/>
                  </a:lnTo>
                  <a:lnTo>
                    <a:pt x="342" y="244"/>
                  </a:lnTo>
                  <a:lnTo>
                    <a:pt x="332" y="244"/>
                  </a:lnTo>
                  <a:lnTo>
                    <a:pt x="332" y="254"/>
                  </a:lnTo>
                  <a:lnTo>
                    <a:pt x="342" y="264"/>
                  </a:lnTo>
                  <a:lnTo>
                    <a:pt x="352" y="274"/>
                  </a:lnTo>
                  <a:lnTo>
                    <a:pt x="352" y="303"/>
                  </a:lnTo>
                  <a:lnTo>
                    <a:pt x="342" y="332"/>
                  </a:lnTo>
                  <a:lnTo>
                    <a:pt x="313" y="322"/>
                  </a:lnTo>
                  <a:lnTo>
                    <a:pt x="283" y="283"/>
                  </a:lnTo>
                  <a:lnTo>
                    <a:pt x="274" y="283"/>
                  </a:lnTo>
                  <a:lnTo>
                    <a:pt x="254" y="274"/>
                  </a:lnTo>
                  <a:lnTo>
                    <a:pt x="244" y="274"/>
                  </a:lnTo>
                  <a:lnTo>
                    <a:pt x="235" y="264"/>
                  </a:lnTo>
                  <a:lnTo>
                    <a:pt x="225" y="225"/>
                  </a:lnTo>
                  <a:lnTo>
                    <a:pt x="225" y="215"/>
                  </a:lnTo>
                  <a:lnTo>
                    <a:pt x="205" y="225"/>
                  </a:lnTo>
                  <a:lnTo>
                    <a:pt x="196" y="235"/>
                  </a:lnTo>
                  <a:lnTo>
                    <a:pt x="186" y="235"/>
                  </a:lnTo>
                  <a:lnTo>
                    <a:pt x="176" y="244"/>
                  </a:lnTo>
                  <a:lnTo>
                    <a:pt x="147" y="235"/>
                  </a:lnTo>
                  <a:lnTo>
                    <a:pt x="127" y="244"/>
                  </a:lnTo>
                  <a:lnTo>
                    <a:pt x="127" y="225"/>
                  </a:lnTo>
                  <a:lnTo>
                    <a:pt x="118" y="215"/>
                  </a:lnTo>
                  <a:lnTo>
                    <a:pt x="88" y="215"/>
                  </a:lnTo>
                  <a:lnTo>
                    <a:pt x="88" y="205"/>
                  </a:lnTo>
                  <a:lnTo>
                    <a:pt x="69" y="205"/>
                  </a:lnTo>
                  <a:lnTo>
                    <a:pt x="49" y="186"/>
                  </a:lnTo>
                  <a:lnTo>
                    <a:pt x="39" y="186"/>
                  </a:lnTo>
                  <a:lnTo>
                    <a:pt x="30" y="186"/>
                  </a:lnTo>
                  <a:lnTo>
                    <a:pt x="30" y="176"/>
                  </a:lnTo>
                  <a:lnTo>
                    <a:pt x="20" y="166"/>
                  </a:lnTo>
                  <a:lnTo>
                    <a:pt x="10" y="166"/>
                  </a:lnTo>
                  <a:lnTo>
                    <a:pt x="0" y="147"/>
                  </a:lnTo>
                  <a:lnTo>
                    <a:pt x="0" y="137"/>
                  </a:lnTo>
                  <a:lnTo>
                    <a:pt x="20" y="127"/>
                  </a:lnTo>
                  <a:lnTo>
                    <a:pt x="39" y="127"/>
                  </a:lnTo>
                  <a:lnTo>
                    <a:pt x="30" y="108"/>
                  </a:lnTo>
                  <a:lnTo>
                    <a:pt x="30" y="98"/>
                  </a:lnTo>
                  <a:lnTo>
                    <a:pt x="59" y="98"/>
                  </a:lnTo>
                  <a:lnTo>
                    <a:pt x="59" y="78"/>
                  </a:lnTo>
                  <a:lnTo>
                    <a:pt x="88" y="59"/>
                  </a:lnTo>
                  <a:lnTo>
                    <a:pt x="78" y="49"/>
                  </a:lnTo>
                  <a:lnTo>
                    <a:pt x="78" y="10"/>
                  </a:lnTo>
                  <a:lnTo>
                    <a:pt x="98" y="0"/>
                  </a:lnTo>
                  <a:lnTo>
                    <a:pt x="98" y="10"/>
                  </a:lnTo>
                  <a:lnTo>
                    <a:pt x="118" y="10"/>
                  </a:lnTo>
                  <a:lnTo>
                    <a:pt x="118" y="0"/>
                  </a:lnTo>
                  <a:lnTo>
                    <a:pt x="127" y="10"/>
                  </a:lnTo>
                  <a:lnTo>
                    <a:pt x="147" y="10"/>
                  </a:lnTo>
                  <a:lnTo>
                    <a:pt x="157" y="0"/>
                  </a:lnTo>
                  <a:lnTo>
                    <a:pt x="166" y="10"/>
                  </a:lnTo>
                  <a:lnTo>
                    <a:pt x="166" y="20"/>
                  </a:lnTo>
                  <a:lnTo>
                    <a:pt x="176" y="30"/>
                  </a:lnTo>
                  <a:lnTo>
                    <a:pt x="186" y="30"/>
                  </a:lnTo>
                  <a:lnTo>
                    <a:pt x="205" y="20"/>
                  </a:lnTo>
                  <a:lnTo>
                    <a:pt x="215" y="30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74" y="49"/>
                  </a:lnTo>
                  <a:lnTo>
                    <a:pt x="283" y="49"/>
                  </a:lnTo>
                  <a:lnTo>
                    <a:pt x="293" y="69"/>
                  </a:lnTo>
                  <a:lnTo>
                    <a:pt x="283" y="78"/>
                  </a:lnTo>
                  <a:lnTo>
                    <a:pt x="274" y="98"/>
                  </a:lnTo>
                  <a:lnTo>
                    <a:pt x="283" y="108"/>
                  </a:lnTo>
                  <a:lnTo>
                    <a:pt x="303" y="108"/>
                  </a:lnTo>
                  <a:lnTo>
                    <a:pt x="322" y="108"/>
                  </a:lnTo>
                  <a:lnTo>
                    <a:pt x="332" y="127"/>
                  </a:lnTo>
                  <a:lnTo>
                    <a:pt x="332" y="137"/>
                  </a:lnTo>
                  <a:lnTo>
                    <a:pt x="322" y="156"/>
                  </a:lnTo>
                  <a:lnTo>
                    <a:pt x="342" y="156"/>
                  </a:lnTo>
                  <a:lnTo>
                    <a:pt x="332" y="176"/>
                  </a:lnTo>
                  <a:lnTo>
                    <a:pt x="332" y="186"/>
                  </a:lnTo>
                  <a:lnTo>
                    <a:pt x="342" y="186"/>
                  </a:lnTo>
                  <a:lnTo>
                    <a:pt x="342" y="21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8" name="Freeform 122"/>
            <p:cNvSpPr>
              <a:spLocks/>
            </p:cNvSpPr>
            <p:nvPr/>
          </p:nvSpPr>
          <p:spPr bwMode="auto">
            <a:xfrm>
              <a:off x="4311" y="3386"/>
              <a:ext cx="343" cy="505"/>
            </a:xfrm>
            <a:custGeom>
              <a:avLst/>
              <a:gdLst>
                <a:gd name="T0" fmla="*/ 20 w 342"/>
                <a:gd name="T1" fmla="*/ 253 h 507"/>
                <a:gd name="T2" fmla="*/ 49 w 342"/>
                <a:gd name="T3" fmla="*/ 274 h 507"/>
                <a:gd name="T4" fmla="*/ 69 w 342"/>
                <a:gd name="T5" fmla="*/ 294 h 507"/>
                <a:gd name="T6" fmla="*/ 88 w 342"/>
                <a:gd name="T7" fmla="*/ 333 h 507"/>
                <a:gd name="T8" fmla="*/ 117 w 342"/>
                <a:gd name="T9" fmla="*/ 352 h 507"/>
                <a:gd name="T10" fmla="*/ 117 w 342"/>
                <a:gd name="T11" fmla="*/ 372 h 507"/>
                <a:gd name="T12" fmla="*/ 98 w 342"/>
                <a:gd name="T13" fmla="*/ 381 h 507"/>
                <a:gd name="T14" fmla="*/ 98 w 342"/>
                <a:gd name="T15" fmla="*/ 401 h 507"/>
                <a:gd name="T16" fmla="*/ 98 w 342"/>
                <a:gd name="T17" fmla="*/ 430 h 507"/>
                <a:gd name="T18" fmla="*/ 108 w 342"/>
                <a:gd name="T19" fmla="*/ 459 h 507"/>
                <a:gd name="T20" fmla="*/ 137 w 342"/>
                <a:gd name="T21" fmla="*/ 498 h 507"/>
                <a:gd name="T22" fmla="*/ 166 w 342"/>
                <a:gd name="T23" fmla="*/ 489 h 507"/>
                <a:gd name="T24" fmla="*/ 206 w 342"/>
                <a:gd name="T25" fmla="*/ 518 h 507"/>
                <a:gd name="T26" fmla="*/ 226 w 342"/>
                <a:gd name="T27" fmla="*/ 518 h 507"/>
                <a:gd name="T28" fmla="*/ 245 w 342"/>
                <a:gd name="T29" fmla="*/ 489 h 507"/>
                <a:gd name="T30" fmla="*/ 275 w 342"/>
                <a:gd name="T31" fmla="*/ 469 h 507"/>
                <a:gd name="T32" fmla="*/ 255 w 342"/>
                <a:gd name="T33" fmla="*/ 450 h 507"/>
                <a:gd name="T34" fmla="*/ 245 w 342"/>
                <a:gd name="T35" fmla="*/ 430 h 507"/>
                <a:gd name="T36" fmla="*/ 265 w 342"/>
                <a:gd name="T37" fmla="*/ 430 h 507"/>
                <a:gd name="T38" fmla="*/ 265 w 342"/>
                <a:gd name="T39" fmla="*/ 401 h 507"/>
                <a:gd name="T40" fmla="*/ 255 w 342"/>
                <a:gd name="T41" fmla="*/ 391 h 507"/>
                <a:gd name="T42" fmla="*/ 275 w 342"/>
                <a:gd name="T43" fmla="*/ 362 h 507"/>
                <a:gd name="T44" fmla="*/ 294 w 342"/>
                <a:gd name="T45" fmla="*/ 333 h 507"/>
                <a:gd name="T46" fmla="*/ 294 w 342"/>
                <a:gd name="T47" fmla="*/ 323 h 507"/>
                <a:gd name="T48" fmla="*/ 294 w 342"/>
                <a:gd name="T49" fmla="*/ 303 h 507"/>
                <a:gd name="T50" fmla="*/ 284 w 342"/>
                <a:gd name="T51" fmla="*/ 294 h 507"/>
                <a:gd name="T52" fmla="*/ 265 w 342"/>
                <a:gd name="T53" fmla="*/ 294 h 507"/>
                <a:gd name="T54" fmla="*/ 255 w 342"/>
                <a:gd name="T55" fmla="*/ 294 h 507"/>
                <a:gd name="T56" fmla="*/ 275 w 342"/>
                <a:gd name="T57" fmla="*/ 253 h 507"/>
                <a:gd name="T58" fmla="*/ 284 w 342"/>
                <a:gd name="T59" fmla="*/ 224 h 507"/>
                <a:gd name="T60" fmla="*/ 275 w 342"/>
                <a:gd name="T61" fmla="*/ 175 h 507"/>
                <a:gd name="T62" fmla="*/ 294 w 342"/>
                <a:gd name="T63" fmla="*/ 165 h 507"/>
                <a:gd name="T64" fmla="*/ 324 w 342"/>
                <a:gd name="T65" fmla="*/ 136 h 507"/>
                <a:gd name="T66" fmla="*/ 353 w 342"/>
                <a:gd name="T67" fmla="*/ 126 h 507"/>
                <a:gd name="T68" fmla="*/ 353 w 342"/>
                <a:gd name="T69" fmla="*/ 107 h 507"/>
                <a:gd name="T70" fmla="*/ 353 w 342"/>
                <a:gd name="T71" fmla="*/ 87 h 507"/>
                <a:gd name="T72" fmla="*/ 324 w 342"/>
                <a:gd name="T73" fmla="*/ 68 h 507"/>
                <a:gd name="T74" fmla="*/ 314 w 342"/>
                <a:gd name="T75" fmla="*/ 39 h 507"/>
                <a:gd name="T76" fmla="*/ 314 w 342"/>
                <a:gd name="T77" fmla="*/ 19 h 507"/>
                <a:gd name="T78" fmla="*/ 294 w 342"/>
                <a:gd name="T79" fmla="*/ 0 h 507"/>
                <a:gd name="T80" fmla="*/ 265 w 342"/>
                <a:gd name="T81" fmla="*/ 19 h 507"/>
                <a:gd name="T82" fmla="*/ 236 w 342"/>
                <a:gd name="T83" fmla="*/ 9 h 507"/>
                <a:gd name="T84" fmla="*/ 187 w 342"/>
                <a:gd name="T85" fmla="*/ 19 h 507"/>
                <a:gd name="T86" fmla="*/ 137 w 342"/>
                <a:gd name="T87" fmla="*/ 9 h 507"/>
                <a:gd name="T88" fmla="*/ 117 w 342"/>
                <a:gd name="T89" fmla="*/ 19 h 507"/>
                <a:gd name="T90" fmla="*/ 98 w 342"/>
                <a:gd name="T91" fmla="*/ 29 h 507"/>
                <a:gd name="T92" fmla="*/ 59 w 342"/>
                <a:gd name="T93" fmla="*/ 39 h 507"/>
                <a:gd name="T94" fmla="*/ 30 w 342"/>
                <a:gd name="T95" fmla="*/ 39 h 507"/>
                <a:gd name="T96" fmla="*/ 10 w 342"/>
                <a:gd name="T97" fmla="*/ 58 h 507"/>
                <a:gd name="T98" fmla="*/ 20 w 342"/>
                <a:gd name="T99" fmla="*/ 78 h 507"/>
                <a:gd name="T100" fmla="*/ 20 w 342"/>
                <a:gd name="T101" fmla="*/ 97 h 507"/>
                <a:gd name="T102" fmla="*/ 10 w 342"/>
                <a:gd name="T103" fmla="*/ 107 h 507"/>
                <a:gd name="T104" fmla="*/ 20 w 342"/>
                <a:gd name="T105" fmla="*/ 136 h 507"/>
                <a:gd name="T106" fmla="*/ 10 w 342"/>
                <a:gd name="T107" fmla="*/ 156 h 507"/>
                <a:gd name="T108" fmla="*/ 20 w 342"/>
                <a:gd name="T109" fmla="*/ 175 h 507"/>
                <a:gd name="T110" fmla="*/ 10 w 342"/>
                <a:gd name="T111" fmla="*/ 185 h 507"/>
                <a:gd name="T112" fmla="*/ 0 w 342"/>
                <a:gd name="T113" fmla="*/ 204 h 507"/>
                <a:gd name="T114" fmla="*/ 20 w 342"/>
                <a:gd name="T115" fmla="*/ 234 h 5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507"/>
                <a:gd name="T176" fmla="*/ 342 w 342"/>
                <a:gd name="T177" fmla="*/ 507 h 5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507">
                  <a:moveTo>
                    <a:pt x="20" y="234"/>
                  </a:moveTo>
                  <a:lnTo>
                    <a:pt x="20" y="253"/>
                  </a:lnTo>
                  <a:lnTo>
                    <a:pt x="39" y="253"/>
                  </a:lnTo>
                  <a:lnTo>
                    <a:pt x="49" y="263"/>
                  </a:lnTo>
                  <a:lnTo>
                    <a:pt x="59" y="283"/>
                  </a:lnTo>
                  <a:lnTo>
                    <a:pt x="69" y="283"/>
                  </a:lnTo>
                  <a:lnTo>
                    <a:pt x="69" y="302"/>
                  </a:lnTo>
                  <a:lnTo>
                    <a:pt x="88" y="322"/>
                  </a:lnTo>
                  <a:lnTo>
                    <a:pt x="98" y="341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08" y="370"/>
                  </a:lnTo>
                  <a:lnTo>
                    <a:pt x="98" y="370"/>
                  </a:lnTo>
                  <a:lnTo>
                    <a:pt x="88" y="380"/>
                  </a:lnTo>
                  <a:lnTo>
                    <a:pt x="98" y="390"/>
                  </a:lnTo>
                  <a:lnTo>
                    <a:pt x="108" y="400"/>
                  </a:lnTo>
                  <a:lnTo>
                    <a:pt x="98" y="419"/>
                  </a:lnTo>
                  <a:lnTo>
                    <a:pt x="98" y="439"/>
                  </a:lnTo>
                  <a:lnTo>
                    <a:pt x="108" y="448"/>
                  </a:lnTo>
                  <a:lnTo>
                    <a:pt x="117" y="468"/>
                  </a:lnTo>
                  <a:lnTo>
                    <a:pt x="137" y="487"/>
                  </a:lnTo>
                  <a:lnTo>
                    <a:pt x="147" y="478"/>
                  </a:lnTo>
                  <a:lnTo>
                    <a:pt x="166" y="478"/>
                  </a:lnTo>
                  <a:lnTo>
                    <a:pt x="186" y="487"/>
                  </a:lnTo>
                  <a:lnTo>
                    <a:pt x="195" y="507"/>
                  </a:lnTo>
                  <a:lnTo>
                    <a:pt x="205" y="507"/>
                  </a:lnTo>
                  <a:lnTo>
                    <a:pt x="215" y="507"/>
                  </a:lnTo>
                  <a:lnTo>
                    <a:pt x="225" y="487"/>
                  </a:lnTo>
                  <a:lnTo>
                    <a:pt x="234" y="478"/>
                  </a:lnTo>
                  <a:lnTo>
                    <a:pt x="244" y="468"/>
                  </a:lnTo>
                  <a:lnTo>
                    <a:pt x="264" y="458"/>
                  </a:lnTo>
                  <a:lnTo>
                    <a:pt x="264" y="448"/>
                  </a:lnTo>
                  <a:lnTo>
                    <a:pt x="244" y="439"/>
                  </a:lnTo>
                  <a:lnTo>
                    <a:pt x="244" y="429"/>
                  </a:lnTo>
                  <a:lnTo>
                    <a:pt x="234" y="419"/>
                  </a:lnTo>
                  <a:lnTo>
                    <a:pt x="244" y="419"/>
                  </a:lnTo>
                  <a:lnTo>
                    <a:pt x="254" y="419"/>
                  </a:lnTo>
                  <a:lnTo>
                    <a:pt x="254" y="409"/>
                  </a:lnTo>
                  <a:lnTo>
                    <a:pt x="254" y="390"/>
                  </a:lnTo>
                  <a:lnTo>
                    <a:pt x="254" y="380"/>
                  </a:lnTo>
                  <a:lnTo>
                    <a:pt x="244" y="380"/>
                  </a:lnTo>
                  <a:lnTo>
                    <a:pt x="244" y="361"/>
                  </a:lnTo>
                  <a:lnTo>
                    <a:pt x="264" y="351"/>
                  </a:lnTo>
                  <a:lnTo>
                    <a:pt x="273" y="351"/>
                  </a:lnTo>
                  <a:lnTo>
                    <a:pt x="283" y="322"/>
                  </a:lnTo>
                  <a:lnTo>
                    <a:pt x="273" y="322"/>
                  </a:lnTo>
                  <a:lnTo>
                    <a:pt x="283" y="312"/>
                  </a:lnTo>
                  <a:lnTo>
                    <a:pt x="283" y="302"/>
                  </a:lnTo>
                  <a:lnTo>
                    <a:pt x="283" y="292"/>
                  </a:lnTo>
                  <a:lnTo>
                    <a:pt x="273" y="292"/>
                  </a:lnTo>
                  <a:lnTo>
                    <a:pt x="273" y="283"/>
                  </a:lnTo>
                  <a:lnTo>
                    <a:pt x="264" y="263"/>
                  </a:lnTo>
                  <a:lnTo>
                    <a:pt x="254" y="283"/>
                  </a:lnTo>
                  <a:lnTo>
                    <a:pt x="244" y="283"/>
                  </a:lnTo>
                  <a:lnTo>
                    <a:pt x="244" y="273"/>
                  </a:lnTo>
                  <a:lnTo>
                    <a:pt x="264" y="253"/>
                  </a:lnTo>
                  <a:lnTo>
                    <a:pt x="264" y="244"/>
                  </a:lnTo>
                  <a:lnTo>
                    <a:pt x="273" y="224"/>
                  </a:lnTo>
                  <a:lnTo>
                    <a:pt x="264" y="185"/>
                  </a:lnTo>
                  <a:lnTo>
                    <a:pt x="264" y="175"/>
                  </a:lnTo>
                  <a:lnTo>
                    <a:pt x="273" y="175"/>
                  </a:lnTo>
                  <a:lnTo>
                    <a:pt x="283" y="165"/>
                  </a:lnTo>
                  <a:lnTo>
                    <a:pt x="293" y="156"/>
                  </a:lnTo>
                  <a:lnTo>
                    <a:pt x="313" y="136"/>
                  </a:lnTo>
                  <a:lnTo>
                    <a:pt x="322" y="126"/>
                  </a:lnTo>
                  <a:lnTo>
                    <a:pt x="342" y="126"/>
                  </a:lnTo>
                  <a:lnTo>
                    <a:pt x="342" y="117"/>
                  </a:lnTo>
                  <a:lnTo>
                    <a:pt x="342" y="107"/>
                  </a:lnTo>
                  <a:lnTo>
                    <a:pt x="342" y="97"/>
                  </a:lnTo>
                  <a:lnTo>
                    <a:pt x="342" y="87"/>
                  </a:lnTo>
                  <a:lnTo>
                    <a:pt x="332" y="78"/>
                  </a:lnTo>
                  <a:lnTo>
                    <a:pt x="313" y="68"/>
                  </a:lnTo>
                  <a:lnTo>
                    <a:pt x="303" y="58"/>
                  </a:lnTo>
                  <a:lnTo>
                    <a:pt x="303" y="39"/>
                  </a:lnTo>
                  <a:lnTo>
                    <a:pt x="303" y="29"/>
                  </a:lnTo>
                  <a:lnTo>
                    <a:pt x="303" y="19"/>
                  </a:lnTo>
                  <a:lnTo>
                    <a:pt x="293" y="9"/>
                  </a:lnTo>
                  <a:lnTo>
                    <a:pt x="283" y="0"/>
                  </a:lnTo>
                  <a:lnTo>
                    <a:pt x="273" y="9"/>
                  </a:lnTo>
                  <a:lnTo>
                    <a:pt x="254" y="19"/>
                  </a:lnTo>
                  <a:lnTo>
                    <a:pt x="234" y="19"/>
                  </a:lnTo>
                  <a:lnTo>
                    <a:pt x="225" y="9"/>
                  </a:lnTo>
                  <a:lnTo>
                    <a:pt x="205" y="19"/>
                  </a:lnTo>
                  <a:lnTo>
                    <a:pt x="176" y="1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19"/>
                  </a:lnTo>
                  <a:lnTo>
                    <a:pt x="117" y="19"/>
                  </a:lnTo>
                  <a:lnTo>
                    <a:pt x="98" y="19"/>
                  </a:lnTo>
                  <a:lnTo>
                    <a:pt x="98" y="29"/>
                  </a:lnTo>
                  <a:lnTo>
                    <a:pt x="88" y="39"/>
                  </a:lnTo>
                  <a:lnTo>
                    <a:pt x="59" y="39"/>
                  </a:lnTo>
                  <a:lnTo>
                    <a:pt x="39" y="39"/>
                  </a:lnTo>
                  <a:lnTo>
                    <a:pt x="30" y="39"/>
                  </a:lnTo>
                  <a:lnTo>
                    <a:pt x="10" y="39"/>
                  </a:lnTo>
                  <a:lnTo>
                    <a:pt x="10" y="58"/>
                  </a:lnTo>
                  <a:lnTo>
                    <a:pt x="10" y="68"/>
                  </a:lnTo>
                  <a:lnTo>
                    <a:pt x="20" y="78"/>
                  </a:lnTo>
                  <a:lnTo>
                    <a:pt x="30" y="87"/>
                  </a:lnTo>
                  <a:lnTo>
                    <a:pt x="20" y="97"/>
                  </a:lnTo>
                  <a:lnTo>
                    <a:pt x="10" y="97"/>
                  </a:lnTo>
                  <a:lnTo>
                    <a:pt x="10" y="107"/>
                  </a:lnTo>
                  <a:lnTo>
                    <a:pt x="30" y="117"/>
                  </a:lnTo>
                  <a:lnTo>
                    <a:pt x="20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10" y="165"/>
                  </a:lnTo>
                  <a:lnTo>
                    <a:pt x="20" y="175"/>
                  </a:lnTo>
                  <a:lnTo>
                    <a:pt x="20" y="185"/>
                  </a:lnTo>
                  <a:lnTo>
                    <a:pt x="10" y="185"/>
                  </a:lnTo>
                  <a:lnTo>
                    <a:pt x="10" y="195"/>
                  </a:lnTo>
                  <a:lnTo>
                    <a:pt x="0" y="204"/>
                  </a:lnTo>
                  <a:lnTo>
                    <a:pt x="10" y="224"/>
                  </a:lnTo>
                  <a:lnTo>
                    <a:pt x="20" y="234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9" name="Freeform 121"/>
            <p:cNvSpPr>
              <a:spLocks/>
            </p:cNvSpPr>
            <p:nvPr/>
          </p:nvSpPr>
          <p:spPr bwMode="auto">
            <a:xfrm>
              <a:off x="4505" y="3796"/>
              <a:ext cx="799" cy="459"/>
            </a:xfrm>
            <a:custGeom>
              <a:avLst/>
              <a:gdLst>
                <a:gd name="T0" fmla="*/ 20 w 800"/>
                <a:gd name="T1" fmla="*/ 215 h 459"/>
                <a:gd name="T2" fmla="*/ 30 w 800"/>
                <a:gd name="T3" fmla="*/ 275 h 459"/>
                <a:gd name="T4" fmla="*/ 69 w 800"/>
                <a:gd name="T5" fmla="*/ 343 h 459"/>
                <a:gd name="T6" fmla="*/ 39 w 800"/>
                <a:gd name="T7" fmla="*/ 333 h 459"/>
                <a:gd name="T8" fmla="*/ 20 w 800"/>
                <a:gd name="T9" fmla="*/ 353 h 459"/>
                <a:gd name="T10" fmla="*/ 39 w 800"/>
                <a:gd name="T11" fmla="*/ 372 h 459"/>
                <a:gd name="T12" fmla="*/ 49 w 800"/>
                <a:gd name="T13" fmla="*/ 392 h 459"/>
                <a:gd name="T14" fmla="*/ 98 w 800"/>
                <a:gd name="T15" fmla="*/ 382 h 459"/>
                <a:gd name="T16" fmla="*/ 147 w 800"/>
                <a:gd name="T17" fmla="*/ 363 h 459"/>
                <a:gd name="T18" fmla="*/ 176 w 800"/>
                <a:gd name="T19" fmla="*/ 363 h 459"/>
                <a:gd name="T20" fmla="*/ 215 w 800"/>
                <a:gd name="T21" fmla="*/ 333 h 459"/>
                <a:gd name="T22" fmla="*/ 264 w 800"/>
                <a:gd name="T23" fmla="*/ 333 h 459"/>
                <a:gd name="T24" fmla="*/ 293 w 800"/>
                <a:gd name="T25" fmla="*/ 333 h 459"/>
                <a:gd name="T26" fmla="*/ 313 w 800"/>
                <a:gd name="T27" fmla="*/ 343 h 459"/>
                <a:gd name="T28" fmla="*/ 322 w 800"/>
                <a:gd name="T29" fmla="*/ 353 h 459"/>
                <a:gd name="T30" fmla="*/ 381 w 800"/>
                <a:gd name="T31" fmla="*/ 363 h 459"/>
                <a:gd name="T32" fmla="*/ 430 w 800"/>
                <a:gd name="T33" fmla="*/ 372 h 459"/>
                <a:gd name="T34" fmla="*/ 469 w 800"/>
                <a:gd name="T35" fmla="*/ 431 h 459"/>
                <a:gd name="T36" fmla="*/ 517 w 800"/>
                <a:gd name="T37" fmla="*/ 450 h 459"/>
                <a:gd name="T38" fmla="*/ 556 w 800"/>
                <a:gd name="T39" fmla="*/ 441 h 459"/>
                <a:gd name="T40" fmla="*/ 586 w 800"/>
                <a:gd name="T41" fmla="*/ 460 h 459"/>
                <a:gd name="T42" fmla="*/ 625 w 800"/>
                <a:gd name="T43" fmla="*/ 450 h 459"/>
                <a:gd name="T44" fmla="*/ 664 w 800"/>
                <a:gd name="T45" fmla="*/ 470 h 459"/>
                <a:gd name="T46" fmla="*/ 713 w 800"/>
                <a:gd name="T47" fmla="*/ 450 h 459"/>
                <a:gd name="T48" fmla="*/ 742 w 800"/>
                <a:gd name="T49" fmla="*/ 411 h 459"/>
                <a:gd name="T50" fmla="*/ 732 w 800"/>
                <a:gd name="T51" fmla="*/ 372 h 459"/>
                <a:gd name="T52" fmla="*/ 713 w 800"/>
                <a:gd name="T53" fmla="*/ 324 h 459"/>
                <a:gd name="T54" fmla="*/ 713 w 800"/>
                <a:gd name="T55" fmla="*/ 275 h 459"/>
                <a:gd name="T56" fmla="*/ 752 w 800"/>
                <a:gd name="T57" fmla="*/ 246 h 459"/>
                <a:gd name="T58" fmla="*/ 791 w 800"/>
                <a:gd name="T59" fmla="*/ 186 h 459"/>
                <a:gd name="T60" fmla="*/ 791 w 800"/>
                <a:gd name="T61" fmla="*/ 137 h 459"/>
                <a:gd name="T62" fmla="*/ 771 w 800"/>
                <a:gd name="T63" fmla="*/ 98 h 459"/>
                <a:gd name="T64" fmla="*/ 791 w 800"/>
                <a:gd name="T65" fmla="*/ 78 h 459"/>
                <a:gd name="T66" fmla="*/ 752 w 800"/>
                <a:gd name="T67" fmla="*/ 78 h 459"/>
                <a:gd name="T68" fmla="*/ 722 w 800"/>
                <a:gd name="T69" fmla="*/ 69 h 459"/>
                <a:gd name="T70" fmla="*/ 674 w 800"/>
                <a:gd name="T71" fmla="*/ 30 h 459"/>
                <a:gd name="T72" fmla="*/ 634 w 800"/>
                <a:gd name="T73" fmla="*/ 10 h 459"/>
                <a:gd name="T74" fmla="*/ 605 w 800"/>
                <a:gd name="T75" fmla="*/ 30 h 459"/>
                <a:gd name="T76" fmla="*/ 566 w 800"/>
                <a:gd name="T77" fmla="*/ 39 h 459"/>
                <a:gd name="T78" fmla="*/ 517 w 800"/>
                <a:gd name="T79" fmla="*/ 39 h 459"/>
                <a:gd name="T80" fmla="*/ 478 w 800"/>
                <a:gd name="T81" fmla="*/ 39 h 459"/>
                <a:gd name="T82" fmla="*/ 459 w 800"/>
                <a:gd name="T83" fmla="*/ 88 h 459"/>
                <a:gd name="T84" fmla="*/ 400 w 800"/>
                <a:gd name="T85" fmla="*/ 127 h 459"/>
                <a:gd name="T86" fmla="*/ 361 w 800"/>
                <a:gd name="T87" fmla="*/ 166 h 459"/>
                <a:gd name="T88" fmla="*/ 303 w 800"/>
                <a:gd name="T89" fmla="*/ 196 h 459"/>
                <a:gd name="T90" fmla="*/ 235 w 800"/>
                <a:gd name="T91" fmla="*/ 186 h 459"/>
                <a:gd name="T92" fmla="*/ 166 w 800"/>
                <a:gd name="T93" fmla="*/ 166 h 459"/>
                <a:gd name="T94" fmla="*/ 127 w 800"/>
                <a:gd name="T95" fmla="*/ 137 h 459"/>
                <a:gd name="T96" fmla="*/ 108 w 800"/>
                <a:gd name="T97" fmla="*/ 166 h 459"/>
                <a:gd name="T98" fmla="*/ 49 w 800"/>
                <a:gd name="T99" fmla="*/ 176 h 459"/>
                <a:gd name="T100" fmla="*/ 10 w 800"/>
                <a:gd name="T101" fmla="*/ 166 h 459"/>
                <a:gd name="T102" fmla="*/ 10 w 800"/>
                <a:gd name="T103" fmla="*/ 196 h 45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00"/>
                <a:gd name="T157" fmla="*/ 0 h 459"/>
                <a:gd name="T158" fmla="*/ 800 w 800"/>
                <a:gd name="T159" fmla="*/ 459 h 45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00" h="459">
                  <a:moveTo>
                    <a:pt x="10" y="196"/>
                  </a:moveTo>
                  <a:lnTo>
                    <a:pt x="10" y="205"/>
                  </a:lnTo>
                  <a:lnTo>
                    <a:pt x="20" y="215"/>
                  </a:lnTo>
                  <a:lnTo>
                    <a:pt x="10" y="235"/>
                  </a:lnTo>
                  <a:lnTo>
                    <a:pt x="10" y="254"/>
                  </a:lnTo>
                  <a:lnTo>
                    <a:pt x="30" y="264"/>
                  </a:lnTo>
                  <a:lnTo>
                    <a:pt x="49" y="283"/>
                  </a:lnTo>
                  <a:lnTo>
                    <a:pt x="69" y="313"/>
                  </a:lnTo>
                  <a:lnTo>
                    <a:pt x="69" y="332"/>
                  </a:lnTo>
                  <a:lnTo>
                    <a:pt x="59" y="332"/>
                  </a:lnTo>
                  <a:lnTo>
                    <a:pt x="49" y="322"/>
                  </a:lnTo>
                  <a:lnTo>
                    <a:pt x="39" y="322"/>
                  </a:lnTo>
                  <a:lnTo>
                    <a:pt x="39" y="332"/>
                  </a:lnTo>
                  <a:lnTo>
                    <a:pt x="20" y="342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39" y="371"/>
                  </a:lnTo>
                  <a:lnTo>
                    <a:pt x="39" y="381"/>
                  </a:lnTo>
                  <a:lnTo>
                    <a:pt x="49" y="381"/>
                  </a:lnTo>
                  <a:lnTo>
                    <a:pt x="69" y="381"/>
                  </a:lnTo>
                  <a:lnTo>
                    <a:pt x="88" y="381"/>
                  </a:lnTo>
                  <a:lnTo>
                    <a:pt x="98" y="371"/>
                  </a:lnTo>
                  <a:lnTo>
                    <a:pt x="118" y="361"/>
                  </a:lnTo>
                  <a:lnTo>
                    <a:pt x="127" y="361"/>
                  </a:lnTo>
                  <a:lnTo>
                    <a:pt x="147" y="352"/>
                  </a:lnTo>
                  <a:lnTo>
                    <a:pt x="157" y="342"/>
                  </a:lnTo>
                  <a:lnTo>
                    <a:pt x="166" y="342"/>
                  </a:lnTo>
                  <a:lnTo>
                    <a:pt x="176" y="352"/>
                  </a:lnTo>
                  <a:lnTo>
                    <a:pt x="196" y="342"/>
                  </a:lnTo>
                  <a:lnTo>
                    <a:pt x="205" y="332"/>
                  </a:lnTo>
                  <a:lnTo>
                    <a:pt x="215" y="322"/>
                  </a:lnTo>
                  <a:lnTo>
                    <a:pt x="235" y="322"/>
                  </a:lnTo>
                  <a:lnTo>
                    <a:pt x="254" y="322"/>
                  </a:lnTo>
                  <a:lnTo>
                    <a:pt x="264" y="322"/>
                  </a:lnTo>
                  <a:lnTo>
                    <a:pt x="274" y="313"/>
                  </a:lnTo>
                  <a:lnTo>
                    <a:pt x="283" y="313"/>
                  </a:lnTo>
                  <a:lnTo>
                    <a:pt x="293" y="322"/>
                  </a:lnTo>
                  <a:lnTo>
                    <a:pt x="313" y="313"/>
                  </a:lnTo>
                  <a:lnTo>
                    <a:pt x="313" y="322"/>
                  </a:lnTo>
                  <a:lnTo>
                    <a:pt x="313" y="332"/>
                  </a:lnTo>
                  <a:lnTo>
                    <a:pt x="303" y="342"/>
                  </a:lnTo>
                  <a:lnTo>
                    <a:pt x="313" y="342"/>
                  </a:lnTo>
                  <a:lnTo>
                    <a:pt x="322" y="342"/>
                  </a:lnTo>
                  <a:lnTo>
                    <a:pt x="332" y="352"/>
                  </a:lnTo>
                  <a:lnTo>
                    <a:pt x="361" y="352"/>
                  </a:lnTo>
                  <a:lnTo>
                    <a:pt x="381" y="352"/>
                  </a:lnTo>
                  <a:lnTo>
                    <a:pt x="400" y="361"/>
                  </a:lnTo>
                  <a:lnTo>
                    <a:pt x="420" y="361"/>
                  </a:lnTo>
                  <a:lnTo>
                    <a:pt x="430" y="361"/>
                  </a:lnTo>
                  <a:lnTo>
                    <a:pt x="430" y="381"/>
                  </a:lnTo>
                  <a:lnTo>
                    <a:pt x="449" y="410"/>
                  </a:lnTo>
                  <a:lnTo>
                    <a:pt x="469" y="420"/>
                  </a:lnTo>
                  <a:lnTo>
                    <a:pt x="478" y="420"/>
                  </a:lnTo>
                  <a:lnTo>
                    <a:pt x="498" y="430"/>
                  </a:lnTo>
                  <a:lnTo>
                    <a:pt x="517" y="439"/>
                  </a:lnTo>
                  <a:lnTo>
                    <a:pt x="537" y="430"/>
                  </a:lnTo>
                  <a:lnTo>
                    <a:pt x="537" y="420"/>
                  </a:lnTo>
                  <a:lnTo>
                    <a:pt x="556" y="430"/>
                  </a:lnTo>
                  <a:lnTo>
                    <a:pt x="566" y="430"/>
                  </a:lnTo>
                  <a:lnTo>
                    <a:pt x="576" y="439"/>
                  </a:lnTo>
                  <a:lnTo>
                    <a:pt x="586" y="449"/>
                  </a:lnTo>
                  <a:lnTo>
                    <a:pt x="595" y="439"/>
                  </a:lnTo>
                  <a:lnTo>
                    <a:pt x="605" y="439"/>
                  </a:lnTo>
                  <a:lnTo>
                    <a:pt x="625" y="439"/>
                  </a:lnTo>
                  <a:lnTo>
                    <a:pt x="644" y="449"/>
                  </a:lnTo>
                  <a:lnTo>
                    <a:pt x="644" y="459"/>
                  </a:lnTo>
                  <a:lnTo>
                    <a:pt x="664" y="459"/>
                  </a:lnTo>
                  <a:lnTo>
                    <a:pt x="674" y="459"/>
                  </a:lnTo>
                  <a:lnTo>
                    <a:pt x="693" y="439"/>
                  </a:lnTo>
                  <a:lnTo>
                    <a:pt x="713" y="439"/>
                  </a:lnTo>
                  <a:lnTo>
                    <a:pt x="732" y="420"/>
                  </a:lnTo>
                  <a:lnTo>
                    <a:pt x="752" y="410"/>
                  </a:lnTo>
                  <a:lnTo>
                    <a:pt x="742" y="400"/>
                  </a:lnTo>
                  <a:lnTo>
                    <a:pt x="732" y="391"/>
                  </a:lnTo>
                  <a:lnTo>
                    <a:pt x="732" y="381"/>
                  </a:lnTo>
                  <a:lnTo>
                    <a:pt x="732" y="361"/>
                  </a:lnTo>
                  <a:lnTo>
                    <a:pt x="722" y="352"/>
                  </a:lnTo>
                  <a:lnTo>
                    <a:pt x="722" y="332"/>
                  </a:lnTo>
                  <a:lnTo>
                    <a:pt x="713" y="313"/>
                  </a:lnTo>
                  <a:lnTo>
                    <a:pt x="713" y="303"/>
                  </a:lnTo>
                  <a:lnTo>
                    <a:pt x="713" y="293"/>
                  </a:lnTo>
                  <a:lnTo>
                    <a:pt x="713" y="264"/>
                  </a:lnTo>
                  <a:lnTo>
                    <a:pt x="732" y="264"/>
                  </a:lnTo>
                  <a:lnTo>
                    <a:pt x="742" y="244"/>
                  </a:lnTo>
                  <a:lnTo>
                    <a:pt x="752" y="235"/>
                  </a:lnTo>
                  <a:lnTo>
                    <a:pt x="781" y="225"/>
                  </a:lnTo>
                  <a:lnTo>
                    <a:pt x="781" y="205"/>
                  </a:lnTo>
                  <a:lnTo>
                    <a:pt x="791" y="186"/>
                  </a:lnTo>
                  <a:lnTo>
                    <a:pt x="771" y="166"/>
                  </a:lnTo>
                  <a:lnTo>
                    <a:pt x="781" y="156"/>
                  </a:lnTo>
                  <a:lnTo>
                    <a:pt x="791" y="137"/>
                  </a:lnTo>
                  <a:lnTo>
                    <a:pt x="781" y="117"/>
                  </a:lnTo>
                  <a:lnTo>
                    <a:pt x="771" y="108"/>
                  </a:lnTo>
                  <a:lnTo>
                    <a:pt x="771" y="98"/>
                  </a:lnTo>
                  <a:lnTo>
                    <a:pt x="791" y="108"/>
                  </a:lnTo>
                  <a:lnTo>
                    <a:pt x="800" y="98"/>
                  </a:lnTo>
                  <a:lnTo>
                    <a:pt x="791" y="78"/>
                  </a:lnTo>
                  <a:lnTo>
                    <a:pt x="771" y="78"/>
                  </a:lnTo>
                  <a:lnTo>
                    <a:pt x="761" y="78"/>
                  </a:lnTo>
                  <a:lnTo>
                    <a:pt x="752" y="78"/>
                  </a:lnTo>
                  <a:lnTo>
                    <a:pt x="732" y="88"/>
                  </a:lnTo>
                  <a:lnTo>
                    <a:pt x="732" y="69"/>
                  </a:lnTo>
                  <a:lnTo>
                    <a:pt x="722" y="69"/>
                  </a:lnTo>
                  <a:lnTo>
                    <a:pt x="693" y="49"/>
                  </a:lnTo>
                  <a:lnTo>
                    <a:pt x="674" y="39"/>
                  </a:lnTo>
                  <a:lnTo>
                    <a:pt x="674" y="30"/>
                  </a:lnTo>
                  <a:lnTo>
                    <a:pt x="664" y="10"/>
                  </a:lnTo>
                  <a:lnTo>
                    <a:pt x="644" y="0"/>
                  </a:lnTo>
                  <a:lnTo>
                    <a:pt x="634" y="10"/>
                  </a:lnTo>
                  <a:lnTo>
                    <a:pt x="625" y="10"/>
                  </a:lnTo>
                  <a:lnTo>
                    <a:pt x="625" y="20"/>
                  </a:lnTo>
                  <a:lnTo>
                    <a:pt x="605" y="30"/>
                  </a:lnTo>
                  <a:lnTo>
                    <a:pt x="586" y="30"/>
                  </a:lnTo>
                  <a:lnTo>
                    <a:pt x="576" y="39"/>
                  </a:lnTo>
                  <a:lnTo>
                    <a:pt x="566" y="39"/>
                  </a:lnTo>
                  <a:lnTo>
                    <a:pt x="556" y="30"/>
                  </a:lnTo>
                  <a:lnTo>
                    <a:pt x="537" y="30"/>
                  </a:lnTo>
                  <a:lnTo>
                    <a:pt x="517" y="39"/>
                  </a:lnTo>
                  <a:lnTo>
                    <a:pt x="508" y="30"/>
                  </a:lnTo>
                  <a:lnTo>
                    <a:pt x="488" y="39"/>
                  </a:lnTo>
                  <a:lnTo>
                    <a:pt x="478" y="39"/>
                  </a:lnTo>
                  <a:lnTo>
                    <a:pt x="478" y="69"/>
                  </a:lnTo>
                  <a:lnTo>
                    <a:pt x="469" y="78"/>
                  </a:lnTo>
                  <a:lnTo>
                    <a:pt x="459" y="88"/>
                  </a:lnTo>
                  <a:lnTo>
                    <a:pt x="439" y="88"/>
                  </a:lnTo>
                  <a:lnTo>
                    <a:pt x="420" y="108"/>
                  </a:lnTo>
                  <a:lnTo>
                    <a:pt x="400" y="127"/>
                  </a:lnTo>
                  <a:lnTo>
                    <a:pt x="400" y="137"/>
                  </a:lnTo>
                  <a:lnTo>
                    <a:pt x="391" y="156"/>
                  </a:lnTo>
                  <a:lnTo>
                    <a:pt x="361" y="166"/>
                  </a:lnTo>
                  <a:lnTo>
                    <a:pt x="332" y="166"/>
                  </a:lnTo>
                  <a:lnTo>
                    <a:pt x="313" y="186"/>
                  </a:lnTo>
                  <a:lnTo>
                    <a:pt x="303" y="196"/>
                  </a:lnTo>
                  <a:lnTo>
                    <a:pt x="274" y="196"/>
                  </a:lnTo>
                  <a:lnTo>
                    <a:pt x="254" y="186"/>
                  </a:lnTo>
                  <a:lnTo>
                    <a:pt x="235" y="186"/>
                  </a:lnTo>
                  <a:lnTo>
                    <a:pt x="215" y="176"/>
                  </a:lnTo>
                  <a:lnTo>
                    <a:pt x="196" y="166"/>
                  </a:lnTo>
                  <a:lnTo>
                    <a:pt x="166" y="166"/>
                  </a:lnTo>
                  <a:lnTo>
                    <a:pt x="157" y="156"/>
                  </a:lnTo>
                  <a:lnTo>
                    <a:pt x="147" y="137"/>
                  </a:lnTo>
                  <a:lnTo>
                    <a:pt x="127" y="137"/>
                  </a:lnTo>
                  <a:lnTo>
                    <a:pt x="108" y="137"/>
                  </a:lnTo>
                  <a:lnTo>
                    <a:pt x="108" y="16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49" y="176"/>
                  </a:lnTo>
                  <a:lnTo>
                    <a:pt x="39" y="176"/>
                  </a:lnTo>
                  <a:lnTo>
                    <a:pt x="39" y="166"/>
                  </a:lnTo>
                  <a:lnTo>
                    <a:pt x="10" y="16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10" y="196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0" name="Freeform 120"/>
            <p:cNvSpPr>
              <a:spLocks/>
            </p:cNvSpPr>
            <p:nvPr/>
          </p:nvSpPr>
          <p:spPr bwMode="auto">
            <a:xfrm>
              <a:off x="4449" y="2059"/>
              <a:ext cx="1072" cy="1934"/>
            </a:xfrm>
            <a:custGeom>
              <a:avLst/>
              <a:gdLst>
                <a:gd name="T0" fmla="*/ 429 w 1073"/>
                <a:gd name="T1" fmla="*/ 253 h 1932"/>
                <a:gd name="T2" fmla="*/ 351 w 1073"/>
                <a:gd name="T3" fmla="*/ 448 h 1932"/>
                <a:gd name="T4" fmla="*/ 429 w 1073"/>
                <a:gd name="T5" fmla="*/ 478 h 1932"/>
                <a:gd name="T6" fmla="*/ 497 w 1073"/>
                <a:gd name="T7" fmla="*/ 546 h 1932"/>
                <a:gd name="T8" fmla="*/ 468 w 1073"/>
                <a:gd name="T9" fmla="*/ 673 h 1932"/>
                <a:gd name="T10" fmla="*/ 371 w 1073"/>
                <a:gd name="T11" fmla="*/ 839 h 1932"/>
                <a:gd name="T12" fmla="*/ 458 w 1073"/>
                <a:gd name="T13" fmla="*/ 907 h 1932"/>
                <a:gd name="T14" fmla="*/ 507 w 1073"/>
                <a:gd name="T15" fmla="*/ 868 h 1932"/>
                <a:gd name="T16" fmla="*/ 595 w 1073"/>
                <a:gd name="T17" fmla="*/ 897 h 1932"/>
                <a:gd name="T18" fmla="*/ 624 w 1073"/>
                <a:gd name="T19" fmla="*/ 1064 h 1932"/>
                <a:gd name="T20" fmla="*/ 732 w 1073"/>
                <a:gd name="T21" fmla="*/ 1084 h 1932"/>
                <a:gd name="T22" fmla="*/ 878 w 1073"/>
                <a:gd name="T23" fmla="*/ 1055 h 1932"/>
                <a:gd name="T24" fmla="*/ 1034 w 1073"/>
                <a:gd name="T25" fmla="*/ 1084 h 1932"/>
                <a:gd name="T26" fmla="*/ 1034 w 1073"/>
                <a:gd name="T27" fmla="*/ 1211 h 1932"/>
                <a:gd name="T28" fmla="*/ 966 w 1073"/>
                <a:gd name="T29" fmla="*/ 1279 h 1932"/>
                <a:gd name="T30" fmla="*/ 936 w 1073"/>
                <a:gd name="T31" fmla="*/ 1289 h 1932"/>
                <a:gd name="T32" fmla="*/ 868 w 1073"/>
                <a:gd name="T33" fmla="*/ 1308 h 1932"/>
                <a:gd name="T34" fmla="*/ 761 w 1073"/>
                <a:gd name="T35" fmla="*/ 1396 h 1932"/>
                <a:gd name="T36" fmla="*/ 751 w 1073"/>
                <a:gd name="T37" fmla="*/ 1464 h 1932"/>
                <a:gd name="T38" fmla="*/ 692 w 1073"/>
                <a:gd name="T39" fmla="*/ 1562 h 1932"/>
                <a:gd name="T40" fmla="*/ 683 w 1073"/>
                <a:gd name="T41" fmla="*/ 1650 h 1932"/>
                <a:gd name="T42" fmla="*/ 614 w 1073"/>
                <a:gd name="T43" fmla="*/ 1669 h 1932"/>
                <a:gd name="T44" fmla="*/ 634 w 1073"/>
                <a:gd name="T45" fmla="*/ 1786 h 1932"/>
                <a:gd name="T46" fmla="*/ 546 w 1073"/>
                <a:gd name="T47" fmla="*/ 1786 h 1932"/>
                <a:gd name="T48" fmla="*/ 458 w 1073"/>
                <a:gd name="T49" fmla="*/ 1884 h 1932"/>
                <a:gd name="T50" fmla="*/ 312 w 1073"/>
                <a:gd name="T51" fmla="*/ 1933 h 1932"/>
                <a:gd name="T52" fmla="*/ 205 w 1073"/>
                <a:gd name="T53" fmla="*/ 1874 h 1932"/>
                <a:gd name="T54" fmla="*/ 283 w 1073"/>
                <a:gd name="T55" fmla="*/ 1816 h 1932"/>
                <a:gd name="T56" fmla="*/ 312 w 1073"/>
                <a:gd name="T57" fmla="*/ 1728 h 1932"/>
                <a:gd name="T58" fmla="*/ 312 w 1073"/>
                <a:gd name="T59" fmla="*/ 1621 h 1932"/>
                <a:gd name="T60" fmla="*/ 283 w 1073"/>
                <a:gd name="T61" fmla="*/ 1572 h 1932"/>
                <a:gd name="T62" fmla="*/ 224 w 1073"/>
                <a:gd name="T63" fmla="*/ 1533 h 1932"/>
                <a:gd name="T64" fmla="*/ 166 w 1073"/>
                <a:gd name="T65" fmla="*/ 1542 h 1932"/>
                <a:gd name="T66" fmla="*/ 205 w 1073"/>
                <a:gd name="T67" fmla="*/ 1464 h 1932"/>
                <a:gd name="T68" fmla="*/ 166 w 1073"/>
                <a:gd name="T69" fmla="*/ 1396 h 1932"/>
                <a:gd name="T70" fmla="*/ 166 w 1073"/>
                <a:gd name="T71" fmla="*/ 1299 h 1932"/>
                <a:gd name="T72" fmla="*/ 215 w 1073"/>
                <a:gd name="T73" fmla="*/ 1260 h 1932"/>
                <a:gd name="T74" fmla="*/ 156 w 1073"/>
                <a:gd name="T75" fmla="*/ 1172 h 1932"/>
                <a:gd name="T76" fmla="*/ 205 w 1073"/>
                <a:gd name="T77" fmla="*/ 1064 h 1932"/>
                <a:gd name="T78" fmla="*/ 136 w 1073"/>
                <a:gd name="T79" fmla="*/ 986 h 1932"/>
                <a:gd name="T80" fmla="*/ 0 w 1073"/>
                <a:gd name="T81" fmla="*/ 936 h 1932"/>
                <a:gd name="T82" fmla="*/ 10 w 1073"/>
                <a:gd name="T83" fmla="*/ 839 h 1932"/>
                <a:gd name="T84" fmla="*/ 97 w 1073"/>
                <a:gd name="T85" fmla="*/ 761 h 1932"/>
                <a:gd name="T86" fmla="*/ 117 w 1073"/>
                <a:gd name="T87" fmla="*/ 624 h 1932"/>
                <a:gd name="T88" fmla="*/ 136 w 1073"/>
                <a:gd name="T89" fmla="*/ 556 h 1932"/>
                <a:gd name="T90" fmla="*/ 185 w 1073"/>
                <a:gd name="T91" fmla="*/ 478 h 1932"/>
                <a:gd name="T92" fmla="*/ 156 w 1073"/>
                <a:gd name="T93" fmla="*/ 390 h 1932"/>
                <a:gd name="T94" fmla="*/ 136 w 1073"/>
                <a:gd name="T95" fmla="*/ 322 h 1932"/>
                <a:gd name="T96" fmla="*/ 107 w 1073"/>
                <a:gd name="T97" fmla="*/ 273 h 1932"/>
                <a:gd name="T98" fmla="*/ 97 w 1073"/>
                <a:gd name="T99" fmla="*/ 195 h 1932"/>
                <a:gd name="T100" fmla="*/ 88 w 1073"/>
                <a:gd name="T101" fmla="*/ 97 h 1932"/>
                <a:gd name="T102" fmla="*/ 127 w 1073"/>
                <a:gd name="T103" fmla="*/ 19 h 1932"/>
                <a:gd name="T104" fmla="*/ 215 w 1073"/>
                <a:gd name="T105" fmla="*/ 127 h 1932"/>
                <a:gd name="T106" fmla="*/ 283 w 1073"/>
                <a:gd name="T107" fmla="*/ 58 h 1932"/>
                <a:gd name="T108" fmla="*/ 439 w 1073"/>
                <a:gd name="T109" fmla="*/ 166 h 193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3"/>
                <a:gd name="T166" fmla="*/ 0 h 1932"/>
                <a:gd name="T167" fmla="*/ 1073 w 1073"/>
                <a:gd name="T168" fmla="*/ 1932 h 193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3" h="1932">
                  <a:moveTo>
                    <a:pt x="507" y="166"/>
                  </a:moveTo>
                  <a:lnTo>
                    <a:pt x="497" y="175"/>
                  </a:lnTo>
                  <a:lnTo>
                    <a:pt x="488" y="195"/>
                  </a:lnTo>
                  <a:lnTo>
                    <a:pt x="478" y="214"/>
                  </a:lnTo>
                  <a:lnTo>
                    <a:pt x="458" y="224"/>
                  </a:lnTo>
                  <a:lnTo>
                    <a:pt x="439" y="244"/>
                  </a:lnTo>
                  <a:lnTo>
                    <a:pt x="429" y="253"/>
                  </a:lnTo>
                  <a:lnTo>
                    <a:pt x="400" y="263"/>
                  </a:lnTo>
                  <a:lnTo>
                    <a:pt x="390" y="273"/>
                  </a:lnTo>
                  <a:lnTo>
                    <a:pt x="380" y="312"/>
                  </a:lnTo>
                  <a:lnTo>
                    <a:pt x="351" y="322"/>
                  </a:lnTo>
                  <a:lnTo>
                    <a:pt x="341" y="361"/>
                  </a:lnTo>
                  <a:lnTo>
                    <a:pt x="371" y="370"/>
                  </a:lnTo>
                  <a:lnTo>
                    <a:pt x="351" y="448"/>
                  </a:lnTo>
                  <a:lnTo>
                    <a:pt x="371" y="458"/>
                  </a:lnTo>
                  <a:lnTo>
                    <a:pt x="400" y="468"/>
                  </a:lnTo>
                  <a:lnTo>
                    <a:pt x="410" y="468"/>
                  </a:lnTo>
                  <a:lnTo>
                    <a:pt x="410" y="478"/>
                  </a:lnTo>
                  <a:lnTo>
                    <a:pt x="410" y="497"/>
                  </a:lnTo>
                  <a:lnTo>
                    <a:pt x="419" y="488"/>
                  </a:lnTo>
                  <a:lnTo>
                    <a:pt x="429" y="478"/>
                  </a:lnTo>
                  <a:lnTo>
                    <a:pt x="439" y="478"/>
                  </a:lnTo>
                  <a:lnTo>
                    <a:pt x="439" y="497"/>
                  </a:lnTo>
                  <a:lnTo>
                    <a:pt x="449" y="507"/>
                  </a:lnTo>
                  <a:lnTo>
                    <a:pt x="458" y="507"/>
                  </a:lnTo>
                  <a:lnTo>
                    <a:pt x="478" y="507"/>
                  </a:lnTo>
                  <a:lnTo>
                    <a:pt x="488" y="527"/>
                  </a:lnTo>
                  <a:lnTo>
                    <a:pt x="497" y="546"/>
                  </a:lnTo>
                  <a:lnTo>
                    <a:pt x="497" y="566"/>
                  </a:lnTo>
                  <a:lnTo>
                    <a:pt x="488" y="585"/>
                  </a:lnTo>
                  <a:lnTo>
                    <a:pt x="468" y="605"/>
                  </a:lnTo>
                  <a:lnTo>
                    <a:pt x="468" y="614"/>
                  </a:lnTo>
                  <a:lnTo>
                    <a:pt x="478" y="614"/>
                  </a:lnTo>
                  <a:lnTo>
                    <a:pt x="478" y="634"/>
                  </a:lnTo>
                  <a:lnTo>
                    <a:pt x="468" y="673"/>
                  </a:lnTo>
                  <a:lnTo>
                    <a:pt x="439" y="683"/>
                  </a:lnTo>
                  <a:lnTo>
                    <a:pt x="419" y="702"/>
                  </a:lnTo>
                  <a:lnTo>
                    <a:pt x="410" y="722"/>
                  </a:lnTo>
                  <a:lnTo>
                    <a:pt x="351" y="741"/>
                  </a:lnTo>
                  <a:lnTo>
                    <a:pt x="400" y="780"/>
                  </a:lnTo>
                  <a:lnTo>
                    <a:pt x="390" y="809"/>
                  </a:lnTo>
                  <a:lnTo>
                    <a:pt x="371" y="839"/>
                  </a:lnTo>
                  <a:lnTo>
                    <a:pt x="390" y="888"/>
                  </a:lnTo>
                  <a:lnTo>
                    <a:pt x="410" y="897"/>
                  </a:lnTo>
                  <a:lnTo>
                    <a:pt x="419" y="917"/>
                  </a:lnTo>
                  <a:lnTo>
                    <a:pt x="419" y="927"/>
                  </a:lnTo>
                  <a:lnTo>
                    <a:pt x="439" y="927"/>
                  </a:lnTo>
                  <a:lnTo>
                    <a:pt x="449" y="917"/>
                  </a:lnTo>
                  <a:lnTo>
                    <a:pt x="458" y="907"/>
                  </a:lnTo>
                  <a:lnTo>
                    <a:pt x="478" y="897"/>
                  </a:lnTo>
                  <a:lnTo>
                    <a:pt x="478" y="907"/>
                  </a:lnTo>
                  <a:lnTo>
                    <a:pt x="488" y="897"/>
                  </a:lnTo>
                  <a:lnTo>
                    <a:pt x="488" y="888"/>
                  </a:lnTo>
                  <a:lnTo>
                    <a:pt x="497" y="888"/>
                  </a:lnTo>
                  <a:lnTo>
                    <a:pt x="507" y="888"/>
                  </a:lnTo>
                  <a:lnTo>
                    <a:pt x="507" y="868"/>
                  </a:lnTo>
                  <a:lnTo>
                    <a:pt x="517" y="858"/>
                  </a:lnTo>
                  <a:lnTo>
                    <a:pt x="536" y="858"/>
                  </a:lnTo>
                  <a:lnTo>
                    <a:pt x="527" y="878"/>
                  </a:lnTo>
                  <a:lnTo>
                    <a:pt x="527" y="888"/>
                  </a:lnTo>
                  <a:lnTo>
                    <a:pt x="546" y="888"/>
                  </a:lnTo>
                  <a:lnTo>
                    <a:pt x="575" y="897"/>
                  </a:lnTo>
                  <a:lnTo>
                    <a:pt x="595" y="89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44" y="936"/>
                  </a:lnTo>
                  <a:lnTo>
                    <a:pt x="644" y="956"/>
                  </a:lnTo>
                  <a:lnTo>
                    <a:pt x="634" y="985"/>
                  </a:lnTo>
                  <a:lnTo>
                    <a:pt x="624" y="995"/>
                  </a:lnTo>
                  <a:lnTo>
                    <a:pt x="624" y="1053"/>
                  </a:lnTo>
                  <a:lnTo>
                    <a:pt x="624" y="1063"/>
                  </a:lnTo>
                  <a:lnTo>
                    <a:pt x="644" y="1053"/>
                  </a:lnTo>
                  <a:lnTo>
                    <a:pt x="653" y="1073"/>
                  </a:lnTo>
                  <a:lnTo>
                    <a:pt x="663" y="1063"/>
                  </a:lnTo>
                  <a:lnTo>
                    <a:pt x="683" y="1063"/>
                  </a:lnTo>
                  <a:lnTo>
                    <a:pt x="683" y="1073"/>
                  </a:lnTo>
                  <a:lnTo>
                    <a:pt x="732" y="1073"/>
                  </a:lnTo>
                  <a:lnTo>
                    <a:pt x="751" y="1063"/>
                  </a:lnTo>
                  <a:lnTo>
                    <a:pt x="761" y="1053"/>
                  </a:lnTo>
                  <a:lnTo>
                    <a:pt x="780" y="1053"/>
                  </a:lnTo>
                  <a:lnTo>
                    <a:pt x="800" y="1053"/>
                  </a:lnTo>
                  <a:lnTo>
                    <a:pt x="829" y="1053"/>
                  </a:lnTo>
                  <a:lnTo>
                    <a:pt x="858" y="1053"/>
                  </a:lnTo>
                  <a:lnTo>
                    <a:pt x="878" y="1044"/>
                  </a:lnTo>
                  <a:lnTo>
                    <a:pt x="888" y="1024"/>
                  </a:lnTo>
                  <a:lnTo>
                    <a:pt x="897" y="1024"/>
                  </a:lnTo>
                  <a:lnTo>
                    <a:pt x="936" y="1053"/>
                  </a:lnTo>
                  <a:lnTo>
                    <a:pt x="966" y="1053"/>
                  </a:lnTo>
                  <a:lnTo>
                    <a:pt x="995" y="1053"/>
                  </a:lnTo>
                  <a:lnTo>
                    <a:pt x="1024" y="1063"/>
                  </a:lnTo>
                  <a:lnTo>
                    <a:pt x="1034" y="1073"/>
                  </a:lnTo>
                  <a:lnTo>
                    <a:pt x="1053" y="1063"/>
                  </a:lnTo>
                  <a:lnTo>
                    <a:pt x="1063" y="1073"/>
                  </a:lnTo>
                  <a:lnTo>
                    <a:pt x="1063" y="1092"/>
                  </a:lnTo>
                  <a:lnTo>
                    <a:pt x="1053" y="1112"/>
                  </a:lnTo>
                  <a:lnTo>
                    <a:pt x="1073" y="1161"/>
                  </a:lnTo>
                  <a:lnTo>
                    <a:pt x="1063" y="1180"/>
                  </a:lnTo>
                  <a:lnTo>
                    <a:pt x="1034" y="1200"/>
                  </a:lnTo>
                  <a:lnTo>
                    <a:pt x="1024" y="1200"/>
                  </a:lnTo>
                  <a:lnTo>
                    <a:pt x="1005" y="1229"/>
                  </a:lnTo>
                  <a:lnTo>
                    <a:pt x="995" y="1229"/>
                  </a:lnTo>
                  <a:lnTo>
                    <a:pt x="985" y="1239"/>
                  </a:lnTo>
                  <a:lnTo>
                    <a:pt x="985" y="1249"/>
                  </a:lnTo>
                  <a:lnTo>
                    <a:pt x="985" y="1268"/>
                  </a:lnTo>
                  <a:lnTo>
                    <a:pt x="966" y="1268"/>
                  </a:lnTo>
                  <a:lnTo>
                    <a:pt x="975" y="1278"/>
                  </a:lnTo>
                  <a:lnTo>
                    <a:pt x="975" y="1297"/>
                  </a:lnTo>
                  <a:lnTo>
                    <a:pt x="985" y="1307"/>
                  </a:lnTo>
                  <a:lnTo>
                    <a:pt x="985" y="1317"/>
                  </a:lnTo>
                  <a:lnTo>
                    <a:pt x="975" y="1317"/>
                  </a:lnTo>
                  <a:lnTo>
                    <a:pt x="936" y="1307"/>
                  </a:lnTo>
                  <a:lnTo>
                    <a:pt x="936" y="1278"/>
                  </a:lnTo>
                  <a:lnTo>
                    <a:pt x="927" y="1278"/>
                  </a:lnTo>
                  <a:lnTo>
                    <a:pt x="927" y="1268"/>
                  </a:lnTo>
                  <a:lnTo>
                    <a:pt x="917" y="1249"/>
                  </a:lnTo>
                  <a:lnTo>
                    <a:pt x="897" y="1249"/>
                  </a:lnTo>
                  <a:lnTo>
                    <a:pt x="897" y="1258"/>
                  </a:lnTo>
                  <a:lnTo>
                    <a:pt x="878" y="1288"/>
                  </a:lnTo>
                  <a:lnTo>
                    <a:pt x="868" y="1297"/>
                  </a:lnTo>
                  <a:lnTo>
                    <a:pt x="839" y="1297"/>
                  </a:lnTo>
                  <a:lnTo>
                    <a:pt x="829" y="1288"/>
                  </a:lnTo>
                  <a:lnTo>
                    <a:pt x="790" y="1288"/>
                  </a:lnTo>
                  <a:lnTo>
                    <a:pt x="780" y="1297"/>
                  </a:lnTo>
                  <a:lnTo>
                    <a:pt x="771" y="1327"/>
                  </a:lnTo>
                  <a:lnTo>
                    <a:pt x="751" y="1366"/>
                  </a:lnTo>
                  <a:lnTo>
                    <a:pt x="761" y="1385"/>
                  </a:lnTo>
                  <a:lnTo>
                    <a:pt x="771" y="1395"/>
                  </a:lnTo>
                  <a:lnTo>
                    <a:pt x="771" y="1405"/>
                  </a:lnTo>
                  <a:lnTo>
                    <a:pt x="780" y="1414"/>
                  </a:lnTo>
                  <a:lnTo>
                    <a:pt x="771" y="1424"/>
                  </a:lnTo>
                  <a:lnTo>
                    <a:pt x="761" y="1424"/>
                  </a:lnTo>
                  <a:lnTo>
                    <a:pt x="751" y="1444"/>
                  </a:lnTo>
                  <a:lnTo>
                    <a:pt x="751" y="1453"/>
                  </a:lnTo>
                  <a:lnTo>
                    <a:pt x="751" y="1473"/>
                  </a:lnTo>
                  <a:lnTo>
                    <a:pt x="722" y="1473"/>
                  </a:lnTo>
                  <a:lnTo>
                    <a:pt x="712" y="1483"/>
                  </a:lnTo>
                  <a:lnTo>
                    <a:pt x="712" y="1502"/>
                  </a:lnTo>
                  <a:lnTo>
                    <a:pt x="692" y="1502"/>
                  </a:lnTo>
                  <a:lnTo>
                    <a:pt x="692" y="1531"/>
                  </a:lnTo>
                  <a:lnTo>
                    <a:pt x="692" y="1551"/>
                  </a:lnTo>
                  <a:lnTo>
                    <a:pt x="702" y="1561"/>
                  </a:lnTo>
                  <a:lnTo>
                    <a:pt x="702" y="1571"/>
                  </a:lnTo>
                  <a:lnTo>
                    <a:pt x="692" y="1571"/>
                  </a:lnTo>
                  <a:lnTo>
                    <a:pt x="692" y="1580"/>
                  </a:lnTo>
                  <a:lnTo>
                    <a:pt x="692" y="1600"/>
                  </a:lnTo>
                  <a:lnTo>
                    <a:pt x="692" y="1619"/>
                  </a:lnTo>
                  <a:lnTo>
                    <a:pt x="683" y="1639"/>
                  </a:lnTo>
                  <a:lnTo>
                    <a:pt x="673" y="1639"/>
                  </a:lnTo>
                  <a:lnTo>
                    <a:pt x="644" y="1629"/>
                  </a:lnTo>
                  <a:lnTo>
                    <a:pt x="634" y="1629"/>
                  </a:lnTo>
                  <a:lnTo>
                    <a:pt x="634" y="1639"/>
                  </a:lnTo>
                  <a:lnTo>
                    <a:pt x="634" y="1649"/>
                  </a:lnTo>
                  <a:lnTo>
                    <a:pt x="634" y="1658"/>
                  </a:lnTo>
                  <a:lnTo>
                    <a:pt x="614" y="1658"/>
                  </a:lnTo>
                  <a:lnTo>
                    <a:pt x="614" y="1678"/>
                  </a:lnTo>
                  <a:lnTo>
                    <a:pt x="653" y="1717"/>
                  </a:lnTo>
                  <a:lnTo>
                    <a:pt x="683" y="1746"/>
                  </a:lnTo>
                  <a:lnTo>
                    <a:pt x="683" y="1756"/>
                  </a:lnTo>
                  <a:lnTo>
                    <a:pt x="663" y="1766"/>
                  </a:lnTo>
                  <a:lnTo>
                    <a:pt x="644" y="1766"/>
                  </a:lnTo>
                  <a:lnTo>
                    <a:pt x="634" y="1775"/>
                  </a:lnTo>
                  <a:lnTo>
                    <a:pt x="624" y="1775"/>
                  </a:lnTo>
                  <a:lnTo>
                    <a:pt x="614" y="1766"/>
                  </a:lnTo>
                  <a:lnTo>
                    <a:pt x="595" y="1766"/>
                  </a:lnTo>
                  <a:lnTo>
                    <a:pt x="585" y="1775"/>
                  </a:lnTo>
                  <a:lnTo>
                    <a:pt x="566" y="1766"/>
                  </a:lnTo>
                  <a:lnTo>
                    <a:pt x="546" y="1775"/>
                  </a:lnTo>
                  <a:lnTo>
                    <a:pt x="536" y="1805"/>
                  </a:lnTo>
                  <a:lnTo>
                    <a:pt x="527" y="1814"/>
                  </a:lnTo>
                  <a:lnTo>
                    <a:pt x="517" y="1834"/>
                  </a:lnTo>
                  <a:lnTo>
                    <a:pt x="497" y="1834"/>
                  </a:lnTo>
                  <a:lnTo>
                    <a:pt x="488" y="1844"/>
                  </a:lnTo>
                  <a:lnTo>
                    <a:pt x="458" y="1863"/>
                  </a:lnTo>
                  <a:lnTo>
                    <a:pt x="458" y="1873"/>
                  </a:lnTo>
                  <a:lnTo>
                    <a:pt x="449" y="1892"/>
                  </a:lnTo>
                  <a:lnTo>
                    <a:pt x="419" y="1902"/>
                  </a:lnTo>
                  <a:lnTo>
                    <a:pt x="400" y="1902"/>
                  </a:lnTo>
                  <a:lnTo>
                    <a:pt x="371" y="1922"/>
                  </a:lnTo>
                  <a:lnTo>
                    <a:pt x="361" y="1932"/>
                  </a:lnTo>
                  <a:lnTo>
                    <a:pt x="341" y="1932"/>
                  </a:lnTo>
                  <a:lnTo>
                    <a:pt x="312" y="1922"/>
                  </a:lnTo>
                  <a:lnTo>
                    <a:pt x="293" y="1922"/>
                  </a:lnTo>
                  <a:lnTo>
                    <a:pt x="273" y="1912"/>
                  </a:lnTo>
                  <a:lnTo>
                    <a:pt x="254" y="1902"/>
                  </a:lnTo>
                  <a:lnTo>
                    <a:pt x="224" y="1902"/>
                  </a:lnTo>
                  <a:lnTo>
                    <a:pt x="215" y="1892"/>
                  </a:lnTo>
                  <a:lnTo>
                    <a:pt x="205" y="1873"/>
                  </a:lnTo>
                  <a:lnTo>
                    <a:pt x="205" y="1863"/>
                  </a:lnTo>
                  <a:lnTo>
                    <a:pt x="205" y="1853"/>
                  </a:lnTo>
                  <a:lnTo>
                    <a:pt x="224" y="1844"/>
                  </a:lnTo>
                  <a:lnTo>
                    <a:pt x="234" y="1834"/>
                  </a:lnTo>
                  <a:lnTo>
                    <a:pt x="254" y="1834"/>
                  </a:lnTo>
                  <a:lnTo>
                    <a:pt x="263" y="1824"/>
                  </a:lnTo>
                  <a:lnTo>
                    <a:pt x="283" y="1814"/>
                  </a:lnTo>
                  <a:lnTo>
                    <a:pt x="283" y="1805"/>
                  </a:lnTo>
                  <a:lnTo>
                    <a:pt x="293" y="1795"/>
                  </a:lnTo>
                  <a:lnTo>
                    <a:pt x="293" y="1775"/>
                  </a:lnTo>
                  <a:lnTo>
                    <a:pt x="312" y="1775"/>
                  </a:lnTo>
                  <a:lnTo>
                    <a:pt x="332" y="1766"/>
                  </a:lnTo>
                  <a:lnTo>
                    <a:pt x="332" y="1746"/>
                  </a:lnTo>
                  <a:lnTo>
                    <a:pt x="322" y="1746"/>
                  </a:lnTo>
                  <a:lnTo>
                    <a:pt x="312" y="1717"/>
                  </a:lnTo>
                  <a:lnTo>
                    <a:pt x="312" y="1707"/>
                  </a:lnTo>
                  <a:lnTo>
                    <a:pt x="322" y="1697"/>
                  </a:lnTo>
                  <a:lnTo>
                    <a:pt x="322" y="1668"/>
                  </a:lnTo>
                  <a:lnTo>
                    <a:pt x="332" y="1649"/>
                  </a:lnTo>
                  <a:lnTo>
                    <a:pt x="322" y="1639"/>
                  </a:lnTo>
                  <a:lnTo>
                    <a:pt x="322" y="1629"/>
                  </a:lnTo>
                  <a:lnTo>
                    <a:pt x="312" y="1610"/>
                  </a:lnTo>
                  <a:lnTo>
                    <a:pt x="302" y="1600"/>
                  </a:lnTo>
                  <a:lnTo>
                    <a:pt x="302" y="1590"/>
                  </a:lnTo>
                  <a:lnTo>
                    <a:pt x="312" y="1580"/>
                  </a:lnTo>
                  <a:lnTo>
                    <a:pt x="302" y="1580"/>
                  </a:lnTo>
                  <a:lnTo>
                    <a:pt x="293" y="1571"/>
                  </a:lnTo>
                  <a:lnTo>
                    <a:pt x="283" y="1561"/>
                  </a:lnTo>
                  <a:lnTo>
                    <a:pt x="283" y="1551"/>
                  </a:lnTo>
                  <a:lnTo>
                    <a:pt x="273" y="1551"/>
                  </a:lnTo>
                  <a:lnTo>
                    <a:pt x="254" y="1551"/>
                  </a:lnTo>
                  <a:lnTo>
                    <a:pt x="244" y="1551"/>
                  </a:lnTo>
                  <a:lnTo>
                    <a:pt x="234" y="1531"/>
                  </a:lnTo>
                  <a:lnTo>
                    <a:pt x="224" y="1522"/>
                  </a:lnTo>
                  <a:lnTo>
                    <a:pt x="215" y="1531"/>
                  </a:lnTo>
                  <a:lnTo>
                    <a:pt x="215" y="1541"/>
                  </a:lnTo>
                  <a:lnTo>
                    <a:pt x="215" y="1561"/>
                  </a:lnTo>
                  <a:lnTo>
                    <a:pt x="195" y="1551"/>
                  </a:lnTo>
                  <a:lnTo>
                    <a:pt x="176" y="1551"/>
                  </a:lnTo>
                  <a:lnTo>
                    <a:pt x="176" y="1541"/>
                  </a:lnTo>
                  <a:lnTo>
                    <a:pt x="166" y="1531"/>
                  </a:lnTo>
                  <a:lnTo>
                    <a:pt x="156" y="1531"/>
                  </a:lnTo>
                  <a:lnTo>
                    <a:pt x="156" y="1502"/>
                  </a:lnTo>
                  <a:lnTo>
                    <a:pt x="146" y="1492"/>
                  </a:lnTo>
                  <a:lnTo>
                    <a:pt x="156" y="1483"/>
                  </a:lnTo>
                  <a:lnTo>
                    <a:pt x="176" y="1463"/>
                  </a:lnTo>
                  <a:lnTo>
                    <a:pt x="185" y="1453"/>
                  </a:lnTo>
                  <a:lnTo>
                    <a:pt x="205" y="1453"/>
                  </a:lnTo>
                  <a:lnTo>
                    <a:pt x="205" y="1444"/>
                  </a:lnTo>
                  <a:lnTo>
                    <a:pt x="205" y="1434"/>
                  </a:lnTo>
                  <a:lnTo>
                    <a:pt x="195" y="1424"/>
                  </a:lnTo>
                  <a:lnTo>
                    <a:pt x="195" y="1414"/>
                  </a:lnTo>
                  <a:lnTo>
                    <a:pt x="195" y="1405"/>
                  </a:lnTo>
                  <a:lnTo>
                    <a:pt x="176" y="1395"/>
                  </a:lnTo>
                  <a:lnTo>
                    <a:pt x="166" y="1385"/>
                  </a:lnTo>
                  <a:lnTo>
                    <a:pt x="156" y="1366"/>
                  </a:lnTo>
                  <a:lnTo>
                    <a:pt x="156" y="1356"/>
                  </a:lnTo>
                  <a:lnTo>
                    <a:pt x="166" y="1346"/>
                  </a:lnTo>
                  <a:lnTo>
                    <a:pt x="166" y="1317"/>
                  </a:lnTo>
                  <a:lnTo>
                    <a:pt x="176" y="1307"/>
                  </a:lnTo>
                  <a:lnTo>
                    <a:pt x="176" y="1297"/>
                  </a:lnTo>
                  <a:lnTo>
                    <a:pt x="166" y="1288"/>
                  </a:lnTo>
                  <a:lnTo>
                    <a:pt x="176" y="1288"/>
                  </a:lnTo>
                  <a:lnTo>
                    <a:pt x="185" y="1288"/>
                  </a:lnTo>
                  <a:lnTo>
                    <a:pt x="185" y="1278"/>
                  </a:lnTo>
                  <a:lnTo>
                    <a:pt x="195" y="1268"/>
                  </a:lnTo>
                  <a:lnTo>
                    <a:pt x="195" y="1258"/>
                  </a:lnTo>
                  <a:lnTo>
                    <a:pt x="205" y="1258"/>
                  </a:lnTo>
                  <a:lnTo>
                    <a:pt x="215" y="1249"/>
                  </a:lnTo>
                  <a:lnTo>
                    <a:pt x="234" y="1229"/>
                  </a:lnTo>
                  <a:lnTo>
                    <a:pt x="224" y="1210"/>
                  </a:lnTo>
                  <a:lnTo>
                    <a:pt x="205" y="1190"/>
                  </a:lnTo>
                  <a:lnTo>
                    <a:pt x="195" y="1180"/>
                  </a:lnTo>
                  <a:lnTo>
                    <a:pt x="176" y="1170"/>
                  </a:lnTo>
                  <a:lnTo>
                    <a:pt x="156" y="1170"/>
                  </a:lnTo>
                  <a:lnTo>
                    <a:pt x="156" y="1161"/>
                  </a:lnTo>
                  <a:lnTo>
                    <a:pt x="156" y="1122"/>
                  </a:lnTo>
                  <a:lnTo>
                    <a:pt x="176" y="1112"/>
                  </a:lnTo>
                  <a:lnTo>
                    <a:pt x="195" y="1102"/>
                  </a:lnTo>
                  <a:lnTo>
                    <a:pt x="215" y="1092"/>
                  </a:lnTo>
                  <a:lnTo>
                    <a:pt x="215" y="1083"/>
                  </a:lnTo>
                  <a:lnTo>
                    <a:pt x="205" y="1073"/>
                  </a:lnTo>
                  <a:lnTo>
                    <a:pt x="205" y="1053"/>
                  </a:lnTo>
                  <a:lnTo>
                    <a:pt x="195" y="1044"/>
                  </a:lnTo>
                  <a:lnTo>
                    <a:pt x="185" y="1053"/>
                  </a:lnTo>
                  <a:lnTo>
                    <a:pt x="176" y="1053"/>
                  </a:lnTo>
                  <a:lnTo>
                    <a:pt x="156" y="1005"/>
                  </a:lnTo>
                  <a:lnTo>
                    <a:pt x="146" y="995"/>
                  </a:lnTo>
                  <a:lnTo>
                    <a:pt x="136" y="995"/>
                  </a:lnTo>
                  <a:lnTo>
                    <a:pt x="136" y="975"/>
                  </a:lnTo>
                  <a:lnTo>
                    <a:pt x="136" y="966"/>
                  </a:lnTo>
                  <a:lnTo>
                    <a:pt x="107" y="956"/>
                  </a:lnTo>
                  <a:lnTo>
                    <a:pt x="88" y="956"/>
                  </a:lnTo>
                  <a:lnTo>
                    <a:pt x="58" y="946"/>
                  </a:lnTo>
                  <a:lnTo>
                    <a:pt x="39" y="956"/>
                  </a:lnTo>
                  <a:lnTo>
                    <a:pt x="29" y="956"/>
                  </a:lnTo>
                  <a:lnTo>
                    <a:pt x="0" y="936"/>
                  </a:lnTo>
                  <a:lnTo>
                    <a:pt x="0" y="917"/>
                  </a:lnTo>
                  <a:lnTo>
                    <a:pt x="10" y="907"/>
                  </a:lnTo>
                  <a:lnTo>
                    <a:pt x="19" y="897"/>
                  </a:lnTo>
                  <a:lnTo>
                    <a:pt x="19" y="878"/>
                  </a:lnTo>
                  <a:lnTo>
                    <a:pt x="10" y="858"/>
                  </a:lnTo>
                  <a:lnTo>
                    <a:pt x="10" y="849"/>
                  </a:lnTo>
                  <a:lnTo>
                    <a:pt x="10" y="839"/>
                  </a:lnTo>
                  <a:lnTo>
                    <a:pt x="0" y="829"/>
                  </a:lnTo>
                  <a:lnTo>
                    <a:pt x="39" y="819"/>
                  </a:lnTo>
                  <a:lnTo>
                    <a:pt x="97" y="800"/>
                  </a:lnTo>
                  <a:lnTo>
                    <a:pt x="97" y="790"/>
                  </a:lnTo>
                  <a:lnTo>
                    <a:pt x="107" y="780"/>
                  </a:lnTo>
                  <a:lnTo>
                    <a:pt x="107" y="761"/>
                  </a:lnTo>
                  <a:lnTo>
                    <a:pt x="97" y="761"/>
                  </a:lnTo>
                  <a:lnTo>
                    <a:pt x="78" y="751"/>
                  </a:lnTo>
                  <a:lnTo>
                    <a:pt x="58" y="731"/>
                  </a:lnTo>
                  <a:lnTo>
                    <a:pt x="49" y="712"/>
                  </a:lnTo>
                  <a:lnTo>
                    <a:pt x="78" y="663"/>
                  </a:lnTo>
                  <a:lnTo>
                    <a:pt x="97" y="644"/>
                  </a:lnTo>
                  <a:lnTo>
                    <a:pt x="97" y="634"/>
                  </a:lnTo>
                  <a:lnTo>
                    <a:pt x="117" y="624"/>
                  </a:lnTo>
                  <a:lnTo>
                    <a:pt x="136" y="624"/>
                  </a:lnTo>
                  <a:lnTo>
                    <a:pt x="146" y="614"/>
                  </a:lnTo>
                  <a:lnTo>
                    <a:pt x="136" y="595"/>
                  </a:lnTo>
                  <a:lnTo>
                    <a:pt x="146" y="585"/>
                  </a:lnTo>
                  <a:lnTo>
                    <a:pt x="146" y="575"/>
                  </a:lnTo>
                  <a:lnTo>
                    <a:pt x="136" y="566"/>
                  </a:lnTo>
                  <a:lnTo>
                    <a:pt x="136" y="556"/>
                  </a:lnTo>
                  <a:lnTo>
                    <a:pt x="127" y="546"/>
                  </a:lnTo>
                  <a:lnTo>
                    <a:pt x="127" y="527"/>
                  </a:lnTo>
                  <a:lnTo>
                    <a:pt x="136" y="507"/>
                  </a:lnTo>
                  <a:lnTo>
                    <a:pt x="156" y="497"/>
                  </a:lnTo>
                  <a:lnTo>
                    <a:pt x="176" y="497"/>
                  </a:lnTo>
                  <a:lnTo>
                    <a:pt x="185" y="478"/>
                  </a:lnTo>
                  <a:lnTo>
                    <a:pt x="185" y="448"/>
                  </a:lnTo>
                  <a:lnTo>
                    <a:pt x="185" y="419"/>
                  </a:lnTo>
                  <a:lnTo>
                    <a:pt x="185" y="400"/>
                  </a:lnTo>
                  <a:lnTo>
                    <a:pt x="176" y="400"/>
                  </a:lnTo>
                  <a:lnTo>
                    <a:pt x="156" y="409"/>
                  </a:lnTo>
                  <a:lnTo>
                    <a:pt x="146" y="400"/>
                  </a:lnTo>
                  <a:lnTo>
                    <a:pt x="156" y="390"/>
                  </a:lnTo>
                  <a:lnTo>
                    <a:pt x="146" y="380"/>
                  </a:lnTo>
                  <a:lnTo>
                    <a:pt x="127" y="370"/>
                  </a:lnTo>
                  <a:lnTo>
                    <a:pt x="117" y="361"/>
                  </a:lnTo>
                  <a:lnTo>
                    <a:pt x="127" y="361"/>
                  </a:lnTo>
                  <a:lnTo>
                    <a:pt x="136" y="351"/>
                  </a:lnTo>
                  <a:lnTo>
                    <a:pt x="136" y="322"/>
                  </a:lnTo>
                  <a:lnTo>
                    <a:pt x="136" y="312"/>
                  </a:lnTo>
                  <a:lnTo>
                    <a:pt x="146" y="302"/>
                  </a:lnTo>
                  <a:lnTo>
                    <a:pt x="136" y="292"/>
                  </a:lnTo>
                  <a:lnTo>
                    <a:pt x="127" y="283"/>
                  </a:lnTo>
                  <a:lnTo>
                    <a:pt x="117" y="283"/>
                  </a:lnTo>
                  <a:lnTo>
                    <a:pt x="107" y="283"/>
                  </a:lnTo>
                  <a:lnTo>
                    <a:pt x="107" y="273"/>
                  </a:lnTo>
                  <a:lnTo>
                    <a:pt x="107" y="253"/>
                  </a:lnTo>
                  <a:lnTo>
                    <a:pt x="97" y="253"/>
                  </a:lnTo>
                  <a:lnTo>
                    <a:pt x="97" y="234"/>
                  </a:lnTo>
                  <a:lnTo>
                    <a:pt x="117" y="234"/>
                  </a:lnTo>
                  <a:lnTo>
                    <a:pt x="117" y="224"/>
                  </a:lnTo>
                  <a:lnTo>
                    <a:pt x="107" y="214"/>
                  </a:lnTo>
                  <a:lnTo>
                    <a:pt x="97" y="195"/>
                  </a:lnTo>
                  <a:lnTo>
                    <a:pt x="107" y="175"/>
                  </a:lnTo>
                  <a:lnTo>
                    <a:pt x="117" y="166"/>
                  </a:lnTo>
                  <a:lnTo>
                    <a:pt x="117" y="156"/>
                  </a:lnTo>
                  <a:lnTo>
                    <a:pt x="97" y="127"/>
                  </a:lnTo>
                  <a:lnTo>
                    <a:pt x="88" y="107"/>
                  </a:lnTo>
                  <a:lnTo>
                    <a:pt x="88" y="97"/>
                  </a:lnTo>
                  <a:lnTo>
                    <a:pt x="97" y="78"/>
                  </a:lnTo>
                  <a:lnTo>
                    <a:pt x="97" y="58"/>
                  </a:lnTo>
                  <a:lnTo>
                    <a:pt x="97" y="39"/>
                  </a:lnTo>
                  <a:lnTo>
                    <a:pt x="97" y="19"/>
                  </a:lnTo>
                  <a:lnTo>
                    <a:pt x="117" y="29"/>
                  </a:lnTo>
                  <a:lnTo>
                    <a:pt x="127" y="19"/>
                  </a:lnTo>
                  <a:lnTo>
                    <a:pt x="166" y="0"/>
                  </a:lnTo>
                  <a:lnTo>
                    <a:pt x="176" y="19"/>
                  </a:lnTo>
                  <a:lnTo>
                    <a:pt x="156" y="29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95" y="117"/>
                  </a:lnTo>
                  <a:lnTo>
                    <a:pt x="215" y="127"/>
                  </a:lnTo>
                  <a:lnTo>
                    <a:pt x="215" y="107"/>
                  </a:lnTo>
                  <a:lnTo>
                    <a:pt x="244" y="107"/>
                  </a:lnTo>
                  <a:lnTo>
                    <a:pt x="244" y="97"/>
                  </a:lnTo>
                  <a:lnTo>
                    <a:pt x="244" y="78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58"/>
                  </a:lnTo>
                  <a:lnTo>
                    <a:pt x="312" y="58"/>
                  </a:lnTo>
                  <a:lnTo>
                    <a:pt x="312" y="87"/>
                  </a:lnTo>
                  <a:lnTo>
                    <a:pt x="341" y="146"/>
                  </a:lnTo>
                  <a:lnTo>
                    <a:pt x="371" y="146"/>
                  </a:lnTo>
                  <a:lnTo>
                    <a:pt x="410" y="156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68" y="166"/>
                  </a:lnTo>
                  <a:lnTo>
                    <a:pt x="507" y="166"/>
                  </a:lnTo>
                  <a:close/>
                </a:path>
              </a:pathLst>
            </a:custGeom>
            <a:solidFill>
              <a:srgbClr val="F21C0A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1" name="Freeform 119"/>
            <p:cNvSpPr>
              <a:spLocks/>
            </p:cNvSpPr>
            <p:nvPr/>
          </p:nvSpPr>
          <p:spPr bwMode="auto">
            <a:xfrm>
              <a:off x="5062" y="2605"/>
              <a:ext cx="1441" cy="1464"/>
            </a:xfrm>
            <a:custGeom>
              <a:avLst/>
              <a:gdLst>
                <a:gd name="T0" fmla="*/ 20 w 1444"/>
                <a:gd name="T1" fmla="*/ 1103 h 1464"/>
                <a:gd name="T2" fmla="*/ 78 w 1444"/>
                <a:gd name="T3" fmla="*/ 1073 h 1464"/>
                <a:gd name="T4" fmla="*/ 88 w 1444"/>
                <a:gd name="T5" fmla="*/ 1005 h 1464"/>
                <a:gd name="T6" fmla="*/ 137 w 1444"/>
                <a:gd name="T7" fmla="*/ 927 h 1464"/>
                <a:gd name="T8" fmla="*/ 157 w 1444"/>
                <a:gd name="T9" fmla="*/ 859 h 1464"/>
                <a:gd name="T10" fmla="*/ 186 w 1444"/>
                <a:gd name="T11" fmla="*/ 742 h 1464"/>
                <a:gd name="T12" fmla="*/ 293 w 1444"/>
                <a:gd name="T13" fmla="*/ 703 h 1464"/>
                <a:gd name="T14" fmla="*/ 361 w 1444"/>
                <a:gd name="T15" fmla="*/ 781 h 1464"/>
                <a:gd name="T16" fmla="*/ 371 w 1444"/>
                <a:gd name="T17" fmla="*/ 732 h 1464"/>
                <a:gd name="T18" fmla="*/ 420 w 1444"/>
                <a:gd name="T19" fmla="*/ 654 h 1464"/>
                <a:gd name="T20" fmla="*/ 547 w 1444"/>
                <a:gd name="T21" fmla="*/ 624 h 1464"/>
                <a:gd name="T22" fmla="*/ 625 w 1444"/>
                <a:gd name="T23" fmla="*/ 585 h 1464"/>
                <a:gd name="T24" fmla="*/ 586 w 1444"/>
                <a:gd name="T25" fmla="*/ 507 h 1464"/>
                <a:gd name="T26" fmla="*/ 586 w 1444"/>
                <a:gd name="T27" fmla="*/ 449 h 1464"/>
                <a:gd name="T28" fmla="*/ 566 w 1444"/>
                <a:gd name="T29" fmla="*/ 361 h 1464"/>
                <a:gd name="T30" fmla="*/ 634 w 1444"/>
                <a:gd name="T31" fmla="*/ 293 h 1464"/>
                <a:gd name="T32" fmla="*/ 654 w 1444"/>
                <a:gd name="T33" fmla="*/ 146 h 1464"/>
                <a:gd name="T34" fmla="*/ 654 w 1444"/>
                <a:gd name="T35" fmla="*/ 88 h 1464"/>
                <a:gd name="T36" fmla="*/ 644 w 1444"/>
                <a:gd name="T37" fmla="*/ 10 h 1464"/>
                <a:gd name="T38" fmla="*/ 741 w 1444"/>
                <a:gd name="T39" fmla="*/ 20 h 1464"/>
                <a:gd name="T40" fmla="*/ 760 w 1444"/>
                <a:gd name="T41" fmla="*/ 59 h 1464"/>
                <a:gd name="T42" fmla="*/ 799 w 1444"/>
                <a:gd name="T43" fmla="*/ 176 h 1464"/>
                <a:gd name="T44" fmla="*/ 828 w 1444"/>
                <a:gd name="T45" fmla="*/ 254 h 1464"/>
                <a:gd name="T46" fmla="*/ 877 w 1444"/>
                <a:gd name="T47" fmla="*/ 312 h 1464"/>
                <a:gd name="T48" fmla="*/ 887 w 1444"/>
                <a:gd name="T49" fmla="*/ 371 h 1464"/>
                <a:gd name="T50" fmla="*/ 858 w 1444"/>
                <a:gd name="T51" fmla="*/ 537 h 1464"/>
                <a:gd name="T52" fmla="*/ 965 w 1444"/>
                <a:gd name="T53" fmla="*/ 527 h 1464"/>
                <a:gd name="T54" fmla="*/ 1043 w 1444"/>
                <a:gd name="T55" fmla="*/ 517 h 1464"/>
                <a:gd name="T56" fmla="*/ 1092 w 1444"/>
                <a:gd name="T57" fmla="*/ 468 h 1464"/>
                <a:gd name="T58" fmla="*/ 1189 w 1444"/>
                <a:gd name="T59" fmla="*/ 322 h 1464"/>
                <a:gd name="T60" fmla="*/ 1277 w 1444"/>
                <a:gd name="T61" fmla="*/ 381 h 1464"/>
                <a:gd name="T62" fmla="*/ 1336 w 1444"/>
                <a:gd name="T63" fmla="*/ 400 h 1464"/>
                <a:gd name="T64" fmla="*/ 1404 w 1444"/>
                <a:gd name="T65" fmla="*/ 429 h 1464"/>
                <a:gd name="T66" fmla="*/ 1423 w 1444"/>
                <a:gd name="T67" fmla="*/ 527 h 1464"/>
                <a:gd name="T68" fmla="*/ 1345 w 1444"/>
                <a:gd name="T69" fmla="*/ 546 h 1464"/>
                <a:gd name="T70" fmla="*/ 1355 w 1444"/>
                <a:gd name="T71" fmla="*/ 624 h 1464"/>
                <a:gd name="T72" fmla="*/ 1384 w 1444"/>
                <a:gd name="T73" fmla="*/ 664 h 1464"/>
                <a:gd name="T74" fmla="*/ 1355 w 1444"/>
                <a:gd name="T75" fmla="*/ 712 h 1464"/>
                <a:gd name="T76" fmla="*/ 1277 w 1444"/>
                <a:gd name="T77" fmla="*/ 673 h 1464"/>
                <a:gd name="T78" fmla="*/ 1228 w 1444"/>
                <a:gd name="T79" fmla="*/ 751 h 1464"/>
                <a:gd name="T80" fmla="*/ 1082 w 1444"/>
                <a:gd name="T81" fmla="*/ 761 h 1464"/>
                <a:gd name="T82" fmla="*/ 994 w 1444"/>
                <a:gd name="T83" fmla="*/ 790 h 1464"/>
                <a:gd name="T84" fmla="*/ 887 w 1444"/>
                <a:gd name="T85" fmla="*/ 820 h 1464"/>
                <a:gd name="T86" fmla="*/ 887 w 1444"/>
                <a:gd name="T87" fmla="*/ 898 h 1464"/>
                <a:gd name="T88" fmla="*/ 887 w 1444"/>
                <a:gd name="T89" fmla="*/ 1054 h 1464"/>
                <a:gd name="T90" fmla="*/ 838 w 1444"/>
                <a:gd name="T91" fmla="*/ 1259 h 1464"/>
                <a:gd name="T92" fmla="*/ 722 w 1444"/>
                <a:gd name="T93" fmla="*/ 1229 h 1464"/>
                <a:gd name="T94" fmla="*/ 634 w 1444"/>
                <a:gd name="T95" fmla="*/ 1229 h 1464"/>
                <a:gd name="T96" fmla="*/ 498 w 1444"/>
                <a:gd name="T97" fmla="*/ 1171 h 1464"/>
                <a:gd name="T98" fmla="*/ 459 w 1444"/>
                <a:gd name="T99" fmla="*/ 1239 h 1464"/>
                <a:gd name="T100" fmla="*/ 566 w 1444"/>
                <a:gd name="T101" fmla="*/ 1278 h 1464"/>
                <a:gd name="T102" fmla="*/ 741 w 1444"/>
                <a:gd name="T103" fmla="*/ 1337 h 1464"/>
                <a:gd name="T104" fmla="*/ 605 w 1444"/>
                <a:gd name="T105" fmla="*/ 1454 h 1464"/>
                <a:gd name="T106" fmla="*/ 537 w 1444"/>
                <a:gd name="T107" fmla="*/ 1434 h 1464"/>
                <a:gd name="T108" fmla="*/ 488 w 1444"/>
                <a:gd name="T109" fmla="*/ 1366 h 1464"/>
                <a:gd name="T110" fmla="*/ 400 w 1444"/>
                <a:gd name="T111" fmla="*/ 1317 h 1464"/>
                <a:gd name="T112" fmla="*/ 322 w 1444"/>
                <a:gd name="T113" fmla="*/ 1239 h 1464"/>
                <a:gd name="T114" fmla="*/ 235 w 1444"/>
                <a:gd name="T115" fmla="*/ 1268 h 1464"/>
                <a:gd name="T116" fmla="*/ 166 w 1444"/>
                <a:gd name="T117" fmla="*/ 1259 h 1464"/>
                <a:gd name="T118" fmla="*/ 69 w 1444"/>
                <a:gd name="T119" fmla="*/ 1200 h 14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44"/>
                <a:gd name="T181" fmla="*/ 0 h 1464"/>
                <a:gd name="T182" fmla="*/ 1444 w 1444"/>
                <a:gd name="T183" fmla="*/ 1464 h 14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44" h="1464">
                  <a:moveTo>
                    <a:pt x="69" y="1200"/>
                  </a:moveTo>
                  <a:lnTo>
                    <a:pt x="39" y="1171"/>
                  </a:lnTo>
                  <a:lnTo>
                    <a:pt x="0" y="1132"/>
                  </a:lnTo>
                  <a:lnTo>
                    <a:pt x="0" y="1112"/>
                  </a:lnTo>
                  <a:lnTo>
                    <a:pt x="20" y="1112"/>
                  </a:lnTo>
                  <a:lnTo>
                    <a:pt x="20" y="1103"/>
                  </a:lnTo>
                  <a:lnTo>
                    <a:pt x="20" y="1093"/>
                  </a:lnTo>
                  <a:lnTo>
                    <a:pt x="20" y="1083"/>
                  </a:lnTo>
                  <a:lnTo>
                    <a:pt x="39" y="1083"/>
                  </a:lnTo>
                  <a:lnTo>
                    <a:pt x="59" y="1093"/>
                  </a:lnTo>
                  <a:lnTo>
                    <a:pt x="69" y="1093"/>
                  </a:lnTo>
                  <a:lnTo>
                    <a:pt x="78" y="1073"/>
                  </a:lnTo>
                  <a:lnTo>
                    <a:pt x="78" y="1054"/>
                  </a:lnTo>
                  <a:lnTo>
                    <a:pt x="78" y="1034"/>
                  </a:lnTo>
                  <a:lnTo>
                    <a:pt x="78" y="1025"/>
                  </a:lnTo>
                  <a:lnTo>
                    <a:pt x="88" y="1025"/>
                  </a:lnTo>
                  <a:lnTo>
                    <a:pt x="88" y="1015"/>
                  </a:lnTo>
                  <a:lnTo>
                    <a:pt x="88" y="1005"/>
                  </a:lnTo>
                  <a:lnTo>
                    <a:pt x="88" y="985"/>
                  </a:lnTo>
                  <a:lnTo>
                    <a:pt x="88" y="956"/>
                  </a:lnTo>
                  <a:lnTo>
                    <a:pt x="98" y="956"/>
                  </a:lnTo>
                  <a:lnTo>
                    <a:pt x="98" y="937"/>
                  </a:lnTo>
                  <a:lnTo>
                    <a:pt x="108" y="927"/>
                  </a:lnTo>
                  <a:lnTo>
                    <a:pt x="137" y="927"/>
                  </a:lnTo>
                  <a:lnTo>
                    <a:pt x="137" y="917"/>
                  </a:lnTo>
                  <a:lnTo>
                    <a:pt x="147" y="898"/>
                  </a:lnTo>
                  <a:lnTo>
                    <a:pt x="147" y="878"/>
                  </a:lnTo>
                  <a:lnTo>
                    <a:pt x="157" y="878"/>
                  </a:lnTo>
                  <a:lnTo>
                    <a:pt x="166" y="868"/>
                  </a:lnTo>
                  <a:lnTo>
                    <a:pt x="157" y="859"/>
                  </a:lnTo>
                  <a:lnTo>
                    <a:pt x="157" y="849"/>
                  </a:lnTo>
                  <a:lnTo>
                    <a:pt x="147" y="839"/>
                  </a:lnTo>
                  <a:lnTo>
                    <a:pt x="137" y="820"/>
                  </a:lnTo>
                  <a:lnTo>
                    <a:pt x="157" y="781"/>
                  </a:lnTo>
                  <a:lnTo>
                    <a:pt x="166" y="751"/>
                  </a:lnTo>
                  <a:lnTo>
                    <a:pt x="186" y="742"/>
                  </a:lnTo>
                  <a:lnTo>
                    <a:pt x="215" y="742"/>
                  </a:lnTo>
                  <a:lnTo>
                    <a:pt x="235" y="751"/>
                  </a:lnTo>
                  <a:lnTo>
                    <a:pt x="254" y="751"/>
                  </a:lnTo>
                  <a:lnTo>
                    <a:pt x="264" y="742"/>
                  </a:lnTo>
                  <a:lnTo>
                    <a:pt x="283" y="712"/>
                  </a:lnTo>
                  <a:lnTo>
                    <a:pt x="293" y="703"/>
                  </a:lnTo>
                  <a:lnTo>
                    <a:pt x="303" y="703"/>
                  </a:lnTo>
                  <a:lnTo>
                    <a:pt x="313" y="732"/>
                  </a:lnTo>
                  <a:lnTo>
                    <a:pt x="332" y="732"/>
                  </a:lnTo>
                  <a:lnTo>
                    <a:pt x="332" y="761"/>
                  </a:lnTo>
                  <a:lnTo>
                    <a:pt x="361" y="781"/>
                  </a:lnTo>
                  <a:lnTo>
                    <a:pt x="371" y="771"/>
                  </a:lnTo>
                  <a:lnTo>
                    <a:pt x="371" y="761"/>
                  </a:lnTo>
                  <a:lnTo>
                    <a:pt x="361" y="751"/>
                  </a:lnTo>
                  <a:lnTo>
                    <a:pt x="361" y="732"/>
                  </a:lnTo>
                  <a:lnTo>
                    <a:pt x="352" y="732"/>
                  </a:lnTo>
                  <a:lnTo>
                    <a:pt x="371" y="732"/>
                  </a:lnTo>
                  <a:lnTo>
                    <a:pt x="371" y="703"/>
                  </a:lnTo>
                  <a:lnTo>
                    <a:pt x="371" y="693"/>
                  </a:lnTo>
                  <a:lnTo>
                    <a:pt x="381" y="683"/>
                  </a:lnTo>
                  <a:lnTo>
                    <a:pt x="400" y="683"/>
                  </a:lnTo>
                  <a:lnTo>
                    <a:pt x="410" y="654"/>
                  </a:lnTo>
                  <a:lnTo>
                    <a:pt x="420" y="654"/>
                  </a:lnTo>
                  <a:lnTo>
                    <a:pt x="449" y="634"/>
                  </a:lnTo>
                  <a:lnTo>
                    <a:pt x="459" y="615"/>
                  </a:lnTo>
                  <a:lnTo>
                    <a:pt x="488" y="585"/>
                  </a:lnTo>
                  <a:lnTo>
                    <a:pt x="508" y="605"/>
                  </a:lnTo>
                  <a:lnTo>
                    <a:pt x="537" y="605"/>
                  </a:lnTo>
                  <a:lnTo>
                    <a:pt x="547" y="624"/>
                  </a:lnTo>
                  <a:lnTo>
                    <a:pt x="566" y="624"/>
                  </a:lnTo>
                  <a:lnTo>
                    <a:pt x="586" y="644"/>
                  </a:lnTo>
                  <a:lnTo>
                    <a:pt x="595" y="634"/>
                  </a:lnTo>
                  <a:lnTo>
                    <a:pt x="595" y="615"/>
                  </a:lnTo>
                  <a:lnTo>
                    <a:pt x="595" y="605"/>
                  </a:lnTo>
                  <a:lnTo>
                    <a:pt x="625" y="585"/>
                  </a:lnTo>
                  <a:lnTo>
                    <a:pt x="625" y="566"/>
                  </a:lnTo>
                  <a:lnTo>
                    <a:pt x="615" y="556"/>
                  </a:lnTo>
                  <a:lnTo>
                    <a:pt x="615" y="546"/>
                  </a:lnTo>
                  <a:lnTo>
                    <a:pt x="595" y="537"/>
                  </a:lnTo>
                  <a:lnTo>
                    <a:pt x="586" y="527"/>
                  </a:lnTo>
                  <a:lnTo>
                    <a:pt x="586" y="507"/>
                  </a:lnTo>
                  <a:lnTo>
                    <a:pt x="605" y="498"/>
                  </a:lnTo>
                  <a:lnTo>
                    <a:pt x="625" y="488"/>
                  </a:lnTo>
                  <a:lnTo>
                    <a:pt x="625" y="468"/>
                  </a:lnTo>
                  <a:lnTo>
                    <a:pt x="615" y="449"/>
                  </a:lnTo>
                  <a:lnTo>
                    <a:pt x="605" y="449"/>
                  </a:lnTo>
                  <a:lnTo>
                    <a:pt x="586" y="449"/>
                  </a:lnTo>
                  <a:lnTo>
                    <a:pt x="566" y="420"/>
                  </a:lnTo>
                  <a:lnTo>
                    <a:pt x="566" y="400"/>
                  </a:lnTo>
                  <a:lnTo>
                    <a:pt x="576" y="390"/>
                  </a:lnTo>
                  <a:lnTo>
                    <a:pt x="576" y="381"/>
                  </a:lnTo>
                  <a:lnTo>
                    <a:pt x="566" y="381"/>
                  </a:lnTo>
                  <a:lnTo>
                    <a:pt x="566" y="361"/>
                  </a:lnTo>
                  <a:lnTo>
                    <a:pt x="576" y="351"/>
                  </a:lnTo>
                  <a:lnTo>
                    <a:pt x="576" y="332"/>
                  </a:lnTo>
                  <a:lnTo>
                    <a:pt x="576" y="322"/>
                  </a:lnTo>
                  <a:lnTo>
                    <a:pt x="586" y="322"/>
                  </a:lnTo>
                  <a:lnTo>
                    <a:pt x="605" y="312"/>
                  </a:lnTo>
                  <a:lnTo>
                    <a:pt x="634" y="293"/>
                  </a:lnTo>
                  <a:lnTo>
                    <a:pt x="625" y="263"/>
                  </a:lnTo>
                  <a:lnTo>
                    <a:pt x="634" y="254"/>
                  </a:lnTo>
                  <a:lnTo>
                    <a:pt x="654" y="234"/>
                  </a:lnTo>
                  <a:lnTo>
                    <a:pt x="654" y="195"/>
                  </a:lnTo>
                  <a:lnTo>
                    <a:pt x="664" y="176"/>
                  </a:lnTo>
                  <a:lnTo>
                    <a:pt x="654" y="146"/>
                  </a:lnTo>
                  <a:lnTo>
                    <a:pt x="634" y="137"/>
                  </a:lnTo>
                  <a:lnTo>
                    <a:pt x="634" y="127"/>
                  </a:lnTo>
                  <a:lnTo>
                    <a:pt x="644" y="117"/>
                  </a:lnTo>
                  <a:lnTo>
                    <a:pt x="644" y="98"/>
                  </a:lnTo>
                  <a:lnTo>
                    <a:pt x="644" y="78"/>
                  </a:lnTo>
                  <a:lnTo>
                    <a:pt x="654" y="88"/>
                  </a:lnTo>
                  <a:lnTo>
                    <a:pt x="664" y="78"/>
                  </a:lnTo>
                  <a:lnTo>
                    <a:pt x="644" y="59"/>
                  </a:lnTo>
                  <a:lnTo>
                    <a:pt x="644" y="29"/>
                  </a:lnTo>
                  <a:lnTo>
                    <a:pt x="634" y="20"/>
                  </a:lnTo>
                  <a:lnTo>
                    <a:pt x="634" y="10"/>
                  </a:lnTo>
                  <a:lnTo>
                    <a:pt x="644" y="10"/>
                  </a:lnTo>
                  <a:lnTo>
                    <a:pt x="654" y="20"/>
                  </a:lnTo>
                  <a:lnTo>
                    <a:pt x="673" y="20"/>
                  </a:lnTo>
                  <a:lnTo>
                    <a:pt x="683" y="20"/>
                  </a:lnTo>
                  <a:lnTo>
                    <a:pt x="703" y="0"/>
                  </a:lnTo>
                  <a:lnTo>
                    <a:pt x="752" y="10"/>
                  </a:lnTo>
                  <a:lnTo>
                    <a:pt x="752" y="20"/>
                  </a:lnTo>
                  <a:lnTo>
                    <a:pt x="742" y="20"/>
                  </a:lnTo>
                  <a:lnTo>
                    <a:pt x="732" y="29"/>
                  </a:lnTo>
                  <a:lnTo>
                    <a:pt x="722" y="39"/>
                  </a:lnTo>
                  <a:lnTo>
                    <a:pt x="722" y="49"/>
                  </a:lnTo>
                  <a:lnTo>
                    <a:pt x="742" y="59"/>
                  </a:lnTo>
                  <a:lnTo>
                    <a:pt x="771" y="59"/>
                  </a:lnTo>
                  <a:lnTo>
                    <a:pt x="791" y="68"/>
                  </a:lnTo>
                  <a:lnTo>
                    <a:pt x="800" y="88"/>
                  </a:lnTo>
                  <a:lnTo>
                    <a:pt x="820" y="127"/>
                  </a:lnTo>
                  <a:lnTo>
                    <a:pt x="810" y="146"/>
                  </a:lnTo>
                  <a:lnTo>
                    <a:pt x="800" y="156"/>
                  </a:lnTo>
                  <a:lnTo>
                    <a:pt x="810" y="176"/>
                  </a:lnTo>
                  <a:lnTo>
                    <a:pt x="830" y="176"/>
                  </a:lnTo>
                  <a:lnTo>
                    <a:pt x="839" y="176"/>
                  </a:lnTo>
                  <a:lnTo>
                    <a:pt x="839" y="224"/>
                  </a:lnTo>
                  <a:lnTo>
                    <a:pt x="839" y="234"/>
                  </a:lnTo>
                  <a:lnTo>
                    <a:pt x="839" y="254"/>
                  </a:lnTo>
                  <a:lnTo>
                    <a:pt x="839" y="263"/>
                  </a:lnTo>
                  <a:lnTo>
                    <a:pt x="849" y="263"/>
                  </a:lnTo>
                  <a:lnTo>
                    <a:pt x="849" y="273"/>
                  </a:lnTo>
                  <a:lnTo>
                    <a:pt x="849" y="293"/>
                  </a:lnTo>
                  <a:lnTo>
                    <a:pt x="859" y="303"/>
                  </a:lnTo>
                  <a:lnTo>
                    <a:pt x="888" y="312"/>
                  </a:lnTo>
                  <a:lnTo>
                    <a:pt x="898" y="322"/>
                  </a:lnTo>
                  <a:lnTo>
                    <a:pt x="898" y="332"/>
                  </a:lnTo>
                  <a:lnTo>
                    <a:pt x="898" y="342"/>
                  </a:lnTo>
                  <a:lnTo>
                    <a:pt x="888" y="351"/>
                  </a:lnTo>
                  <a:lnTo>
                    <a:pt x="898" y="361"/>
                  </a:lnTo>
                  <a:lnTo>
                    <a:pt x="898" y="371"/>
                  </a:lnTo>
                  <a:lnTo>
                    <a:pt x="878" y="371"/>
                  </a:lnTo>
                  <a:lnTo>
                    <a:pt x="869" y="429"/>
                  </a:lnTo>
                  <a:lnTo>
                    <a:pt x="869" y="478"/>
                  </a:lnTo>
                  <a:lnTo>
                    <a:pt x="859" y="507"/>
                  </a:lnTo>
                  <a:lnTo>
                    <a:pt x="859" y="527"/>
                  </a:lnTo>
                  <a:lnTo>
                    <a:pt x="869" y="537"/>
                  </a:lnTo>
                  <a:lnTo>
                    <a:pt x="888" y="556"/>
                  </a:lnTo>
                  <a:lnTo>
                    <a:pt x="917" y="556"/>
                  </a:lnTo>
                  <a:lnTo>
                    <a:pt x="927" y="546"/>
                  </a:lnTo>
                  <a:lnTo>
                    <a:pt x="937" y="537"/>
                  </a:lnTo>
                  <a:lnTo>
                    <a:pt x="956" y="537"/>
                  </a:lnTo>
                  <a:lnTo>
                    <a:pt x="976" y="527"/>
                  </a:lnTo>
                  <a:lnTo>
                    <a:pt x="995" y="517"/>
                  </a:lnTo>
                  <a:lnTo>
                    <a:pt x="1015" y="498"/>
                  </a:lnTo>
                  <a:lnTo>
                    <a:pt x="1034" y="468"/>
                  </a:lnTo>
                  <a:lnTo>
                    <a:pt x="1044" y="488"/>
                  </a:lnTo>
                  <a:lnTo>
                    <a:pt x="1054" y="488"/>
                  </a:lnTo>
                  <a:lnTo>
                    <a:pt x="1054" y="517"/>
                  </a:lnTo>
                  <a:lnTo>
                    <a:pt x="1054" y="537"/>
                  </a:lnTo>
                  <a:lnTo>
                    <a:pt x="1064" y="546"/>
                  </a:lnTo>
                  <a:lnTo>
                    <a:pt x="1073" y="527"/>
                  </a:lnTo>
                  <a:lnTo>
                    <a:pt x="1083" y="517"/>
                  </a:lnTo>
                  <a:lnTo>
                    <a:pt x="1103" y="507"/>
                  </a:lnTo>
                  <a:lnTo>
                    <a:pt x="1103" y="468"/>
                  </a:lnTo>
                  <a:lnTo>
                    <a:pt x="1112" y="459"/>
                  </a:lnTo>
                  <a:lnTo>
                    <a:pt x="1142" y="429"/>
                  </a:lnTo>
                  <a:lnTo>
                    <a:pt x="1151" y="381"/>
                  </a:lnTo>
                  <a:lnTo>
                    <a:pt x="1171" y="361"/>
                  </a:lnTo>
                  <a:lnTo>
                    <a:pt x="1171" y="342"/>
                  </a:lnTo>
                  <a:lnTo>
                    <a:pt x="1200" y="322"/>
                  </a:lnTo>
                  <a:lnTo>
                    <a:pt x="1229" y="332"/>
                  </a:lnTo>
                  <a:lnTo>
                    <a:pt x="1259" y="342"/>
                  </a:lnTo>
                  <a:lnTo>
                    <a:pt x="1288" y="351"/>
                  </a:lnTo>
                  <a:lnTo>
                    <a:pt x="1288" y="361"/>
                  </a:lnTo>
                  <a:lnTo>
                    <a:pt x="1288" y="381"/>
                  </a:lnTo>
                  <a:lnTo>
                    <a:pt x="1288" y="400"/>
                  </a:lnTo>
                  <a:lnTo>
                    <a:pt x="1298" y="420"/>
                  </a:lnTo>
                  <a:lnTo>
                    <a:pt x="1317" y="410"/>
                  </a:lnTo>
                  <a:lnTo>
                    <a:pt x="1317" y="400"/>
                  </a:lnTo>
                  <a:lnTo>
                    <a:pt x="1337" y="410"/>
                  </a:lnTo>
                  <a:lnTo>
                    <a:pt x="1347" y="400"/>
                  </a:lnTo>
                  <a:lnTo>
                    <a:pt x="1347" y="390"/>
                  </a:lnTo>
                  <a:lnTo>
                    <a:pt x="1376" y="410"/>
                  </a:lnTo>
                  <a:lnTo>
                    <a:pt x="1386" y="400"/>
                  </a:lnTo>
                  <a:lnTo>
                    <a:pt x="1395" y="410"/>
                  </a:lnTo>
                  <a:lnTo>
                    <a:pt x="1395" y="429"/>
                  </a:lnTo>
                  <a:lnTo>
                    <a:pt x="1415" y="429"/>
                  </a:lnTo>
                  <a:lnTo>
                    <a:pt x="1415" y="449"/>
                  </a:lnTo>
                  <a:lnTo>
                    <a:pt x="1415" y="468"/>
                  </a:lnTo>
                  <a:lnTo>
                    <a:pt x="1415" y="488"/>
                  </a:lnTo>
                  <a:lnTo>
                    <a:pt x="1434" y="488"/>
                  </a:lnTo>
                  <a:lnTo>
                    <a:pt x="1444" y="498"/>
                  </a:lnTo>
                  <a:lnTo>
                    <a:pt x="1434" y="527"/>
                  </a:lnTo>
                  <a:lnTo>
                    <a:pt x="1434" y="537"/>
                  </a:lnTo>
                  <a:lnTo>
                    <a:pt x="1405" y="527"/>
                  </a:lnTo>
                  <a:lnTo>
                    <a:pt x="1386" y="527"/>
                  </a:lnTo>
                  <a:lnTo>
                    <a:pt x="1376" y="527"/>
                  </a:lnTo>
                  <a:lnTo>
                    <a:pt x="1356" y="537"/>
                  </a:lnTo>
                  <a:lnTo>
                    <a:pt x="1356" y="546"/>
                  </a:lnTo>
                  <a:lnTo>
                    <a:pt x="1366" y="556"/>
                  </a:lnTo>
                  <a:lnTo>
                    <a:pt x="1356" y="566"/>
                  </a:lnTo>
                  <a:lnTo>
                    <a:pt x="1356" y="595"/>
                  </a:lnTo>
                  <a:lnTo>
                    <a:pt x="1347" y="605"/>
                  </a:lnTo>
                  <a:lnTo>
                    <a:pt x="1347" y="624"/>
                  </a:lnTo>
                  <a:lnTo>
                    <a:pt x="1366" y="624"/>
                  </a:lnTo>
                  <a:lnTo>
                    <a:pt x="1366" y="634"/>
                  </a:lnTo>
                  <a:lnTo>
                    <a:pt x="1356" y="644"/>
                  </a:lnTo>
                  <a:lnTo>
                    <a:pt x="1376" y="664"/>
                  </a:lnTo>
                  <a:lnTo>
                    <a:pt x="1376" y="654"/>
                  </a:lnTo>
                  <a:lnTo>
                    <a:pt x="1395" y="654"/>
                  </a:lnTo>
                  <a:lnTo>
                    <a:pt x="1395" y="664"/>
                  </a:lnTo>
                  <a:lnTo>
                    <a:pt x="1386" y="673"/>
                  </a:lnTo>
                  <a:lnTo>
                    <a:pt x="1395" y="683"/>
                  </a:lnTo>
                  <a:lnTo>
                    <a:pt x="1395" y="693"/>
                  </a:lnTo>
                  <a:lnTo>
                    <a:pt x="1386" y="703"/>
                  </a:lnTo>
                  <a:lnTo>
                    <a:pt x="1376" y="703"/>
                  </a:lnTo>
                  <a:lnTo>
                    <a:pt x="1366" y="712"/>
                  </a:lnTo>
                  <a:lnTo>
                    <a:pt x="1356" y="722"/>
                  </a:lnTo>
                  <a:lnTo>
                    <a:pt x="1298" y="712"/>
                  </a:lnTo>
                  <a:lnTo>
                    <a:pt x="1308" y="703"/>
                  </a:lnTo>
                  <a:lnTo>
                    <a:pt x="1308" y="693"/>
                  </a:lnTo>
                  <a:lnTo>
                    <a:pt x="1308" y="673"/>
                  </a:lnTo>
                  <a:lnTo>
                    <a:pt x="1288" y="673"/>
                  </a:lnTo>
                  <a:lnTo>
                    <a:pt x="1288" y="683"/>
                  </a:lnTo>
                  <a:lnTo>
                    <a:pt x="1278" y="703"/>
                  </a:lnTo>
                  <a:lnTo>
                    <a:pt x="1259" y="703"/>
                  </a:lnTo>
                  <a:lnTo>
                    <a:pt x="1239" y="712"/>
                  </a:lnTo>
                  <a:lnTo>
                    <a:pt x="1239" y="732"/>
                  </a:lnTo>
                  <a:lnTo>
                    <a:pt x="1239" y="751"/>
                  </a:lnTo>
                  <a:lnTo>
                    <a:pt x="1190" y="790"/>
                  </a:lnTo>
                  <a:lnTo>
                    <a:pt x="1151" y="790"/>
                  </a:lnTo>
                  <a:lnTo>
                    <a:pt x="1112" y="790"/>
                  </a:lnTo>
                  <a:lnTo>
                    <a:pt x="1103" y="781"/>
                  </a:lnTo>
                  <a:lnTo>
                    <a:pt x="1103" y="771"/>
                  </a:lnTo>
                  <a:lnTo>
                    <a:pt x="1093" y="761"/>
                  </a:lnTo>
                  <a:lnTo>
                    <a:pt x="1083" y="771"/>
                  </a:lnTo>
                  <a:lnTo>
                    <a:pt x="1064" y="771"/>
                  </a:lnTo>
                  <a:lnTo>
                    <a:pt x="1044" y="761"/>
                  </a:lnTo>
                  <a:lnTo>
                    <a:pt x="1034" y="761"/>
                  </a:lnTo>
                  <a:lnTo>
                    <a:pt x="1025" y="781"/>
                  </a:lnTo>
                  <a:lnTo>
                    <a:pt x="1005" y="790"/>
                  </a:lnTo>
                  <a:lnTo>
                    <a:pt x="976" y="790"/>
                  </a:lnTo>
                  <a:lnTo>
                    <a:pt x="956" y="781"/>
                  </a:lnTo>
                  <a:lnTo>
                    <a:pt x="937" y="790"/>
                  </a:lnTo>
                  <a:lnTo>
                    <a:pt x="927" y="810"/>
                  </a:lnTo>
                  <a:lnTo>
                    <a:pt x="908" y="810"/>
                  </a:lnTo>
                  <a:lnTo>
                    <a:pt x="898" y="820"/>
                  </a:lnTo>
                  <a:lnTo>
                    <a:pt x="878" y="839"/>
                  </a:lnTo>
                  <a:lnTo>
                    <a:pt x="859" y="859"/>
                  </a:lnTo>
                  <a:lnTo>
                    <a:pt x="859" y="878"/>
                  </a:lnTo>
                  <a:lnTo>
                    <a:pt x="888" y="878"/>
                  </a:lnTo>
                  <a:lnTo>
                    <a:pt x="888" y="898"/>
                  </a:lnTo>
                  <a:lnTo>
                    <a:pt x="898" y="898"/>
                  </a:lnTo>
                  <a:lnTo>
                    <a:pt x="898" y="907"/>
                  </a:lnTo>
                  <a:lnTo>
                    <a:pt x="888" y="917"/>
                  </a:lnTo>
                  <a:lnTo>
                    <a:pt x="888" y="956"/>
                  </a:lnTo>
                  <a:lnTo>
                    <a:pt x="898" y="985"/>
                  </a:lnTo>
                  <a:lnTo>
                    <a:pt x="898" y="1015"/>
                  </a:lnTo>
                  <a:lnTo>
                    <a:pt x="898" y="1054"/>
                  </a:lnTo>
                  <a:lnTo>
                    <a:pt x="937" y="1073"/>
                  </a:lnTo>
                  <a:lnTo>
                    <a:pt x="908" y="1132"/>
                  </a:lnTo>
                  <a:lnTo>
                    <a:pt x="898" y="1181"/>
                  </a:lnTo>
                  <a:lnTo>
                    <a:pt x="898" y="1200"/>
                  </a:lnTo>
                  <a:lnTo>
                    <a:pt x="878" y="1229"/>
                  </a:lnTo>
                  <a:lnTo>
                    <a:pt x="849" y="1259"/>
                  </a:lnTo>
                  <a:lnTo>
                    <a:pt x="810" y="1278"/>
                  </a:lnTo>
                  <a:lnTo>
                    <a:pt x="771" y="1317"/>
                  </a:lnTo>
                  <a:lnTo>
                    <a:pt x="752" y="1337"/>
                  </a:lnTo>
                  <a:lnTo>
                    <a:pt x="693" y="1288"/>
                  </a:lnTo>
                  <a:lnTo>
                    <a:pt x="693" y="1259"/>
                  </a:lnTo>
                  <a:lnTo>
                    <a:pt x="732" y="1229"/>
                  </a:lnTo>
                  <a:lnTo>
                    <a:pt x="703" y="1220"/>
                  </a:lnTo>
                  <a:lnTo>
                    <a:pt x="693" y="1190"/>
                  </a:lnTo>
                  <a:lnTo>
                    <a:pt x="683" y="1190"/>
                  </a:lnTo>
                  <a:lnTo>
                    <a:pt x="683" y="1210"/>
                  </a:lnTo>
                  <a:lnTo>
                    <a:pt x="664" y="1210"/>
                  </a:lnTo>
                  <a:lnTo>
                    <a:pt x="634" y="1229"/>
                  </a:lnTo>
                  <a:lnTo>
                    <a:pt x="605" y="1210"/>
                  </a:lnTo>
                  <a:lnTo>
                    <a:pt x="595" y="1161"/>
                  </a:lnTo>
                  <a:lnTo>
                    <a:pt x="576" y="1161"/>
                  </a:lnTo>
                  <a:lnTo>
                    <a:pt x="556" y="1171"/>
                  </a:lnTo>
                  <a:lnTo>
                    <a:pt x="537" y="1190"/>
                  </a:lnTo>
                  <a:lnTo>
                    <a:pt x="498" y="1171"/>
                  </a:lnTo>
                  <a:lnTo>
                    <a:pt x="478" y="1171"/>
                  </a:lnTo>
                  <a:lnTo>
                    <a:pt x="469" y="1190"/>
                  </a:lnTo>
                  <a:lnTo>
                    <a:pt x="488" y="1210"/>
                  </a:lnTo>
                  <a:lnTo>
                    <a:pt x="498" y="1229"/>
                  </a:lnTo>
                  <a:lnTo>
                    <a:pt x="478" y="1229"/>
                  </a:lnTo>
                  <a:lnTo>
                    <a:pt x="459" y="1239"/>
                  </a:lnTo>
                  <a:lnTo>
                    <a:pt x="459" y="1259"/>
                  </a:lnTo>
                  <a:lnTo>
                    <a:pt x="488" y="1268"/>
                  </a:lnTo>
                  <a:lnTo>
                    <a:pt x="517" y="1259"/>
                  </a:lnTo>
                  <a:lnTo>
                    <a:pt x="547" y="1239"/>
                  </a:lnTo>
                  <a:lnTo>
                    <a:pt x="547" y="1268"/>
                  </a:lnTo>
                  <a:lnTo>
                    <a:pt x="566" y="1278"/>
                  </a:lnTo>
                  <a:lnTo>
                    <a:pt x="586" y="1259"/>
                  </a:lnTo>
                  <a:lnTo>
                    <a:pt x="605" y="1259"/>
                  </a:lnTo>
                  <a:lnTo>
                    <a:pt x="605" y="1288"/>
                  </a:lnTo>
                  <a:lnTo>
                    <a:pt x="644" y="1327"/>
                  </a:lnTo>
                  <a:lnTo>
                    <a:pt x="693" y="1288"/>
                  </a:lnTo>
                  <a:lnTo>
                    <a:pt x="752" y="1337"/>
                  </a:lnTo>
                  <a:lnTo>
                    <a:pt x="732" y="1376"/>
                  </a:lnTo>
                  <a:lnTo>
                    <a:pt x="703" y="1405"/>
                  </a:lnTo>
                  <a:lnTo>
                    <a:pt x="664" y="1415"/>
                  </a:lnTo>
                  <a:lnTo>
                    <a:pt x="625" y="1425"/>
                  </a:lnTo>
                  <a:lnTo>
                    <a:pt x="625" y="1444"/>
                  </a:lnTo>
                  <a:lnTo>
                    <a:pt x="605" y="1454"/>
                  </a:lnTo>
                  <a:lnTo>
                    <a:pt x="595" y="1464"/>
                  </a:lnTo>
                  <a:lnTo>
                    <a:pt x="586" y="1464"/>
                  </a:lnTo>
                  <a:lnTo>
                    <a:pt x="586" y="1454"/>
                  </a:lnTo>
                  <a:lnTo>
                    <a:pt x="586" y="1444"/>
                  </a:lnTo>
                  <a:lnTo>
                    <a:pt x="556" y="1434"/>
                  </a:lnTo>
                  <a:lnTo>
                    <a:pt x="537" y="1434"/>
                  </a:lnTo>
                  <a:lnTo>
                    <a:pt x="537" y="1415"/>
                  </a:lnTo>
                  <a:lnTo>
                    <a:pt x="537" y="1405"/>
                  </a:lnTo>
                  <a:lnTo>
                    <a:pt x="517" y="1395"/>
                  </a:lnTo>
                  <a:lnTo>
                    <a:pt x="498" y="1386"/>
                  </a:lnTo>
                  <a:lnTo>
                    <a:pt x="488" y="1376"/>
                  </a:lnTo>
                  <a:lnTo>
                    <a:pt x="488" y="1366"/>
                  </a:lnTo>
                  <a:lnTo>
                    <a:pt x="469" y="1366"/>
                  </a:lnTo>
                  <a:lnTo>
                    <a:pt x="449" y="1366"/>
                  </a:lnTo>
                  <a:lnTo>
                    <a:pt x="449" y="1356"/>
                  </a:lnTo>
                  <a:lnTo>
                    <a:pt x="430" y="1346"/>
                  </a:lnTo>
                  <a:lnTo>
                    <a:pt x="400" y="1317"/>
                  </a:lnTo>
                  <a:lnTo>
                    <a:pt x="371" y="1298"/>
                  </a:lnTo>
                  <a:lnTo>
                    <a:pt x="361" y="1288"/>
                  </a:lnTo>
                  <a:lnTo>
                    <a:pt x="342" y="1288"/>
                  </a:lnTo>
                  <a:lnTo>
                    <a:pt x="342" y="1268"/>
                  </a:lnTo>
                  <a:lnTo>
                    <a:pt x="342" y="1259"/>
                  </a:lnTo>
                  <a:lnTo>
                    <a:pt x="322" y="1239"/>
                  </a:lnTo>
                  <a:lnTo>
                    <a:pt x="303" y="1239"/>
                  </a:lnTo>
                  <a:lnTo>
                    <a:pt x="293" y="1259"/>
                  </a:lnTo>
                  <a:lnTo>
                    <a:pt x="283" y="1259"/>
                  </a:lnTo>
                  <a:lnTo>
                    <a:pt x="264" y="1268"/>
                  </a:lnTo>
                  <a:lnTo>
                    <a:pt x="244" y="1288"/>
                  </a:lnTo>
                  <a:lnTo>
                    <a:pt x="235" y="1268"/>
                  </a:lnTo>
                  <a:lnTo>
                    <a:pt x="215" y="1268"/>
                  </a:lnTo>
                  <a:lnTo>
                    <a:pt x="205" y="1268"/>
                  </a:lnTo>
                  <a:lnTo>
                    <a:pt x="196" y="1268"/>
                  </a:lnTo>
                  <a:lnTo>
                    <a:pt x="186" y="1278"/>
                  </a:lnTo>
                  <a:lnTo>
                    <a:pt x="176" y="1259"/>
                  </a:lnTo>
                  <a:lnTo>
                    <a:pt x="166" y="1259"/>
                  </a:lnTo>
                  <a:lnTo>
                    <a:pt x="147" y="1239"/>
                  </a:lnTo>
                  <a:lnTo>
                    <a:pt x="127" y="1229"/>
                  </a:lnTo>
                  <a:lnTo>
                    <a:pt x="118" y="1220"/>
                  </a:lnTo>
                  <a:lnTo>
                    <a:pt x="108" y="1210"/>
                  </a:lnTo>
                  <a:lnTo>
                    <a:pt x="98" y="1190"/>
                  </a:lnTo>
                  <a:lnTo>
                    <a:pt x="69" y="1200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2" name="Freeform 118"/>
            <p:cNvSpPr>
              <a:spLocks/>
            </p:cNvSpPr>
            <p:nvPr/>
          </p:nvSpPr>
          <p:spPr bwMode="auto">
            <a:xfrm>
              <a:off x="5276" y="3279"/>
              <a:ext cx="1210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75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3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75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22" y="156"/>
                  </a:lnTo>
                  <a:lnTo>
                    <a:pt x="112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1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2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5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32"/>
                  </a:lnTo>
                  <a:lnTo>
                    <a:pt x="761" y="722"/>
                  </a:lnTo>
                  <a:lnTo>
                    <a:pt x="722" y="732"/>
                  </a:lnTo>
                  <a:lnTo>
                    <a:pt x="71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10"/>
                  </a:lnTo>
                  <a:lnTo>
                    <a:pt x="71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6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1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8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17" y="576"/>
                  </a:lnTo>
                  <a:lnTo>
                    <a:pt x="11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12" y="400"/>
                  </a:lnTo>
                  <a:lnTo>
                    <a:pt x="683" y="381"/>
                  </a:lnTo>
                  <a:lnTo>
                    <a:pt x="673" y="342"/>
                  </a:lnTo>
                  <a:lnTo>
                    <a:pt x="673" y="312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3" name="Freeform 117"/>
            <p:cNvSpPr>
              <a:spLocks/>
            </p:cNvSpPr>
            <p:nvPr/>
          </p:nvSpPr>
          <p:spPr bwMode="auto">
            <a:xfrm>
              <a:off x="5276" y="3279"/>
              <a:ext cx="1210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66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3 h 927"/>
                <a:gd name="T36" fmla="*/ 1073 w 1210"/>
                <a:gd name="T37" fmla="*/ 526 h 927"/>
                <a:gd name="T38" fmla="*/ 1005 w 1210"/>
                <a:gd name="T39" fmla="*/ 575 h 927"/>
                <a:gd name="T40" fmla="*/ 936 w 1210"/>
                <a:gd name="T41" fmla="*/ 623 h 927"/>
                <a:gd name="T42" fmla="*/ 849 w 1210"/>
                <a:gd name="T43" fmla="*/ 702 h 927"/>
                <a:gd name="T44" fmla="*/ 771 w 1210"/>
                <a:gd name="T45" fmla="*/ 731 h 927"/>
                <a:gd name="T46" fmla="*/ 712 w 1210"/>
                <a:gd name="T47" fmla="*/ 750 h 927"/>
                <a:gd name="T48" fmla="*/ 712 w 1210"/>
                <a:gd name="T49" fmla="*/ 770 h 927"/>
                <a:gd name="T50" fmla="*/ 732 w 1210"/>
                <a:gd name="T51" fmla="*/ 848 h 927"/>
                <a:gd name="T52" fmla="*/ 663 w 1210"/>
                <a:gd name="T53" fmla="*/ 916 h 927"/>
                <a:gd name="T54" fmla="*/ 576 w 1210"/>
                <a:gd name="T55" fmla="*/ 877 h 927"/>
                <a:gd name="T56" fmla="*/ 527 w 1210"/>
                <a:gd name="T57" fmla="*/ 867 h 927"/>
                <a:gd name="T58" fmla="*/ 390 w 1210"/>
                <a:gd name="T59" fmla="*/ 906 h 927"/>
                <a:gd name="T60" fmla="*/ 273 w 1210"/>
                <a:gd name="T61" fmla="*/ 867 h 927"/>
                <a:gd name="T62" fmla="*/ 244 w 1210"/>
                <a:gd name="T63" fmla="*/ 770 h 927"/>
                <a:gd name="T64" fmla="*/ 127 w 1210"/>
                <a:gd name="T65" fmla="*/ 741 h 927"/>
                <a:gd name="T66" fmla="*/ 59 w 1210"/>
                <a:gd name="T67" fmla="*/ 711 h 927"/>
                <a:gd name="T68" fmla="*/ 0 w 1210"/>
                <a:gd name="T69" fmla="*/ 672 h 927"/>
                <a:gd name="T70" fmla="*/ 0 w 1210"/>
                <a:gd name="T71" fmla="*/ 614 h 927"/>
                <a:gd name="T72" fmla="*/ 49 w 1210"/>
                <a:gd name="T73" fmla="*/ 584 h 927"/>
                <a:gd name="T74" fmla="*/ 107 w 1210"/>
                <a:gd name="T75" fmla="*/ 555 h 927"/>
                <a:gd name="T76" fmla="*/ 146 w 1210"/>
                <a:gd name="T77" fmla="*/ 594 h 927"/>
                <a:gd name="T78" fmla="*/ 234 w 1210"/>
                <a:gd name="T79" fmla="*/ 672 h 927"/>
                <a:gd name="T80" fmla="*/ 273 w 1210"/>
                <a:gd name="T81" fmla="*/ 672 h 927"/>
                <a:gd name="T82" fmla="*/ 322 w 1210"/>
                <a:gd name="T83" fmla="*/ 711 h 927"/>
                <a:gd name="T84" fmla="*/ 371 w 1210"/>
                <a:gd name="T85" fmla="*/ 750 h 927"/>
                <a:gd name="T86" fmla="*/ 390 w 1210"/>
                <a:gd name="T87" fmla="*/ 760 h 927"/>
                <a:gd name="T88" fmla="*/ 488 w 1210"/>
                <a:gd name="T89" fmla="*/ 721 h 927"/>
                <a:gd name="T90" fmla="*/ 595 w 1210"/>
                <a:gd name="T91" fmla="*/ 594 h 927"/>
                <a:gd name="T92" fmla="*/ 673 w 1210"/>
                <a:gd name="T93" fmla="*/ 497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66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12" y="156"/>
                  </a:lnTo>
                  <a:lnTo>
                    <a:pt x="111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2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1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6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42"/>
                  </a:lnTo>
                  <a:lnTo>
                    <a:pt x="761" y="722"/>
                  </a:lnTo>
                  <a:lnTo>
                    <a:pt x="722" y="742"/>
                  </a:lnTo>
                  <a:lnTo>
                    <a:pt x="72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20"/>
                  </a:lnTo>
                  <a:lnTo>
                    <a:pt x="72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7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2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7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27" y="576"/>
                  </a:lnTo>
                  <a:lnTo>
                    <a:pt x="12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22" y="400"/>
                  </a:lnTo>
                  <a:lnTo>
                    <a:pt x="683" y="381"/>
                  </a:lnTo>
                  <a:lnTo>
                    <a:pt x="673" y="342"/>
                  </a:lnTo>
                </a:path>
              </a:pathLst>
            </a:custGeom>
            <a:solidFill>
              <a:srgbClr val="DBDBDB"/>
            </a:solidFill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4" name="Freeform 116"/>
            <p:cNvSpPr>
              <a:spLocks/>
            </p:cNvSpPr>
            <p:nvPr/>
          </p:nvSpPr>
          <p:spPr bwMode="auto">
            <a:xfrm>
              <a:off x="5960" y="3113"/>
              <a:ext cx="917" cy="1150"/>
            </a:xfrm>
            <a:custGeom>
              <a:avLst/>
              <a:gdLst>
                <a:gd name="T0" fmla="*/ 49 w 917"/>
                <a:gd name="T1" fmla="*/ 1024 h 1152"/>
                <a:gd name="T2" fmla="*/ 39 w 917"/>
                <a:gd name="T3" fmla="*/ 936 h 1152"/>
                <a:gd name="T4" fmla="*/ 39 w 917"/>
                <a:gd name="T5" fmla="*/ 897 h 1152"/>
                <a:gd name="T6" fmla="*/ 156 w 917"/>
                <a:gd name="T7" fmla="*/ 858 h 1152"/>
                <a:gd name="T8" fmla="*/ 253 w 917"/>
                <a:gd name="T9" fmla="*/ 789 h 1152"/>
                <a:gd name="T10" fmla="*/ 341 w 917"/>
                <a:gd name="T11" fmla="*/ 731 h 1152"/>
                <a:gd name="T12" fmla="*/ 390 w 917"/>
                <a:gd name="T13" fmla="*/ 643 h 1152"/>
                <a:gd name="T14" fmla="*/ 371 w 917"/>
                <a:gd name="T15" fmla="*/ 594 h 1152"/>
                <a:gd name="T16" fmla="*/ 400 w 917"/>
                <a:gd name="T17" fmla="*/ 566 h 1152"/>
                <a:gd name="T18" fmla="*/ 458 w 917"/>
                <a:gd name="T19" fmla="*/ 488 h 1152"/>
                <a:gd name="T20" fmla="*/ 527 w 917"/>
                <a:gd name="T21" fmla="*/ 459 h 1152"/>
                <a:gd name="T22" fmla="*/ 468 w 917"/>
                <a:gd name="T23" fmla="*/ 381 h 1152"/>
                <a:gd name="T24" fmla="*/ 429 w 917"/>
                <a:gd name="T25" fmla="*/ 313 h 1152"/>
                <a:gd name="T26" fmla="*/ 390 w 917"/>
                <a:gd name="T27" fmla="*/ 235 h 1152"/>
                <a:gd name="T28" fmla="*/ 429 w 917"/>
                <a:gd name="T29" fmla="*/ 205 h 1152"/>
                <a:gd name="T30" fmla="*/ 497 w 917"/>
                <a:gd name="T31" fmla="*/ 186 h 1152"/>
                <a:gd name="T32" fmla="*/ 488 w 917"/>
                <a:gd name="T33" fmla="*/ 147 h 1152"/>
                <a:gd name="T34" fmla="*/ 449 w 917"/>
                <a:gd name="T35" fmla="*/ 117 h 1152"/>
                <a:gd name="T36" fmla="*/ 458 w 917"/>
                <a:gd name="T37" fmla="*/ 39 h 1152"/>
                <a:gd name="T38" fmla="*/ 536 w 917"/>
                <a:gd name="T39" fmla="*/ 20 h 1152"/>
                <a:gd name="T40" fmla="*/ 566 w 917"/>
                <a:gd name="T41" fmla="*/ 59 h 1152"/>
                <a:gd name="T42" fmla="*/ 575 w 917"/>
                <a:gd name="T43" fmla="*/ 88 h 1152"/>
                <a:gd name="T44" fmla="*/ 653 w 917"/>
                <a:gd name="T45" fmla="*/ 147 h 1152"/>
                <a:gd name="T46" fmla="*/ 692 w 917"/>
                <a:gd name="T47" fmla="*/ 215 h 1152"/>
                <a:gd name="T48" fmla="*/ 751 w 917"/>
                <a:gd name="T49" fmla="*/ 215 h 1152"/>
                <a:gd name="T50" fmla="*/ 809 w 917"/>
                <a:gd name="T51" fmla="*/ 254 h 1152"/>
                <a:gd name="T52" fmla="*/ 839 w 917"/>
                <a:gd name="T53" fmla="*/ 332 h 1152"/>
                <a:gd name="T54" fmla="*/ 878 w 917"/>
                <a:gd name="T55" fmla="*/ 371 h 1152"/>
                <a:gd name="T56" fmla="*/ 887 w 917"/>
                <a:gd name="T57" fmla="*/ 430 h 1152"/>
                <a:gd name="T58" fmla="*/ 839 w 917"/>
                <a:gd name="T59" fmla="*/ 547 h 1152"/>
                <a:gd name="T60" fmla="*/ 848 w 917"/>
                <a:gd name="T61" fmla="*/ 594 h 1152"/>
                <a:gd name="T62" fmla="*/ 878 w 917"/>
                <a:gd name="T63" fmla="*/ 663 h 1152"/>
                <a:gd name="T64" fmla="*/ 848 w 917"/>
                <a:gd name="T65" fmla="*/ 750 h 1152"/>
                <a:gd name="T66" fmla="*/ 829 w 917"/>
                <a:gd name="T67" fmla="*/ 848 h 1152"/>
                <a:gd name="T68" fmla="*/ 839 w 917"/>
                <a:gd name="T69" fmla="*/ 907 h 1152"/>
                <a:gd name="T70" fmla="*/ 761 w 917"/>
                <a:gd name="T71" fmla="*/ 985 h 1152"/>
                <a:gd name="T72" fmla="*/ 614 w 917"/>
                <a:gd name="T73" fmla="*/ 965 h 1152"/>
                <a:gd name="T74" fmla="*/ 488 w 917"/>
                <a:gd name="T75" fmla="*/ 965 h 1152"/>
                <a:gd name="T76" fmla="*/ 566 w 917"/>
                <a:gd name="T77" fmla="*/ 887 h 1152"/>
                <a:gd name="T78" fmla="*/ 546 w 917"/>
                <a:gd name="T79" fmla="*/ 848 h 1152"/>
                <a:gd name="T80" fmla="*/ 527 w 917"/>
                <a:gd name="T81" fmla="*/ 809 h 1152"/>
                <a:gd name="T82" fmla="*/ 458 w 917"/>
                <a:gd name="T83" fmla="*/ 809 h 1152"/>
                <a:gd name="T84" fmla="*/ 400 w 917"/>
                <a:gd name="T85" fmla="*/ 868 h 1152"/>
                <a:gd name="T86" fmla="*/ 351 w 917"/>
                <a:gd name="T87" fmla="*/ 907 h 1152"/>
                <a:gd name="T88" fmla="*/ 331 w 917"/>
                <a:gd name="T89" fmla="*/ 897 h 1152"/>
                <a:gd name="T90" fmla="*/ 322 w 917"/>
                <a:gd name="T91" fmla="*/ 936 h 1152"/>
                <a:gd name="T92" fmla="*/ 380 w 917"/>
                <a:gd name="T93" fmla="*/ 946 h 1152"/>
                <a:gd name="T94" fmla="*/ 478 w 917"/>
                <a:gd name="T95" fmla="*/ 936 h 1152"/>
                <a:gd name="T96" fmla="*/ 390 w 917"/>
                <a:gd name="T97" fmla="*/ 1072 h 1152"/>
                <a:gd name="T98" fmla="*/ 292 w 917"/>
                <a:gd name="T99" fmla="*/ 1121 h 1152"/>
                <a:gd name="T100" fmla="*/ 175 w 917"/>
                <a:gd name="T101" fmla="*/ 1141 h 1152"/>
                <a:gd name="T102" fmla="*/ 58 w 917"/>
                <a:gd name="T103" fmla="*/ 1121 h 11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7"/>
                <a:gd name="T157" fmla="*/ 0 h 1152"/>
                <a:gd name="T158" fmla="*/ 917 w 917"/>
                <a:gd name="T159" fmla="*/ 1152 h 11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7" h="1152">
                  <a:moveTo>
                    <a:pt x="10" y="1093"/>
                  </a:moveTo>
                  <a:lnTo>
                    <a:pt x="0" y="1074"/>
                  </a:lnTo>
                  <a:lnTo>
                    <a:pt x="10" y="1054"/>
                  </a:lnTo>
                  <a:lnTo>
                    <a:pt x="39" y="1035"/>
                  </a:lnTo>
                  <a:lnTo>
                    <a:pt x="49" y="1035"/>
                  </a:lnTo>
                  <a:lnTo>
                    <a:pt x="49" y="1015"/>
                  </a:lnTo>
                  <a:lnTo>
                    <a:pt x="29" y="1005"/>
                  </a:lnTo>
                  <a:lnTo>
                    <a:pt x="29" y="986"/>
                  </a:lnTo>
                  <a:lnTo>
                    <a:pt x="29" y="957"/>
                  </a:lnTo>
                  <a:lnTo>
                    <a:pt x="39" y="947"/>
                  </a:lnTo>
                  <a:lnTo>
                    <a:pt x="39" y="937"/>
                  </a:lnTo>
                  <a:lnTo>
                    <a:pt x="29" y="937"/>
                  </a:lnTo>
                  <a:lnTo>
                    <a:pt x="29" y="927"/>
                  </a:lnTo>
                  <a:lnTo>
                    <a:pt x="29" y="918"/>
                  </a:lnTo>
                  <a:lnTo>
                    <a:pt x="39" y="908"/>
                  </a:lnTo>
                  <a:lnTo>
                    <a:pt x="78" y="898"/>
                  </a:lnTo>
                  <a:lnTo>
                    <a:pt x="88" y="908"/>
                  </a:lnTo>
                  <a:lnTo>
                    <a:pt x="107" y="898"/>
                  </a:lnTo>
                  <a:lnTo>
                    <a:pt x="136" y="869"/>
                  </a:lnTo>
                  <a:lnTo>
                    <a:pt x="156" y="869"/>
                  </a:lnTo>
                  <a:lnTo>
                    <a:pt x="166" y="879"/>
                  </a:lnTo>
                  <a:lnTo>
                    <a:pt x="185" y="879"/>
                  </a:lnTo>
                  <a:lnTo>
                    <a:pt x="185" y="859"/>
                  </a:lnTo>
                  <a:lnTo>
                    <a:pt x="224" y="830"/>
                  </a:lnTo>
                  <a:lnTo>
                    <a:pt x="253" y="800"/>
                  </a:lnTo>
                  <a:lnTo>
                    <a:pt x="273" y="781"/>
                  </a:lnTo>
                  <a:lnTo>
                    <a:pt x="292" y="781"/>
                  </a:lnTo>
                  <a:lnTo>
                    <a:pt x="292" y="761"/>
                  </a:lnTo>
                  <a:lnTo>
                    <a:pt x="322" y="752"/>
                  </a:lnTo>
                  <a:lnTo>
                    <a:pt x="341" y="742"/>
                  </a:lnTo>
                  <a:lnTo>
                    <a:pt x="361" y="742"/>
                  </a:lnTo>
                  <a:lnTo>
                    <a:pt x="390" y="722"/>
                  </a:lnTo>
                  <a:lnTo>
                    <a:pt x="390" y="703"/>
                  </a:lnTo>
                  <a:lnTo>
                    <a:pt x="390" y="664"/>
                  </a:lnTo>
                  <a:lnTo>
                    <a:pt x="390" y="654"/>
                  </a:lnTo>
                  <a:lnTo>
                    <a:pt x="371" y="644"/>
                  </a:lnTo>
                  <a:lnTo>
                    <a:pt x="351" y="635"/>
                  </a:lnTo>
                  <a:lnTo>
                    <a:pt x="351" y="625"/>
                  </a:lnTo>
                  <a:lnTo>
                    <a:pt x="351" y="615"/>
                  </a:lnTo>
                  <a:lnTo>
                    <a:pt x="371" y="605"/>
                  </a:lnTo>
                  <a:lnTo>
                    <a:pt x="371" y="586"/>
                  </a:lnTo>
                  <a:lnTo>
                    <a:pt x="390" y="586"/>
                  </a:lnTo>
                  <a:lnTo>
                    <a:pt x="390" y="576"/>
                  </a:lnTo>
                  <a:lnTo>
                    <a:pt x="400" y="576"/>
                  </a:lnTo>
                  <a:lnTo>
                    <a:pt x="400" y="566"/>
                  </a:lnTo>
                  <a:lnTo>
                    <a:pt x="410" y="557"/>
                  </a:lnTo>
                  <a:lnTo>
                    <a:pt x="429" y="547"/>
                  </a:lnTo>
                  <a:lnTo>
                    <a:pt x="439" y="518"/>
                  </a:lnTo>
                  <a:lnTo>
                    <a:pt x="449" y="508"/>
                  </a:lnTo>
                  <a:lnTo>
                    <a:pt x="458" y="488"/>
                  </a:lnTo>
                  <a:lnTo>
                    <a:pt x="468" y="488"/>
                  </a:lnTo>
                  <a:lnTo>
                    <a:pt x="488" y="478"/>
                  </a:lnTo>
                  <a:lnTo>
                    <a:pt x="507" y="469"/>
                  </a:lnTo>
                  <a:lnTo>
                    <a:pt x="517" y="469"/>
                  </a:lnTo>
                  <a:lnTo>
                    <a:pt x="527" y="459"/>
                  </a:lnTo>
                  <a:lnTo>
                    <a:pt x="536" y="420"/>
                  </a:lnTo>
                  <a:lnTo>
                    <a:pt x="527" y="400"/>
                  </a:lnTo>
                  <a:lnTo>
                    <a:pt x="497" y="391"/>
                  </a:lnTo>
                  <a:lnTo>
                    <a:pt x="488" y="381"/>
                  </a:lnTo>
                  <a:lnTo>
                    <a:pt x="468" y="381"/>
                  </a:lnTo>
                  <a:lnTo>
                    <a:pt x="449" y="371"/>
                  </a:lnTo>
                  <a:lnTo>
                    <a:pt x="449" y="352"/>
                  </a:lnTo>
                  <a:lnTo>
                    <a:pt x="439" y="342"/>
                  </a:lnTo>
                  <a:lnTo>
                    <a:pt x="439" y="322"/>
                  </a:lnTo>
                  <a:lnTo>
                    <a:pt x="429" y="313"/>
                  </a:lnTo>
                  <a:lnTo>
                    <a:pt x="419" y="293"/>
                  </a:lnTo>
                  <a:lnTo>
                    <a:pt x="410" y="293"/>
                  </a:lnTo>
                  <a:lnTo>
                    <a:pt x="410" y="264"/>
                  </a:lnTo>
                  <a:lnTo>
                    <a:pt x="390" y="244"/>
                  </a:lnTo>
                  <a:lnTo>
                    <a:pt x="390" y="235"/>
                  </a:lnTo>
                  <a:lnTo>
                    <a:pt x="390" y="215"/>
                  </a:lnTo>
                  <a:lnTo>
                    <a:pt x="400" y="205"/>
                  </a:lnTo>
                  <a:lnTo>
                    <a:pt x="410" y="205"/>
                  </a:lnTo>
                  <a:lnTo>
                    <a:pt x="419" y="205"/>
                  </a:lnTo>
                  <a:lnTo>
                    <a:pt x="429" y="205"/>
                  </a:lnTo>
                  <a:lnTo>
                    <a:pt x="458" y="215"/>
                  </a:lnTo>
                  <a:lnTo>
                    <a:pt x="468" y="205"/>
                  </a:lnTo>
                  <a:lnTo>
                    <a:pt x="478" y="196"/>
                  </a:lnTo>
                  <a:lnTo>
                    <a:pt x="488" y="196"/>
                  </a:lnTo>
                  <a:lnTo>
                    <a:pt x="497" y="186"/>
                  </a:lnTo>
                  <a:lnTo>
                    <a:pt x="497" y="176"/>
                  </a:lnTo>
                  <a:lnTo>
                    <a:pt x="488" y="166"/>
                  </a:lnTo>
                  <a:lnTo>
                    <a:pt x="497" y="157"/>
                  </a:lnTo>
                  <a:lnTo>
                    <a:pt x="497" y="147"/>
                  </a:lnTo>
                  <a:lnTo>
                    <a:pt x="488" y="147"/>
                  </a:lnTo>
                  <a:lnTo>
                    <a:pt x="478" y="157"/>
                  </a:lnTo>
                  <a:lnTo>
                    <a:pt x="458" y="137"/>
                  </a:lnTo>
                  <a:lnTo>
                    <a:pt x="468" y="127"/>
                  </a:lnTo>
                  <a:lnTo>
                    <a:pt x="468" y="117"/>
                  </a:lnTo>
                  <a:lnTo>
                    <a:pt x="449" y="117"/>
                  </a:lnTo>
                  <a:lnTo>
                    <a:pt x="449" y="88"/>
                  </a:lnTo>
                  <a:lnTo>
                    <a:pt x="458" y="88"/>
                  </a:lnTo>
                  <a:lnTo>
                    <a:pt x="458" y="59"/>
                  </a:lnTo>
                  <a:lnTo>
                    <a:pt x="468" y="49"/>
                  </a:lnTo>
                  <a:lnTo>
                    <a:pt x="458" y="39"/>
                  </a:lnTo>
                  <a:lnTo>
                    <a:pt x="458" y="30"/>
                  </a:lnTo>
                  <a:lnTo>
                    <a:pt x="478" y="20"/>
                  </a:lnTo>
                  <a:lnTo>
                    <a:pt x="488" y="20"/>
                  </a:lnTo>
                  <a:lnTo>
                    <a:pt x="507" y="20"/>
                  </a:lnTo>
                  <a:lnTo>
                    <a:pt x="536" y="20"/>
                  </a:lnTo>
                  <a:lnTo>
                    <a:pt x="546" y="10"/>
                  </a:lnTo>
                  <a:lnTo>
                    <a:pt x="546" y="0"/>
                  </a:lnTo>
                  <a:lnTo>
                    <a:pt x="556" y="20"/>
                  </a:lnTo>
                  <a:lnTo>
                    <a:pt x="566" y="39"/>
                  </a:lnTo>
                  <a:lnTo>
                    <a:pt x="566" y="59"/>
                  </a:lnTo>
                  <a:lnTo>
                    <a:pt x="566" y="69"/>
                  </a:lnTo>
                  <a:lnTo>
                    <a:pt x="575" y="69"/>
                  </a:lnTo>
                  <a:lnTo>
                    <a:pt x="575" y="78"/>
                  </a:lnTo>
                  <a:lnTo>
                    <a:pt x="566" y="88"/>
                  </a:lnTo>
                  <a:lnTo>
                    <a:pt x="575" y="88"/>
                  </a:lnTo>
                  <a:lnTo>
                    <a:pt x="595" y="69"/>
                  </a:lnTo>
                  <a:lnTo>
                    <a:pt x="605" y="78"/>
                  </a:lnTo>
                  <a:lnTo>
                    <a:pt x="605" y="98"/>
                  </a:lnTo>
                  <a:lnTo>
                    <a:pt x="634" y="137"/>
                  </a:lnTo>
                  <a:lnTo>
                    <a:pt x="653" y="147"/>
                  </a:lnTo>
                  <a:lnTo>
                    <a:pt x="653" y="157"/>
                  </a:lnTo>
                  <a:lnTo>
                    <a:pt x="673" y="186"/>
                  </a:lnTo>
                  <a:lnTo>
                    <a:pt x="692" y="196"/>
                  </a:lnTo>
                  <a:lnTo>
                    <a:pt x="712" y="205"/>
                  </a:lnTo>
                  <a:lnTo>
                    <a:pt x="692" y="215"/>
                  </a:lnTo>
                  <a:lnTo>
                    <a:pt x="683" y="225"/>
                  </a:lnTo>
                  <a:lnTo>
                    <a:pt x="692" y="235"/>
                  </a:lnTo>
                  <a:lnTo>
                    <a:pt x="702" y="244"/>
                  </a:lnTo>
                  <a:lnTo>
                    <a:pt x="731" y="225"/>
                  </a:lnTo>
                  <a:lnTo>
                    <a:pt x="751" y="215"/>
                  </a:lnTo>
                  <a:lnTo>
                    <a:pt x="770" y="225"/>
                  </a:lnTo>
                  <a:lnTo>
                    <a:pt x="780" y="254"/>
                  </a:lnTo>
                  <a:lnTo>
                    <a:pt x="780" y="264"/>
                  </a:lnTo>
                  <a:lnTo>
                    <a:pt x="790" y="274"/>
                  </a:lnTo>
                  <a:lnTo>
                    <a:pt x="809" y="254"/>
                  </a:lnTo>
                  <a:lnTo>
                    <a:pt x="829" y="264"/>
                  </a:lnTo>
                  <a:lnTo>
                    <a:pt x="829" y="283"/>
                  </a:lnTo>
                  <a:lnTo>
                    <a:pt x="839" y="293"/>
                  </a:lnTo>
                  <a:lnTo>
                    <a:pt x="839" y="313"/>
                  </a:lnTo>
                  <a:lnTo>
                    <a:pt x="839" y="332"/>
                  </a:lnTo>
                  <a:lnTo>
                    <a:pt x="839" y="342"/>
                  </a:lnTo>
                  <a:lnTo>
                    <a:pt x="858" y="342"/>
                  </a:lnTo>
                  <a:lnTo>
                    <a:pt x="858" y="352"/>
                  </a:lnTo>
                  <a:lnTo>
                    <a:pt x="878" y="371"/>
                  </a:lnTo>
                  <a:lnTo>
                    <a:pt x="858" y="371"/>
                  </a:lnTo>
                  <a:lnTo>
                    <a:pt x="858" y="391"/>
                  </a:lnTo>
                  <a:lnTo>
                    <a:pt x="858" y="400"/>
                  </a:lnTo>
                  <a:lnTo>
                    <a:pt x="858" y="430"/>
                  </a:lnTo>
                  <a:lnTo>
                    <a:pt x="887" y="430"/>
                  </a:lnTo>
                  <a:lnTo>
                    <a:pt x="917" y="488"/>
                  </a:lnTo>
                  <a:lnTo>
                    <a:pt x="897" y="498"/>
                  </a:lnTo>
                  <a:lnTo>
                    <a:pt x="878" y="508"/>
                  </a:lnTo>
                  <a:lnTo>
                    <a:pt x="848" y="527"/>
                  </a:lnTo>
                  <a:lnTo>
                    <a:pt x="839" y="547"/>
                  </a:lnTo>
                  <a:lnTo>
                    <a:pt x="819" y="566"/>
                  </a:lnTo>
                  <a:lnTo>
                    <a:pt x="809" y="605"/>
                  </a:lnTo>
                  <a:lnTo>
                    <a:pt x="829" y="605"/>
                  </a:lnTo>
                  <a:lnTo>
                    <a:pt x="848" y="596"/>
                  </a:lnTo>
                  <a:lnTo>
                    <a:pt x="848" y="605"/>
                  </a:lnTo>
                  <a:lnTo>
                    <a:pt x="868" y="615"/>
                  </a:lnTo>
                  <a:lnTo>
                    <a:pt x="868" y="635"/>
                  </a:lnTo>
                  <a:lnTo>
                    <a:pt x="878" y="644"/>
                  </a:lnTo>
                  <a:lnTo>
                    <a:pt x="878" y="654"/>
                  </a:lnTo>
                  <a:lnTo>
                    <a:pt x="878" y="674"/>
                  </a:lnTo>
                  <a:lnTo>
                    <a:pt x="868" y="683"/>
                  </a:lnTo>
                  <a:lnTo>
                    <a:pt x="858" y="703"/>
                  </a:lnTo>
                  <a:lnTo>
                    <a:pt x="848" y="722"/>
                  </a:lnTo>
                  <a:lnTo>
                    <a:pt x="848" y="742"/>
                  </a:lnTo>
                  <a:lnTo>
                    <a:pt x="848" y="761"/>
                  </a:lnTo>
                  <a:lnTo>
                    <a:pt x="848" y="791"/>
                  </a:lnTo>
                  <a:lnTo>
                    <a:pt x="839" y="820"/>
                  </a:lnTo>
                  <a:lnTo>
                    <a:pt x="839" y="830"/>
                  </a:lnTo>
                  <a:lnTo>
                    <a:pt x="829" y="839"/>
                  </a:lnTo>
                  <a:lnTo>
                    <a:pt x="829" y="859"/>
                  </a:lnTo>
                  <a:lnTo>
                    <a:pt x="839" y="869"/>
                  </a:lnTo>
                  <a:lnTo>
                    <a:pt x="848" y="879"/>
                  </a:lnTo>
                  <a:lnTo>
                    <a:pt x="848" y="898"/>
                  </a:lnTo>
                  <a:lnTo>
                    <a:pt x="839" y="908"/>
                  </a:lnTo>
                  <a:lnTo>
                    <a:pt x="839" y="918"/>
                  </a:lnTo>
                  <a:lnTo>
                    <a:pt x="809" y="927"/>
                  </a:lnTo>
                  <a:lnTo>
                    <a:pt x="790" y="957"/>
                  </a:lnTo>
                  <a:lnTo>
                    <a:pt x="770" y="976"/>
                  </a:lnTo>
                  <a:lnTo>
                    <a:pt x="770" y="996"/>
                  </a:lnTo>
                  <a:lnTo>
                    <a:pt x="761" y="996"/>
                  </a:lnTo>
                  <a:lnTo>
                    <a:pt x="722" y="996"/>
                  </a:lnTo>
                  <a:lnTo>
                    <a:pt x="683" y="986"/>
                  </a:lnTo>
                  <a:lnTo>
                    <a:pt x="653" y="976"/>
                  </a:lnTo>
                  <a:lnTo>
                    <a:pt x="624" y="966"/>
                  </a:lnTo>
                  <a:lnTo>
                    <a:pt x="614" y="976"/>
                  </a:lnTo>
                  <a:lnTo>
                    <a:pt x="605" y="996"/>
                  </a:lnTo>
                  <a:lnTo>
                    <a:pt x="585" y="996"/>
                  </a:lnTo>
                  <a:lnTo>
                    <a:pt x="556" y="986"/>
                  </a:lnTo>
                  <a:lnTo>
                    <a:pt x="527" y="976"/>
                  </a:lnTo>
                  <a:lnTo>
                    <a:pt x="488" y="976"/>
                  </a:lnTo>
                  <a:lnTo>
                    <a:pt x="478" y="947"/>
                  </a:lnTo>
                  <a:lnTo>
                    <a:pt x="497" y="937"/>
                  </a:lnTo>
                  <a:lnTo>
                    <a:pt x="517" y="927"/>
                  </a:lnTo>
                  <a:lnTo>
                    <a:pt x="556" y="918"/>
                  </a:lnTo>
                  <a:lnTo>
                    <a:pt x="566" y="898"/>
                  </a:lnTo>
                  <a:lnTo>
                    <a:pt x="575" y="888"/>
                  </a:lnTo>
                  <a:lnTo>
                    <a:pt x="556" y="888"/>
                  </a:lnTo>
                  <a:lnTo>
                    <a:pt x="536" y="888"/>
                  </a:lnTo>
                  <a:lnTo>
                    <a:pt x="536" y="859"/>
                  </a:lnTo>
                  <a:lnTo>
                    <a:pt x="546" y="859"/>
                  </a:lnTo>
                  <a:lnTo>
                    <a:pt x="566" y="859"/>
                  </a:lnTo>
                  <a:lnTo>
                    <a:pt x="566" y="839"/>
                  </a:lnTo>
                  <a:lnTo>
                    <a:pt x="556" y="839"/>
                  </a:lnTo>
                  <a:lnTo>
                    <a:pt x="546" y="820"/>
                  </a:lnTo>
                  <a:lnTo>
                    <a:pt x="527" y="820"/>
                  </a:lnTo>
                  <a:lnTo>
                    <a:pt x="517" y="810"/>
                  </a:lnTo>
                  <a:lnTo>
                    <a:pt x="507" y="800"/>
                  </a:lnTo>
                  <a:lnTo>
                    <a:pt x="488" y="800"/>
                  </a:lnTo>
                  <a:lnTo>
                    <a:pt x="478" y="810"/>
                  </a:lnTo>
                  <a:lnTo>
                    <a:pt x="458" y="820"/>
                  </a:lnTo>
                  <a:lnTo>
                    <a:pt x="458" y="830"/>
                  </a:lnTo>
                  <a:lnTo>
                    <a:pt x="449" y="839"/>
                  </a:lnTo>
                  <a:lnTo>
                    <a:pt x="410" y="839"/>
                  </a:lnTo>
                  <a:lnTo>
                    <a:pt x="390" y="859"/>
                  </a:lnTo>
                  <a:lnTo>
                    <a:pt x="400" y="879"/>
                  </a:lnTo>
                  <a:lnTo>
                    <a:pt x="410" y="879"/>
                  </a:lnTo>
                  <a:lnTo>
                    <a:pt x="390" y="888"/>
                  </a:lnTo>
                  <a:lnTo>
                    <a:pt x="380" y="888"/>
                  </a:lnTo>
                  <a:lnTo>
                    <a:pt x="361" y="898"/>
                  </a:lnTo>
                  <a:lnTo>
                    <a:pt x="351" y="918"/>
                  </a:lnTo>
                  <a:lnTo>
                    <a:pt x="341" y="927"/>
                  </a:lnTo>
                  <a:lnTo>
                    <a:pt x="341" y="937"/>
                  </a:lnTo>
                  <a:lnTo>
                    <a:pt x="331" y="937"/>
                  </a:lnTo>
                  <a:lnTo>
                    <a:pt x="331" y="918"/>
                  </a:lnTo>
                  <a:lnTo>
                    <a:pt x="331" y="908"/>
                  </a:lnTo>
                  <a:lnTo>
                    <a:pt x="322" y="908"/>
                  </a:lnTo>
                  <a:lnTo>
                    <a:pt x="322" y="918"/>
                  </a:lnTo>
                  <a:lnTo>
                    <a:pt x="322" y="937"/>
                  </a:lnTo>
                  <a:lnTo>
                    <a:pt x="322" y="947"/>
                  </a:lnTo>
                  <a:lnTo>
                    <a:pt x="322" y="957"/>
                  </a:lnTo>
                  <a:lnTo>
                    <a:pt x="341" y="966"/>
                  </a:lnTo>
                  <a:lnTo>
                    <a:pt x="351" y="976"/>
                  </a:lnTo>
                  <a:lnTo>
                    <a:pt x="371" y="957"/>
                  </a:lnTo>
                  <a:lnTo>
                    <a:pt x="380" y="957"/>
                  </a:lnTo>
                  <a:lnTo>
                    <a:pt x="390" y="976"/>
                  </a:lnTo>
                  <a:lnTo>
                    <a:pt x="400" y="976"/>
                  </a:lnTo>
                  <a:lnTo>
                    <a:pt x="439" y="966"/>
                  </a:lnTo>
                  <a:lnTo>
                    <a:pt x="449" y="947"/>
                  </a:lnTo>
                  <a:lnTo>
                    <a:pt x="478" y="947"/>
                  </a:lnTo>
                  <a:lnTo>
                    <a:pt x="488" y="976"/>
                  </a:lnTo>
                  <a:lnTo>
                    <a:pt x="458" y="986"/>
                  </a:lnTo>
                  <a:lnTo>
                    <a:pt x="410" y="1044"/>
                  </a:lnTo>
                  <a:lnTo>
                    <a:pt x="410" y="1074"/>
                  </a:lnTo>
                  <a:lnTo>
                    <a:pt x="390" y="1083"/>
                  </a:lnTo>
                  <a:lnTo>
                    <a:pt x="371" y="1083"/>
                  </a:lnTo>
                  <a:lnTo>
                    <a:pt x="351" y="1093"/>
                  </a:lnTo>
                  <a:lnTo>
                    <a:pt x="331" y="1113"/>
                  </a:lnTo>
                  <a:lnTo>
                    <a:pt x="302" y="1122"/>
                  </a:lnTo>
                  <a:lnTo>
                    <a:pt x="292" y="1132"/>
                  </a:lnTo>
                  <a:lnTo>
                    <a:pt x="273" y="1152"/>
                  </a:lnTo>
                  <a:lnTo>
                    <a:pt x="244" y="1152"/>
                  </a:lnTo>
                  <a:lnTo>
                    <a:pt x="224" y="1152"/>
                  </a:lnTo>
                  <a:lnTo>
                    <a:pt x="195" y="1152"/>
                  </a:lnTo>
                  <a:lnTo>
                    <a:pt x="175" y="1152"/>
                  </a:lnTo>
                  <a:lnTo>
                    <a:pt x="156" y="1152"/>
                  </a:lnTo>
                  <a:lnTo>
                    <a:pt x="146" y="1142"/>
                  </a:lnTo>
                  <a:lnTo>
                    <a:pt x="88" y="1152"/>
                  </a:lnTo>
                  <a:lnTo>
                    <a:pt x="68" y="1142"/>
                  </a:lnTo>
                  <a:lnTo>
                    <a:pt x="58" y="1132"/>
                  </a:lnTo>
                  <a:lnTo>
                    <a:pt x="39" y="1122"/>
                  </a:lnTo>
                  <a:lnTo>
                    <a:pt x="29" y="1113"/>
                  </a:lnTo>
                  <a:lnTo>
                    <a:pt x="19" y="1093"/>
                  </a:lnTo>
                  <a:lnTo>
                    <a:pt x="10" y="1093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5" name="Freeform 115"/>
            <p:cNvSpPr>
              <a:spLocks/>
            </p:cNvSpPr>
            <p:nvPr/>
          </p:nvSpPr>
          <p:spPr bwMode="auto">
            <a:xfrm>
              <a:off x="6613" y="3093"/>
              <a:ext cx="1120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42 w 1122"/>
                <a:gd name="T21" fmla="*/ 693 h 761"/>
                <a:gd name="T22" fmla="*/ 800 w 1122"/>
                <a:gd name="T23" fmla="*/ 741 h 761"/>
                <a:gd name="T24" fmla="*/ 869 w 1122"/>
                <a:gd name="T25" fmla="*/ 75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51 h 761"/>
                <a:gd name="T32" fmla="*/ 1083 w 1122"/>
                <a:gd name="T33" fmla="*/ 69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7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7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36 h 761"/>
                <a:gd name="T86" fmla="*/ 488 w 1122"/>
                <a:gd name="T87" fmla="*/ 15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10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42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5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44" y="751"/>
                  </a:lnTo>
                  <a:lnTo>
                    <a:pt x="1064" y="75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9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44" y="605"/>
                  </a:lnTo>
                  <a:lnTo>
                    <a:pt x="104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47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51"/>
                  </a:lnTo>
                  <a:lnTo>
                    <a:pt x="1025" y="351"/>
                  </a:lnTo>
                  <a:lnTo>
                    <a:pt x="1044" y="341"/>
                  </a:lnTo>
                  <a:lnTo>
                    <a:pt x="1064" y="33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7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5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7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36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59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36"/>
                  </a:lnTo>
                  <a:lnTo>
                    <a:pt x="537" y="136"/>
                  </a:lnTo>
                  <a:lnTo>
                    <a:pt x="527" y="136"/>
                  </a:lnTo>
                  <a:lnTo>
                    <a:pt x="517" y="136"/>
                  </a:lnTo>
                  <a:lnTo>
                    <a:pt x="517" y="156"/>
                  </a:lnTo>
                  <a:lnTo>
                    <a:pt x="498" y="156"/>
                  </a:lnTo>
                  <a:lnTo>
                    <a:pt x="498" y="146"/>
                  </a:lnTo>
                  <a:lnTo>
                    <a:pt x="488" y="15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19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56"/>
                  </a:lnTo>
                  <a:lnTo>
                    <a:pt x="137" y="136"/>
                  </a:lnTo>
                  <a:lnTo>
                    <a:pt x="117" y="156"/>
                  </a:lnTo>
                  <a:lnTo>
                    <a:pt x="108" y="146"/>
                  </a:lnTo>
                  <a:lnTo>
                    <a:pt x="88" y="136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10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3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  <a:lnTo>
                    <a:pt x="205" y="36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83" name="Group 112"/>
            <p:cNvGrpSpPr>
              <a:grpSpLocks/>
            </p:cNvGrpSpPr>
            <p:nvPr/>
          </p:nvGrpSpPr>
          <p:grpSpPr bwMode="auto">
            <a:xfrm>
              <a:off x="6612" y="3093"/>
              <a:ext cx="1122" cy="761"/>
              <a:chOff x="6613" y="3093"/>
              <a:chExt cx="1122" cy="761"/>
            </a:xfrm>
          </p:grpSpPr>
          <p:sp>
            <p:nvSpPr>
              <p:cNvPr id="323" name="Freeform 114"/>
              <p:cNvSpPr>
                <a:spLocks/>
              </p:cNvSpPr>
              <p:nvPr/>
            </p:nvSpPr>
            <p:spPr bwMode="auto">
              <a:xfrm>
                <a:off x="6614" y="3093"/>
                <a:ext cx="1120" cy="761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  <a:lnTo>
                      <a:pt x="205" y="361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4" name="Freeform 113"/>
              <p:cNvSpPr>
                <a:spLocks/>
              </p:cNvSpPr>
              <p:nvPr/>
            </p:nvSpPr>
            <p:spPr bwMode="auto">
              <a:xfrm>
                <a:off x="6614" y="3093"/>
                <a:ext cx="1120" cy="761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27" name="Freeform 111"/>
            <p:cNvSpPr>
              <a:spLocks/>
            </p:cNvSpPr>
            <p:nvPr/>
          </p:nvSpPr>
          <p:spPr bwMode="auto">
            <a:xfrm>
              <a:off x="7237" y="2059"/>
              <a:ext cx="1111" cy="1882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7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17 h 1883"/>
                <a:gd name="T32" fmla="*/ 98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34 w 1112"/>
                <a:gd name="T73" fmla="*/ 263 h 1883"/>
                <a:gd name="T74" fmla="*/ 702 w 1112"/>
                <a:gd name="T75" fmla="*/ 244 h 1883"/>
                <a:gd name="T76" fmla="*/ 682 w 1112"/>
                <a:gd name="T77" fmla="*/ 14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44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395 h 1883"/>
                <a:gd name="T122" fmla="*/ 341 w 1112"/>
                <a:gd name="T123" fmla="*/ 1483 h 1883"/>
                <a:gd name="T124" fmla="*/ 331 w 1112"/>
                <a:gd name="T125" fmla="*/ 1590 h 18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2"/>
                <a:gd name="T190" fmla="*/ 0 h 1883"/>
                <a:gd name="T191" fmla="*/ 1112 w 1112"/>
                <a:gd name="T192" fmla="*/ 1883 h 18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8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36" y="167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78"/>
                  </a:lnTo>
                  <a:lnTo>
                    <a:pt x="624" y="1688"/>
                  </a:lnTo>
                  <a:lnTo>
                    <a:pt x="643" y="167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78"/>
                  </a:lnTo>
                  <a:lnTo>
                    <a:pt x="741" y="167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1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85" y="1756"/>
                  </a:lnTo>
                  <a:lnTo>
                    <a:pt x="98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8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24" y="1571"/>
                  </a:lnTo>
                  <a:lnTo>
                    <a:pt x="102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1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85" y="1229"/>
                  </a:lnTo>
                  <a:lnTo>
                    <a:pt x="985" y="120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22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82" y="1024"/>
                  </a:lnTo>
                  <a:lnTo>
                    <a:pt x="682" y="1034"/>
                  </a:lnTo>
                  <a:lnTo>
                    <a:pt x="682" y="1053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3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1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8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3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82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2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82" y="14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34" y="146"/>
                  </a:lnTo>
                  <a:lnTo>
                    <a:pt x="614" y="14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8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9"/>
                  </a:lnTo>
                  <a:lnTo>
                    <a:pt x="458" y="0"/>
                  </a:lnTo>
                  <a:lnTo>
                    <a:pt x="448" y="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68"/>
                  </a:lnTo>
                  <a:lnTo>
                    <a:pt x="38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68"/>
                  </a:lnTo>
                  <a:lnTo>
                    <a:pt x="331" y="8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44"/>
                  </a:lnTo>
                  <a:lnTo>
                    <a:pt x="48" y="644"/>
                  </a:lnTo>
                  <a:lnTo>
                    <a:pt x="29" y="653"/>
                  </a:lnTo>
                  <a:lnTo>
                    <a:pt x="29" y="683"/>
                  </a:lnTo>
                  <a:lnTo>
                    <a:pt x="29" y="70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61"/>
                  </a:lnTo>
                  <a:lnTo>
                    <a:pt x="19" y="770"/>
                  </a:lnTo>
                  <a:lnTo>
                    <a:pt x="29" y="78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3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87" y="975"/>
                  </a:lnTo>
                  <a:lnTo>
                    <a:pt x="78" y="985"/>
                  </a:lnTo>
                  <a:lnTo>
                    <a:pt x="7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7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3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75" y="1190"/>
                  </a:lnTo>
                  <a:lnTo>
                    <a:pt x="175" y="120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3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7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3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39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8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31" y="1551"/>
                  </a:lnTo>
                  <a:lnTo>
                    <a:pt x="331" y="1571"/>
                  </a:lnTo>
                  <a:lnTo>
                    <a:pt x="331" y="159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85" name="Group 108"/>
            <p:cNvGrpSpPr>
              <a:grpSpLocks/>
            </p:cNvGrpSpPr>
            <p:nvPr/>
          </p:nvGrpSpPr>
          <p:grpSpPr bwMode="auto">
            <a:xfrm>
              <a:off x="7237" y="2059"/>
              <a:ext cx="1112" cy="1883"/>
              <a:chOff x="7238" y="2059"/>
              <a:chExt cx="1112" cy="1883"/>
            </a:xfrm>
          </p:grpSpPr>
          <p:sp>
            <p:nvSpPr>
              <p:cNvPr id="321" name="Freeform 110"/>
              <p:cNvSpPr>
                <a:spLocks/>
              </p:cNvSpPr>
              <p:nvPr/>
            </p:nvSpPr>
            <p:spPr bwMode="auto">
              <a:xfrm>
                <a:off x="7238" y="2059"/>
                <a:ext cx="1111" cy="1882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331 w 1112"/>
                  <a:gd name="T125" fmla="*/ 1590 h 188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12"/>
                  <a:gd name="T190" fmla="*/ 0 h 1883"/>
                  <a:gd name="T191" fmla="*/ 1112 w 1112"/>
                  <a:gd name="T192" fmla="*/ 1883 h 188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  <a:lnTo>
                      <a:pt x="331" y="1590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2" name="Freeform 109"/>
              <p:cNvSpPr>
                <a:spLocks/>
              </p:cNvSpPr>
              <p:nvPr/>
            </p:nvSpPr>
            <p:spPr bwMode="auto">
              <a:xfrm>
                <a:off x="7238" y="2059"/>
                <a:ext cx="1111" cy="1882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12"/>
                  <a:gd name="T187" fmla="*/ 0 h 1883"/>
                  <a:gd name="T188" fmla="*/ 1112 w 1112"/>
                  <a:gd name="T189" fmla="*/ 1883 h 188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29" name="Freeform 107"/>
            <p:cNvSpPr>
              <a:spLocks/>
            </p:cNvSpPr>
            <p:nvPr/>
          </p:nvSpPr>
          <p:spPr bwMode="auto">
            <a:xfrm>
              <a:off x="7716" y="3006"/>
              <a:ext cx="28" cy="29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87" name="Group 104"/>
            <p:cNvGrpSpPr>
              <a:grpSpLocks/>
            </p:cNvGrpSpPr>
            <p:nvPr/>
          </p:nvGrpSpPr>
          <p:grpSpPr bwMode="auto">
            <a:xfrm>
              <a:off x="7715" y="3005"/>
              <a:ext cx="29" cy="29"/>
              <a:chOff x="7716" y="3005"/>
              <a:chExt cx="29" cy="29"/>
            </a:xfrm>
          </p:grpSpPr>
          <p:sp>
            <p:nvSpPr>
              <p:cNvPr id="319" name="Freeform 106"/>
              <p:cNvSpPr>
                <a:spLocks/>
              </p:cNvSpPr>
              <p:nvPr/>
            </p:nvSpPr>
            <p:spPr bwMode="auto">
              <a:xfrm>
                <a:off x="7717" y="3006"/>
                <a:ext cx="28" cy="29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0" name="Freeform 105"/>
              <p:cNvSpPr>
                <a:spLocks/>
              </p:cNvSpPr>
              <p:nvPr/>
            </p:nvSpPr>
            <p:spPr bwMode="auto">
              <a:xfrm>
                <a:off x="7717" y="3006"/>
                <a:ext cx="28" cy="29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31" name="Freeform 103"/>
            <p:cNvSpPr>
              <a:spLocks/>
            </p:cNvSpPr>
            <p:nvPr/>
          </p:nvSpPr>
          <p:spPr bwMode="auto">
            <a:xfrm>
              <a:off x="7755" y="2977"/>
              <a:ext cx="56" cy="49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2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2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89" name="Group 100"/>
            <p:cNvGrpSpPr>
              <a:grpSpLocks/>
            </p:cNvGrpSpPr>
            <p:nvPr/>
          </p:nvGrpSpPr>
          <p:grpSpPr bwMode="auto">
            <a:xfrm>
              <a:off x="7754" y="2976"/>
              <a:ext cx="58" cy="49"/>
              <a:chOff x="7755" y="2976"/>
              <a:chExt cx="58" cy="49"/>
            </a:xfrm>
          </p:grpSpPr>
          <p:sp>
            <p:nvSpPr>
              <p:cNvPr id="317" name="Freeform 102"/>
              <p:cNvSpPr>
                <a:spLocks/>
              </p:cNvSpPr>
              <p:nvPr/>
            </p:nvSpPr>
            <p:spPr bwMode="auto">
              <a:xfrm>
                <a:off x="7756" y="2977"/>
                <a:ext cx="56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8" name="Freeform 101"/>
              <p:cNvSpPr>
                <a:spLocks/>
              </p:cNvSpPr>
              <p:nvPr/>
            </p:nvSpPr>
            <p:spPr bwMode="auto">
              <a:xfrm>
                <a:off x="7756" y="2977"/>
                <a:ext cx="56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33" name="Freeform 99"/>
            <p:cNvSpPr>
              <a:spLocks/>
            </p:cNvSpPr>
            <p:nvPr/>
          </p:nvSpPr>
          <p:spPr bwMode="auto">
            <a:xfrm>
              <a:off x="8084" y="2858"/>
              <a:ext cx="644" cy="819"/>
            </a:xfrm>
            <a:custGeom>
              <a:avLst/>
              <a:gdLst>
                <a:gd name="T0" fmla="*/ 127 w 644"/>
                <a:gd name="T1" fmla="*/ 273 h 819"/>
                <a:gd name="T2" fmla="*/ 147 w 644"/>
                <a:gd name="T3" fmla="*/ 292 h 819"/>
                <a:gd name="T4" fmla="*/ 176 w 644"/>
                <a:gd name="T5" fmla="*/ 302 h 819"/>
                <a:gd name="T6" fmla="*/ 215 w 644"/>
                <a:gd name="T7" fmla="*/ 331 h 819"/>
                <a:gd name="T8" fmla="*/ 234 w 644"/>
                <a:gd name="T9" fmla="*/ 370 h 819"/>
                <a:gd name="T10" fmla="*/ 293 w 644"/>
                <a:gd name="T11" fmla="*/ 439 h 819"/>
                <a:gd name="T12" fmla="*/ 332 w 644"/>
                <a:gd name="T13" fmla="*/ 507 h 819"/>
                <a:gd name="T14" fmla="*/ 351 w 644"/>
                <a:gd name="T15" fmla="*/ 566 h 819"/>
                <a:gd name="T16" fmla="*/ 410 w 644"/>
                <a:gd name="T17" fmla="*/ 595 h 819"/>
                <a:gd name="T18" fmla="*/ 439 w 644"/>
                <a:gd name="T19" fmla="*/ 624 h 819"/>
                <a:gd name="T20" fmla="*/ 459 w 644"/>
                <a:gd name="T21" fmla="*/ 683 h 819"/>
                <a:gd name="T22" fmla="*/ 488 w 644"/>
                <a:gd name="T23" fmla="*/ 722 h 819"/>
                <a:gd name="T24" fmla="*/ 527 w 644"/>
                <a:gd name="T25" fmla="*/ 780 h 819"/>
                <a:gd name="T26" fmla="*/ 556 w 644"/>
                <a:gd name="T27" fmla="*/ 810 h 819"/>
                <a:gd name="T28" fmla="*/ 566 w 644"/>
                <a:gd name="T29" fmla="*/ 800 h 819"/>
                <a:gd name="T30" fmla="*/ 547 w 644"/>
                <a:gd name="T31" fmla="*/ 741 h 819"/>
                <a:gd name="T32" fmla="*/ 547 w 644"/>
                <a:gd name="T33" fmla="*/ 712 h 819"/>
                <a:gd name="T34" fmla="*/ 605 w 644"/>
                <a:gd name="T35" fmla="*/ 702 h 819"/>
                <a:gd name="T36" fmla="*/ 634 w 644"/>
                <a:gd name="T37" fmla="*/ 731 h 819"/>
                <a:gd name="T38" fmla="*/ 644 w 644"/>
                <a:gd name="T39" fmla="*/ 722 h 819"/>
                <a:gd name="T40" fmla="*/ 625 w 644"/>
                <a:gd name="T41" fmla="*/ 692 h 819"/>
                <a:gd name="T42" fmla="*/ 595 w 644"/>
                <a:gd name="T43" fmla="*/ 663 h 819"/>
                <a:gd name="T44" fmla="*/ 576 w 644"/>
                <a:gd name="T45" fmla="*/ 673 h 819"/>
                <a:gd name="T46" fmla="*/ 537 w 644"/>
                <a:gd name="T47" fmla="*/ 653 h 819"/>
                <a:gd name="T48" fmla="*/ 478 w 644"/>
                <a:gd name="T49" fmla="*/ 624 h 819"/>
                <a:gd name="T50" fmla="*/ 429 w 644"/>
                <a:gd name="T51" fmla="*/ 546 h 819"/>
                <a:gd name="T52" fmla="*/ 410 w 644"/>
                <a:gd name="T53" fmla="*/ 488 h 819"/>
                <a:gd name="T54" fmla="*/ 410 w 644"/>
                <a:gd name="T55" fmla="*/ 449 h 819"/>
                <a:gd name="T56" fmla="*/ 449 w 644"/>
                <a:gd name="T57" fmla="*/ 429 h 819"/>
                <a:gd name="T58" fmla="*/ 527 w 644"/>
                <a:gd name="T59" fmla="*/ 439 h 819"/>
                <a:gd name="T60" fmla="*/ 527 w 644"/>
                <a:gd name="T61" fmla="*/ 429 h 819"/>
                <a:gd name="T62" fmla="*/ 488 w 644"/>
                <a:gd name="T63" fmla="*/ 419 h 819"/>
                <a:gd name="T64" fmla="*/ 449 w 644"/>
                <a:gd name="T65" fmla="*/ 380 h 819"/>
                <a:gd name="T66" fmla="*/ 429 w 644"/>
                <a:gd name="T67" fmla="*/ 361 h 819"/>
                <a:gd name="T68" fmla="*/ 390 w 644"/>
                <a:gd name="T69" fmla="*/ 341 h 819"/>
                <a:gd name="T70" fmla="*/ 322 w 644"/>
                <a:gd name="T71" fmla="*/ 292 h 819"/>
                <a:gd name="T72" fmla="*/ 283 w 644"/>
                <a:gd name="T73" fmla="*/ 273 h 819"/>
                <a:gd name="T74" fmla="*/ 254 w 644"/>
                <a:gd name="T75" fmla="*/ 244 h 819"/>
                <a:gd name="T76" fmla="*/ 234 w 644"/>
                <a:gd name="T77" fmla="*/ 234 h 819"/>
                <a:gd name="T78" fmla="*/ 225 w 644"/>
                <a:gd name="T79" fmla="*/ 214 h 819"/>
                <a:gd name="T80" fmla="*/ 205 w 644"/>
                <a:gd name="T81" fmla="*/ 205 h 819"/>
                <a:gd name="T82" fmla="*/ 195 w 644"/>
                <a:gd name="T83" fmla="*/ 185 h 819"/>
                <a:gd name="T84" fmla="*/ 176 w 644"/>
                <a:gd name="T85" fmla="*/ 156 h 819"/>
                <a:gd name="T86" fmla="*/ 186 w 644"/>
                <a:gd name="T87" fmla="*/ 156 h 819"/>
                <a:gd name="T88" fmla="*/ 147 w 644"/>
                <a:gd name="T89" fmla="*/ 117 h 819"/>
                <a:gd name="T90" fmla="*/ 117 w 644"/>
                <a:gd name="T91" fmla="*/ 97 h 819"/>
                <a:gd name="T92" fmla="*/ 137 w 644"/>
                <a:gd name="T93" fmla="*/ 97 h 819"/>
                <a:gd name="T94" fmla="*/ 88 w 644"/>
                <a:gd name="T95" fmla="*/ 78 h 819"/>
                <a:gd name="T96" fmla="*/ 59 w 644"/>
                <a:gd name="T97" fmla="*/ 39 h 819"/>
                <a:gd name="T98" fmla="*/ 30 w 644"/>
                <a:gd name="T99" fmla="*/ 19 h 819"/>
                <a:gd name="T100" fmla="*/ 10 w 644"/>
                <a:gd name="T101" fmla="*/ 19 h 819"/>
                <a:gd name="T102" fmla="*/ 0 w 644"/>
                <a:gd name="T103" fmla="*/ 39 h 819"/>
                <a:gd name="T104" fmla="*/ 30 w 644"/>
                <a:gd name="T105" fmla="*/ 58 h 819"/>
                <a:gd name="T106" fmla="*/ 59 w 644"/>
                <a:gd name="T107" fmla="*/ 68 h 819"/>
                <a:gd name="T108" fmla="*/ 69 w 644"/>
                <a:gd name="T109" fmla="*/ 78 h 819"/>
                <a:gd name="T110" fmla="*/ 69 w 644"/>
                <a:gd name="T111" fmla="*/ 88 h 819"/>
                <a:gd name="T112" fmla="*/ 59 w 644"/>
                <a:gd name="T113" fmla="*/ 117 h 819"/>
                <a:gd name="T114" fmla="*/ 39 w 644"/>
                <a:gd name="T115" fmla="*/ 117 h 819"/>
                <a:gd name="T116" fmla="*/ 49 w 644"/>
                <a:gd name="T117" fmla="*/ 156 h 819"/>
                <a:gd name="T118" fmla="*/ 78 w 644"/>
                <a:gd name="T119" fmla="*/ 185 h 819"/>
                <a:gd name="T120" fmla="*/ 98 w 644"/>
                <a:gd name="T121" fmla="*/ 234 h 81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4"/>
                <a:gd name="T184" fmla="*/ 0 h 819"/>
                <a:gd name="T185" fmla="*/ 644 w 644"/>
                <a:gd name="T186" fmla="*/ 819 h 81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4" h="819">
                  <a:moveTo>
                    <a:pt x="117" y="253"/>
                  </a:moveTo>
                  <a:lnTo>
                    <a:pt x="117" y="273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83"/>
                  </a:lnTo>
                  <a:lnTo>
                    <a:pt x="147" y="292"/>
                  </a:lnTo>
                  <a:lnTo>
                    <a:pt x="137" y="292"/>
                  </a:lnTo>
                  <a:lnTo>
                    <a:pt x="166" y="302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95" y="322"/>
                  </a:lnTo>
                  <a:lnTo>
                    <a:pt x="215" y="331"/>
                  </a:lnTo>
                  <a:lnTo>
                    <a:pt x="225" y="341"/>
                  </a:lnTo>
                  <a:lnTo>
                    <a:pt x="225" y="370"/>
                  </a:lnTo>
                  <a:lnTo>
                    <a:pt x="234" y="370"/>
                  </a:lnTo>
                  <a:lnTo>
                    <a:pt x="254" y="400"/>
                  </a:lnTo>
                  <a:lnTo>
                    <a:pt x="273" y="419"/>
                  </a:lnTo>
                  <a:lnTo>
                    <a:pt x="293" y="439"/>
                  </a:lnTo>
                  <a:lnTo>
                    <a:pt x="312" y="458"/>
                  </a:lnTo>
                  <a:lnTo>
                    <a:pt x="322" y="488"/>
                  </a:lnTo>
                  <a:lnTo>
                    <a:pt x="332" y="507"/>
                  </a:lnTo>
                  <a:lnTo>
                    <a:pt x="342" y="517"/>
                  </a:lnTo>
                  <a:lnTo>
                    <a:pt x="351" y="546"/>
                  </a:lnTo>
                  <a:lnTo>
                    <a:pt x="351" y="566"/>
                  </a:lnTo>
                  <a:lnTo>
                    <a:pt x="371" y="585"/>
                  </a:lnTo>
                  <a:lnTo>
                    <a:pt x="390" y="585"/>
                  </a:lnTo>
                  <a:lnTo>
                    <a:pt x="410" y="595"/>
                  </a:lnTo>
                  <a:lnTo>
                    <a:pt x="420" y="605"/>
                  </a:lnTo>
                  <a:lnTo>
                    <a:pt x="429" y="605"/>
                  </a:lnTo>
                  <a:lnTo>
                    <a:pt x="439" y="624"/>
                  </a:lnTo>
                  <a:lnTo>
                    <a:pt x="439" y="644"/>
                  </a:lnTo>
                  <a:lnTo>
                    <a:pt x="449" y="673"/>
                  </a:lnTo>
                  <a:lnTo>
                    <a:pt x="459" y="683"/>
                  </a:lnTo>
                  <a:lnTo>
                    <a:pt x="468" y="692"/>
                  </a:lnTo>
                  <a:lnTo>
                    <a:pt x="478" y="702"/>
                  </a:lnTo>
                  <a:lnTo>
                    <a:pt x="488" y="722"/>
                  </a:lnTo>
                  <a:lnTo>
                    <a:pt x="488" y="751"/>
                  </a:lnTo>
                  <a:lnTo>
                    <a:pt x="508" y="771"/>
                  </a:lnTo>
                  <a:lnTo>
                    <a:pt x="527" y="780"/>
                  </a:lnTo>
                  <a:lnTo>
                    <a:pt x="537" y="800"/>
                  </a:lnTo>
                  <a:lnTo>
                    <a:pt x="547" y="810"/>
                  </a:lnTo>
                  <a:lnTo>
                    <a:pt x="556" y="810"/>
                  </a:lnTo>
                  <a:lnTo>
                    <a:pt x="576" y="819"/>
                  </a:lnTo>
                  <a:lnTo>
                    <a:pt x="576" y="810"/>
                  </a:lnTo>
                  <a:lnTo>
                    <a:pt x="566" y="800"/>
                  </a:lnTo>
                  <a:lnTo>
                    <a:pt x="566" y="780"/>
                  </a:lnTo>
                  <a:lnTo>
                    <a:pt x="556" y="771"/>
                  </a:lnTo>
                  <a:lnTo>
                    <a:pt x="547" y="741"/>
                  </a:lnTo>
                  <a:lnTo>
                    <a:pt x="537" y="731"/>
                  </a:lnTo>
                  <a:lnTo>
                    <a:pt x="547" y="712"/>
                  </a:lnTo>
                  <a:lnTo>
                    <a:pt x="566" y="712"/>
                  </a:lnTo>
                  <a:lnTo>
                    <a:pt x="586" y="702"/>
                  </a:lnTo>
                  <a:lnTo>
                    <a:pt x="605" y="702"/>
                  </a:lnTo>
                  <a:lnTo>
                    <a:pt x="615" y="712"/>
                  </a:lnTo>
                  <a:lnTo>
                    <a:pt x="634" y="722"/>
                  </a:lnTo>
                  <a:lnTo>
                    <a:pt x="634" y="731"/>
                  </a:lnTo>
                  <a:lnTo>
                    <a:pt x="644" y="741"/>
                  </a:lnTo>
                  <a:lnTo>
                    <a:pt x="644" y="731"/>
                  </a:lnTo>
                  <a:lnTo>
                    <a:pt x="644" y="722"/>
                  </a:lnTo>
                  <a:lnTo>
                    <a:pt x="644" y="702"/>
                  </a:lnTo>
                  <a:lnTo>
                    <a:pt x="634" y="702"/>
                  </a:lnTo>
                  <a:lnTo>
                    <a:pt x="625" y="692"/>
                  </a:lnTo>
                  <a:lnTo>
                    <a:pt x="615" y="683"/>
                  </a:lnTo>
                  <a:lnTo>
                    <a:pt x="605" y="673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76" y="673"/>
                  </a:lnTo>
                  <a:lnTo>
                    <a:pt x="566" y="673"/>
                  </a:lnTo>
                  <a:lnTo>
                    <a:pt x="556" y="653"/>
                  </a:lnTo>
                  <a:lnTo>
                    <a:pt x="537" y="653"/>
                  </a:lnTo>
                  <a:lnTo>
                    <a:pt x="517" y="644"/>
                  </a:lnTo>
                  <a:lnTo>
                    <a:pt x="488" y="644"/>
                  </a:lnTo>
                  <a:lnTo>
                    <a:pt x="478" y="624"/>
                  </a:lnTo>
                  <a:lnTo>
                    <a:pt x="459" y="595"/>
                  </a:lnTo>
                  <a:lnTo>
                    <a:pt x="439" y="566"/>
                  </a:lnTo>
                  <a:lnTo>
                    <a:pt x="429" y="546"/>
                  </a:lnTo>
                  <a:lnTo>
                    <a:pt x="429" y="517"/>
                  </a:lnTo>
                  <a:lnTo>
                    <a:pt x="420" y="497"/>
                  </a:lnTo>
                  <a:lnTo>
                    <a:pt x="410" y="488"/>
                  </a:lnTo>
                  <a:lnTo>
                    <a:pt x="400" y="478"/>
                  </a:lnTo>
                  <a:lnTo>
                    <a:pt x="400" y="468"/>
                  </a:lnTo>
                  <a:lnTo>
                    <a:pt x="410" y="449"/>
                  </a:lnTo>
                  <a:lnTo>
                    <a:pt x="410" y="439"/>
                  </a:lnTo>
                  <a:lnTo>
                    <a:pt x="429" y="429"/>
                  </a:lnTo>
                  <a:lnTo>
                    <a:pt x="449" y="429"/>
                  </a:lnTo>
                  <a:lnTo>
                    <a:pt x="478" y="429"/>
                  </a:lnTo>
                  <a:lnTo>
                    <a:pt x="517" y="429"/>
                  </a:lnTo>
                  <a:lnTo>
                    <a:pt x="527" y="439"/>
                  </a:lnTo>
                  <a:lnTo>
                    <a:pt x="537" y="449"/>
                  </a:lnTo>
                  <a:lnTo>
                    <a:pt x="537" y="439"/>
                  </a:lnTo>
                  <a:lnTo>
                    <a:pt x="527" y="429"/>
                  </a:lnTo>
                  <a:lnTo>
                    <a:pt x="517" y="419"/>
                  </a:lnTo>
                  <a:lnTo>
                    <a:pt x="498" y="419"/>
                  </a:lnTo>
                  <a:lnTo>
                    <a:pt x="488" y="419"/>
                  </a:lnTo>
                  <a:lnTo>
                    <a:pt x="478" y="410"/>
                  </a:lnTo>
                  <a:lnTo>
                    <a:pt x="468" y="400"/>
                  </a:lnTo>
                  <a:lnTo>
                    <a:pt x="449" y="380"/>
                  </a:lnTo>
                  <a:lnTo>
                    <a:pt x="439" y="380"/>
                  </a:lnTo>
                  <a:lnTo>
                    <a:pt x="429" y="370"/>
                  </a:lnTo>
                  <a:lnTo>
                    <a:pt x="429" y="361"/>
                  </a:lnTo>
                  <a:lnTo>
                    <a:pt x="410" y="361"/>
                  </a:lnTo>
                  <a:lnTo>
                    <a:pt x="400" y="351"/>
                  </a:lnTo>
                  <a:lnTo>
                    <a:pt x="390" y="341"/>
                  </a:lnTo>
                  <a:lnTo>
                    <a:pt x="371" y="331"/>
                  </a:lnTo>
                  <a:lnTo>
                    <a:pt x="342" y="312"/>
                  </a:lnTo>
                  <a:lnTo>
                    <a:pt x="322" y="292"/>
                  </a:lnTo>
                  <a:lnTo>
                    <a:pt x="293" y="273"/>
                  </a:lnTo>
                  <a:lnTo>
                    <a:pt x="283" y="263"/>
                  </a:lnTo>
                  <a:lnTo>
                    <a:pt x="283" y="273"/>
                  </a:lnTo>
                  <a:lnTo>
                    <a:pt x="273" y="263"/>
                  </a:lnTo>
                  <a:lnTo>
                    <a:pt x="273" y="253"/>
                  </a:lnTo>
                  <a:lnTo>
                    <a:pt x="254" y="244"/>
                  </a:lnTo>
                  <a:lnTo>
                    <a:pt x="244" y="244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25" y="214"/>
                  </a:lnTo>
                  <a:lnTo>
                    <a:pt x="215" y="21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195" y="205"/>
                  </a:lnTo>
                  <a:lnTo>
                    <a:pt x="195" y="195"/>
                  </a:lnTo>
                  <a:lnTo>
                    <a:pt x="195" y="185"/>
                  </a:lnTo>
                  <a:lnTo>
                    <a:pt x="186" y="185"/>
                  </a:lnTo>
                  <a:lnTo>
                    <a:pt x="176" y="185"/>
                  </a:lnTo>
                  <a:lnTo>
                    <a:pt x="176" y="156"/>
                  </a:lnTo>
                  <a:lnTo>
                    <a:pt x="186" y="166"/>
                  </a:lnTo>
                  <a:lnTo>
                    <a:pt x="186" y="156"/>
                  </a:lnTo>
                  <a:lnTo>
                    <a:pt x="176" y="146"/>
                  </a:lnTo>
                  <a:lnTo>
                    <a:pt x="166" y="127"/>
                  </a:lnTo>
                  <a:lnTo>
                    <a:pt x="147" y="117"/>
                  </a:lnTo>
                  <a:lnTo>
                    <a:pt x="127" y="117"/>
                  </a:lnTo>
                  <a:lnTo>
                    <a:pt x="117" y="107"/>
                  </a:lnTo>
                  <a:lnTo>
                    <a:pt x="117" y="97"/>
                  </a:lnTo>
                  <a:lnTo>
                    <a:pt x="117" y="88"/>
                  </a:lnTo>
                  <a:lnTo>
                    <a:pt x="127" y="97"/>
                  </a:lnTo>
                  <a:lnTo>
                    <a:pt x="137" y="97"/>
                  </a:lnTo>
                  <a:lnTo>
                    <a:pt x="127" y="88"/>
                  </a:lnTo>
                  <a:lnTo>
                    <a:pt x="108" y="78"/>
                  </a:lnTo>
                  <a:lnTo>
                    <a:pt x="88" y="78"/>
                  </a:lnTo>
                  <a:lnTo>
                    <a:pt x="88" y="68"/>
                  </a:lnTo>
                  <a:lnTo>
                    <a:pt x="69" y="49"/>
                  </a:lnTo>
                  <a:lnTo>
                    <a:pt x="59" y="39"/>
                  </a:lnTo>
                  <a:lnTo>
                    <a:pt x="59" y="19"/>
                  </a:lnTo>
                  <a:lnTo>
                    <a:pt x="49" y="19"/>
                  </a:lnTo>
                  <a:lnTo>
                    <a:pt x="30" y="19"/>
                  </a:lnTo>
                  <a:lnTo>
                    <a:pt x="2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10" y="2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58"/>
                  </a:lnTo>
                  <a:lnTo>
                    <a:pt x="49" y="58"/>
                  </a:lnTo>
                  <a:lnTo>
                    <a:pt x="59" y="58"/>
                  </a:lnTo>
                  <a:lnTo>
                    <a:pt x="59" y="68"/>
                  </a:lnTo>
                  <a:lnTo>
                    <a:pt x="69" y="68"/>
                  </a:lnTo>
                  <a:lnTo>
                    <a:pt x="69" y="78"/>
                  </a:lnTo>
                  <a:lnTo>
                    <a:pt x="59" y="88"/>
                  </a:lnTo>
                  <a:lnTo>
                    <a:pt x="69" y="88"/>
                  </a:lnTo>
                  <a:lnTo>
                    <a:pt x="69" y="97"/>
                  </a:lnTo>
                  <a:lnTo>
                    <a:pt x="69" y="117"/>
                  </a:lnTo>
                  <a:lnTo>
                    <a:pt x="59" y="117"/>
                  </a:lnTo>
                  <a:lnTo>
                    <a:pt x="49" y="107"/>
                  </a:lnTo>
                  <a:lnTo>
                    <a:pt x="39" y="107"/>
                  </a:lnTo>
                  <a:lnTo>
                    <a:pt x="39" y="117"/>
                  </a:lnTo>
                  <a:lnTo>
                    <a:pt x="30" y="127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69" y="166"/>
                  </a:lnTo>
                  <a:lnTo>
                    <a:pt x="69" y="17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8" y="234"/>
                  </a:lnTo>
                  <a:lnTo>
                    <a:pt x="108" y="253"/>
                  </a:lnTo>
                  <a:lnTo>
                    <a:pt x="117" y="25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91" name="Group 96"/>
            <p:cNvGrpSpPr>
              <a:grpSpLocks/>
            </p:cNvGrpSpPr>
            <p:nvPr/>
          </p:nvGrpSpPr>
          <p:grpSpPr bwMode="auto">
            <a:xfrm>
              <a:off x="8085" y="2859"/>
              <a:ext cx="644" cy="819"/>
              <a:chOff x="8086" y="2859"/>
              <a:chExt cx="644" cy="819"/>
            </a:xfrm>
          </p:grpSpPr>
          <p:sp>
            <p:nvSpPr>
              <p:cNvPr id="315" name="Freeform 98"/>
              <p:cNvSpPr>
                <a:spLocks/>
              </p:cNvSpPr>
              <p:nvPr/>
            </p:nvSpPr>
            <p:spPr bwMode="auto">
              <a:xfrm>
                <a:off x="8085" y="2858"/>
                <a:ext cx="644" cy="819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6" name="Freeform 97"/>
              <p:cNvSpPr>
                <a:spLocks/>
              </p:cNvSpPr>
              <p:nvPr/>
            </p:nvSpPr>
            <p:spPr bwMode="auto">
              <a:xfrm>
                <a:off x="8085" y="2858"/>
                <a:ext cx="644" cy="819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35" name="Freeform 95"/>
            <p:cNvSpPr>
              <a:spLocks/>
            </p:cNvSpPr>
            <p:nvPr/>
          </p:nvSpPr>
          <p:spPr bwMode="auto">
            <a:xfrm>
              <a:off x="9109" y="2527"/>
              <a:ext cx="20" cy="29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93" name="Group 92"/>
            <p:cNvGrpSpPr>
              <a:grpSpLocks/>
            </p:cNvGrpSpPr>
            <p:nvPr/>
          </p:nvGrpSpPr>
          <p:grpSpPr bwMode="auto">
            <a:xfrm>
              <a:off x="9109" y="2527"/>
              <a:ext cx="20" cy="29"/>
              <a:chOff x="9110" y="2527"/>
              <a:chExt cx="20" cy="29"/>
            </a:xfrm>
          </p:grpSpPr>
          <p:sp>
            <p:nvSpPr>
              <p:cNvPr id="313" name="Freeform 94"/>
              <p:cNvSpPr>
                <a:spLocks/>
              </p:cNvSpPr>
              <p:nvPr/>
            </p:nvSpPr>
            <p:spPr bwMode="auto">
              <a:xfrm>
                <a:off x="9110" y="2527"/>
                <a:ext cx="20" cy="29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4" name="Freeform 93"/>
              <p:cNvSpPr>
                <a:spLocks/>
              </p:cNvSpPr>
              <p:nvPr/>
            </p:nvSpPr>
            <p:spPr bwMode="auto">
              <a:xfrm>
                <a:off x="9110" y="2527"/>
                <a:ext cx="20" cy="29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37" name="Freeform 91"/>
            <p:cNvSpPr>
              <a:spLocks/>
            </p:cNvSpPr>
            <p:nvPr/>
          </p:nvSpPr>
          <p:spPr bwMode="auto">
            <a:xfrm>
              <a:off x="1531" y="1435"/>
              <a:ext cx="518" cy="380"/>
            </a:xfrm>
            <a:custGeom>
              <a:avLst/>
              <a:gdLst/>
              <a:ahLst/>
              <a:cxnLst>
                <a:cxn ang="0">
                  <a:pos x="478" y="244"/>
                </a:cxn>
                <a:cxn ang="0">
                  <a:pos x="449" y="244"/>
                </a:cxn>
                <a:cxn ang="0">
                  <a:pos x="439" y="283"/>
                </a:cxn>
                <a:cxn ang="0">
                  <a:pos x="420" y="322"/>
                </a:cxn>
                <a:cxn ang="0">
                  <a:pos x="420" y="342"/>
                </a:cxn>
                <a:cxn ang="0">
                  <a:pos x="391" y="361"/>
                </a:cxn>
                <a:cxn ang="0">
                  <a:pos x="361" y="361"/>
                </a:cxn>
                <a:cxn ang="0">
                  <a:pos x="361" y="342"/>
                </a:cxn>
                <a:cxn ang="0">
                  <a:pos x="342" y="322"/>
                </a:cxn>
                <a:cxn ang="0">
                  <a:pos x="322" y="332"/>
                </a:cxn>
                <a:cxn ang="0">
                  <a:pos x="303" y="332"/>
                </a:cxn>
                <a:cxn ang="0">
                  <a:pos x="293" y="312"/>
                </a:cxn>
                <a:cxn ang="0">
                  <a:pos x="235" y="293"/>
                </a:cxn>
                <a:cxn ang="0">
                  <a:pos x="235" y="254"/>
                </a:cxn>
                <a:cxn ang="0">
                  <a:pos x="195" y="264"/>
                </a:cxn>
                <a:cxn ang="0">
                  <a:pos x="166" y="264"/>
                </a:cxn>
                <a:cxn ang="0">
                  <a:pos x="147" y="244"/>
                </a:cxn>
                <a:cxn ang="0">
                  <a:pos x="147" y="205"/>
                </a:cxn>
                <a:cxn ang="0">
                  <a:pos x="117" y="205"/>
                </a:cxn>
                <a:cxn ang="0">
                  <a:pos x="59" y="176"/>
                </a:cxn>
                <a:cxn ang="0">
                  <a:pos x="10" y="108"/>
                </a:cxn>
                <a:cxn ang="0">
                  <a:pos x="30" y="88"/>
                </a:cxn>
                <a:cxn ang="0">
                  <a:pos x="59" y="69"/>
                </a:cxn>
                <a:cxn ang="0">
                  <a:pos x="78" y="49"/>
                </a:cxn>
                <a:cxn ang="0">
                  <a:pos x="88" y="20"/>
                </a:cxn>
                <a:cxn ang="0">
                  <a:pos x="98" y="0"/>
                </a:cxn>
                <a:cxn ang="0">
                  <a:pos x="127" y="0"/>
                </a:cxn>
                <a:cxn ang="0">
                  <a:pos x="147" y="10"/>
                </a:cxn>
                <a:cxn ang="0">
                  <a:pos x="156" y="10"/>
                </a:cxn>
                <a:cxn ang="0">
                  <a:pos x="186" y="30"/>
                </a:cxn>
                <a:cxn ang="0">
                  <a:pos x="205" y="39"/>
                </a:cxn>
                <a:cxn ang="0">
                  <a:pos x="235" y="49"/>
                </a:cxn>
                <a:cxn ang="0">
                  <a:pos x="244" y="78"/>
                </a:cxn>
                <a:cxn ang="0">
                  <a:pos x="293" y="69"/>
                </a:cxn>
                <a:cxn ang="0">
                  <a:pos x="313" y="69"/>
                </a:cxn>
                <a:cxn ang="0">
                  <a:pos x="332" y="49"/>
                </a:cxn>
                <a:cxn ang="0">
                  <a:pos x="352" y="98"/>
                </a:cxn>
                <a:cxn ang="0">
                  <a:pos x="371" y="108"/>
                </a:cxn>
                <a:cxn ang="0">
                  <a:pos x="400" y="117"/>
                </a:cxn>
                <a:cxn ang="0">
                  <a:pos x="459" y="166"/>
                </a:cxn>
                <a:cxn ang="0">
                  <a:pos x="488" y="166"/>
                </a:cxn>
                <a:cxn ang="0">
                  <a:pos x="517" y="186"/>
                </a:cxn>
                <a:cxn ang="0">
                  <a:pos x="508" y="215"/>
                </a:cxn>
                <a:cxn ang="0">
                  <a:pos x="469" y="234"/>
                </a:cxn>
              </a:cxnLst>
              <a:rect l="0" t="0" r="r" b="b"/>
              <a:pathLst>
                <a:path w="517" h="381">
                  <a:moveTo>
                    <a:pt x="469" y="234"/>
                  </a:moveTo>
                  <a:lnTo>
                    <a:pt x="478" y="244"/>
                  </a:lnTo>
                  <a:lnTo>
                    <a:pt x="469" y="244"/>
                  </a:lnTo>
                  <a:lnTo>
                    <a:pt x="449" y="244"/>
                  </a:lnTo>
                  <a:lnTo>
                    <a:pt x="449" y="264"/>
                  </a:lnTo>
                  <a:lnTo>
                    <a:pt x="439" y="283"/>
                  </a:lnTo>
                  <a:lnTo>
                    <a:pt x="420" y="303"/>
                  </a:lnTo>
                  <a:lnTo>
                    <a:pt x="420" y="322"/>
                  </a:lnTo>
                  <a:lnTo>
                    <a:pt x="430" y="332"/>
                  </a:lnTo>
                  <a:lnTo>
                    <a:pt x="420" y="342"/>
                  </a:lnTo>
                  <a:lnTo>
                    <a:pt x="410" y="342"/>
                  </a:lnTo>
                  <a:lnTo>
                    <a:pt x="391" y="361"/>
                  </a:lnTo>
                  <a:lnTo>
                    <a:pt x="361" y="381"/>
                  </a:lnTo>
                  <a:lnTo>
                    <a:pt x="361" y="361"/>
                  </a:lnTo>
                  <a:lnTo>
                    <a:pt x="361" y="351"/>
                  </a:lnTo>
                  <a:lnTo>
                    <a:pt x="361" y="342"/>
                  </a:lnTo>
                  <a:lnTo>
                    <a:pt x="352" y="342"/>
                  </a:lnTo>
                  <a:lnTo>
                    <a:pt x="342" y="322"/>
                  </a:lnTo>
                  <a:lnTo>
                    <a:pt x="332" y="322"/>
                  </a:lnTo>
                  <a:lnTo>
                    <a:pt x="322" y="332"/>
                  </a:lnTo>
                  <a:lnTo>
                    <a:pt x="303" y="332"/>
                  </a:lnTo>
                  <a:lnTo>
                    <a:pt x="293" y="332"/>
                  </a:lnTo>
                  <a:lnTo>
                    <a:pt x="293" y="312"/>
                  </a:lnTo>
                  <a:lnTo>
                    <a:pt x="274" y="303"/>
                  </a:lnTo>
                  <a:lnTo>
                    <a:pt x="235" y="293"/>
                  </a:lnTo>
                  <a:lnTo>
                    <a:pt x="235" y="273"/>
                  </a:lnTo>
                  <a:lnTo>
                    <a:pt x="235" y="254"/>
                  </a:lnTo>
                  <a:lnTo>
                    <a:pt x="215" y="254"/>
                  </a:lnTo>
                  <a:lnTo>
                    <a:pt x="195" y="264"/>
                  </a:lnTo>
                  <a:lnTo>
                    <a:pt x="176" y="254"/>
                  </a:lnTo>
                  <a:lnTo>
                    <a:pt x="166" y="264"/>
                  </a:lnTo>
                  <a:lnTo>
                    <a:pt x="156" y="254"/>
                  </a:lnTo>
                  <a:lnTo>
                    <a:pt x="147" y="244"/>
                  </a:lnTo>
                  <a:lnTo>
                    <a:pt x="147" y="225"/>
                  </a:lnTo>
                  <a:lnTo>
                    <a:pt x="147" y="205"/>
                  </a:lnTo>
                  <a:lnTo>
                    <a:pt x="147" y="195"/>
                  </a:lnTo>
                  <a:lnTo>
                    <a:pt x="117" y="205"/>
                  </a:lnTo>
                  <a:lnTo>
                    <a:pt x="88" y="195"/>
                  </a:lnTo>
                  <a:lnTo>
                    <a:pt x="59" y="176"/>
                  </a:lnTo>
                  <a:lnTo>
                    <a:pt x="30" y="147"/>
                  </a:lnTo>
                  <a:lnTo>
                    <a:pt x="10" y="108"/>
                  </a:lnTo>
                  <a:lnTo>
                    <a:pt x="0" y="98"/>
                  </a:lnTo>
                  <a:lnTo>
                    <a:pt x="30" y="88"/>
                  </a:lnTo>
                  <a:lnTo>
                    <a:pt x="49" y="78"/>
                  </a:lnTo>
                  <a:lnTo>
                    <a:pt x="59" y="69"/>
                  </a:lnTo>
                  <a:lnTo>
                    <a:pt x="69" y="49"/>
                  </a:lnTo>
                  <a:lnTo>
                    <a:pt x="78" y="49"/>
                  </a:lnTo>
                  <a:lnTo>
                    <a:pt x="8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8" y="0"/>
                  </a:lnTo>
                  <a:lnTo>
                    <a:pt x="108" y="0"/>
                  </a:lnTo>
                  <a:lnTo>
                    <a:pt x="127" y="0"/>
                  </a:lnTo>
                  <a:lnTo>
                    <a:pt x="137" y="0"/>
                  </a:lnTo>
                  <a:lnTo>
                    <a:pt x="147" y="10"/>
                  </a:lnTo>
                  <a:lnTo>
                    <a:pt x="147" y="20"/>
                  </a:lnTo>
                  <a:lnTo>
                    <a:pt x="156" y="10"/>
                  </a:lnTo>
                  <a:lnTo>
                    <a:pt x="166" y="10"/>
                  </a:lnTo>
                  <a:lnTo>
                    <a:pt x="186" y="30"/>
                  </a:lnTo>
                  <a:lnTo>
                    <a:pt x="205" y="30"/>
                  </a:lnTo>
                  <a:lnTo>
                    <a:pt x="205" y="39"/>
                  </a:lnTo>
                  <a:lnTo>
                    <a:pt x="205" y="49"/>
                  </a:lnTo>
                  <a:lnTo>
                    <a:pt x="235" y="49"/>
                  </a:lnTo>
                  <a:lnTo>
                    <a:pt x="244" y="59"/>
                  </a:lnTo>
                  <a:lnTo>
                    <a:pt x="244" y="78"/>
                  </a:lnTo>
                  <a:lnTo>
                    <a:pt x="264" y="69"/>
                  </a:lnTo>
                  <a:lnTo>
                    <a:pt x="293" y="69"/>
                  </a:lnTo>
                  <a:lnTo>
                    <a:pt x="313" y="69"/>
                  </a:lnTo>
                  <a:lnTo>
                    <a:pt x="322" y="59"/>
                  </a:lnTo>
                  <a:lnTo>
                    <a:pt x="332" y="49"/>
                  </a:lnTo>
                  <a:lnTo>
                    <a:pt x="342" y="59"/>
                  </a:lnTo>
                  <a:lnTo>
                    <a:pt x="352" y="98"/>
                  </a:lnTo>
                  <a:lnTo>
                    <a:pt x="361" y="108"/>
                  </a:lnTo>
                  <a:lnTo>
                    <a:pt x="371" y="108"/>
                  </a:lnTo>
                  <a:lnTo>
                    <a:pt x="391" y="117"/>
                  </a:lnTo>
                  <a:lnTo>
                    <a:pt x="400" y="117"/>
                  </a:lnTo>
                  <a:lnTo>
                    <a:pt x="430" y="147"/>
                  </a:lnTo>
                  <a:lnTo>
                    <a:pt x="459" y="166"/>
                  </a:lnTo>
                  <a:lnTo>
                    <a:pt x="469" y="166"/>
                  </a:lnTo>
                  <a:lnTo>
                    <a:pt x="488" y="166"/>
                  </a:lnTo>
                  <a:lnTo>
                    <a:pt x="498" y="166"/>
                  </a:lnTo>
                  <a:lnTo>
                    <a:pt x="517" y="186"/>
                  </a:lnTo>
                  <a:lnTo>
                    <a:pt x="508" y="205"/>
                  </a:lnTo>
                  <a:lnTo>
                    <a:pt x="508" y="215"/>
                  </a:lnTo>
                  <a:lnTo>
                    <a:pt x="488" y="225"/>
                  </a:lnTo>
                  <a:lnTo>
                    <a:pt x="469" y="2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8" name="Freeform 90"/>
            <p:cNvSpPr>
              <a:spLocks/>
            </p:cNvSpPr>
            <p:nvPr/>
          </p:nvSpPr>
          <p:spPr bwMode="auto">
            <a:xfrm>
              <a:off x="5617" y="906"/>
              <a:ext cx="2195" cy="2373"/>
            </a:xfrm>
            <a:custGeom>
              <a:avLst/>
              <a:gdLst>
                <a:gd name="T0" fmla="*/ 878 w 2195"/>
                <a:gd name="T1" fmla="*/ 2186 h 2371"/>
                <a:gd name="T2" fmla="*/ 761 w 2195"/>
                <a:gd name="T3" fmla="*/ 2098 h 2371"/>
                <a:gd name="T4" fmla="*/ 615 w 2195"/>
                <a:gd name="T5" fmla="*/ 2059 h 2371"/>
                <a:gd name="T6" fmla="*/ 488 w 2195"/>
                <a:gd name="T7" fmla="*/ 2186 h 2371"/>
                <a:gd name="T8" fmla="*/ 303 w 2195"/>
                <a:gd name="T9" fmla="*/ 2205 h 2371"/>
                <a:gd name="T10" fmla="*/ 293 w 2195"/>
                <a:gd name="T11" fmla="*/ 1991 h 2371"/>
                <a:gd name="T12" fmla="*/ 254 w 2195"/>
                <a:gd name="T13" fmla="*/ 1844 h 2371"/>
                <a:gd name="T14" fmla="*/ 186 w 2195"/>
                <a:gd name="T15" fmla="*/ 1688 h 2371"/>
                <a:gd name="T16" fmla="*/ 30 w 2195"/>
                <a:gd name="T17" fmla="*/ 1649 h 2371"/>
                <a:gd name="T18" fmla="*/ 39 w 2195"/>
                <a:gd name="T19" fmla="*/ 1415 h 2371"/>
                <a:gd name="T20" fmla="*/ 30 w 2195"/>
                <a:gd name="T21" fmla="*/ 1152 h 2371"/>
                <a:gd name="T22" fmla="*/ 127 w 2195"/>
                <a:gd name="T23" fmla="*/ 1015 h 2371"/>
                <a:gd name="T24" fmla="*/ 196 w 2195"/>
                <a:gd name="T25" fmla="*/ 839 h 2371"/>
                <a:gd name="T26" fmla="*/ 117 w 2195"/>
                <a:gd name="T27" fmla="*/ 605 h 2371"/>
                <a:gd name="T28" fmla="*/ 205 w 2195"/>
                <a:gd name="T29" fmla="*/ 596 h 2371"/>
                <a:gd name="T30" fmla="*/ 303 w 2195"/>
                <a:gd name="T31" fmla="*/ 566 h 2371"/>
                <a:gd name="T32" fmla="*/ 517 w 2195"/>
                <a:gd name="T33" fmla="*/ 586 h 2371"/>
                <a:gd name="T34" fmla="*/ 547 w 2195"/>
                <a:gd name="T35" fmla="*/ 488 h 2371"/>
                <a:gd name="T36" fmla="*/ 654 w 2195"/>
                <a:gd name="T37" fmla="*/ 478 h 2371"/>
                <a:gd name="T38" fmla="*/ 752 w 2195"/>
                <a:gd name="T39" fmla="*/ 488 h 2371"/>
                <a:gd name="T40" fmla="*/ 781 w 2195"/>
                <a:gd name="T41" fmla="*/ 537 h 2371"/>
                <a:gd name="T42" fmla="*/ 752 w 2195"/>
                <a:gd name="T43" fmla="*/ 576 h 2371"/>
                <a:gd name="T44" fmla="*/ 810 w 2195"/>
                <a:gd name="T45" fmla="*/ 596 h 2371"/>
                <a:gd name="T46" fmla="*/ 869 w 2195"/>
                <a:gd name="T47" fmla="*/ 674 h 2371"/>
                <a:gd name="T48" fmla="*/ 947 w 2195"/>
                <a:gd name="T49" fmla="*/ 674 h 2371"/>
                <a:gd name="T50" fmla="*/ 995 w 2195"/>
                <a:gd name="T51" fmla="*/ 576 h 2371"/>
                <a:gd name="T52" fmla="*/ 1132 w 2195"/>
                <a:gd name="T53" fmla="*/ 517 h 2371"/>
                <a:gd name="T54" fmla="*/ 1132 w 2195"/>
                <a:gd name="T55" fmla="*/ 508 h 2371"/>
                <a:gd name="T56" fmla="*/ 1190 w 2195"/>
                <a:gd name="T57" fmla="*/ 439 h 2371"/>
                <a:gd name="T58" fmla="*/ 1122 w 2195"/>
                <a:gd name="T59" fmla="*/ 400 h 2371"/>
                <a:gd name="T60" fmla="*/ 1122 w 2195"/>
                <a:gd name="T61" fmla="*/ 303 h 2371"/>
                <a:gd name="T62" fmla="*/ 1288 w 2195"/>
                <a:gd name="T63" fmla="*/ 254 h 2371"/>
                <a:gd name="T64" fmla="*/ 1347 w 2195"/>
                <a:gd name="T65" fmla="*/ 264 h 2371"/>
                <a:gd name="T66" fmla="*/ 1317 w 2195"/>
                <a:gd name="T67" fmla="*/ 303 h 2371"/>
                <a:gd name="T68" fmla="*/ 1464 w 2195"/>
                <a:gd name="T69" fmla="*/ 176 h 2371"/>
                <a:gd name="T70" fmla="*/ 1512 w 2195"/>
                <a:gd name="T71" fmla="*/ 196 h 2371"/>
                <a:gd name="T72" fmla="*/ 1639 w 2195"/>
                <a:gd name="T73" fmla="*/ 176 h 2371"/>
                <a:gd name="T74" fmla="*/ 1854 w 2195"/>
                <a:gd name="T75" fmla="*/ 30 h 2371"/>
                <a:gd name="T76" fmla="*/ 1981 w 2195"/>
                <a:gd name="T77" fmla="*/ 59 h 2371"/>
                <a:gd name="T78" fmla="*/ 2068 w 2195"/>
                <a:gd name="T79" fmla="*/ 49 h 2371"/>
                <a:gd name="T80" fmla="*/ 2029 w 2195"/>
                <a:gd name="T81" fmla="*/ 235 h 2371"/>
                <a:gd name="T82" fmla="*/ 2185 w 2195"/>
                <a:gd name="T83" fmla="*/ 371 h 2371"/>
                <a:gd name="T84" fmla="*/ 2068 w 2195"/>
                <a:gd name="T85" fmla="*/ 517 h 2371"/>
                <a:gd name="T86" fmla="*/ 2098 w 2195"/>
                <a:gd name="T87" fmla="*/ 674 h 2371"/>
                <a:gd name="T88" fmla="*/ 2068 w 2195"/>
                <a:gd name="T89" fmla="*/ 820 h 2371"/>
                <a:gd name="T90" fmla="*/ 2010 w 2195"/>
                <a:gd name="T91" fmla="*/ 869 h 2371"/>
                <a:gd name="T92" fmla="*/ 1951 w 2195"/>
                <a:gd name="T93" fmla="*/ 976 h 2371"/>
                <a:gd name="T94" fmla="*/ 2020 w 2195"/>
                <a:gd name="T95" fmla="*/ 1191 h 2371"/>
                <a:gd name="T96" fmla="*/ 1951 w 2195"/>
                <a:gd name="T97" fmla="*/ 1269 h 2371"/>
                <a:gd name="T98" fmla="*/ 1825 w 2195"/>
                <a:gd name="T99" fmla="*/ 1347 h 2371"/>
                <a:gd name="T100" fmla="*/ 1873 w 2195"/>
                <a:gd name="T101" fmla="*/ 1591 h 2371"/>
                <a:gd name="T102" fmla="*/ 1766 w 2195"/>
                <a:gd name="T103" fmla="*/ 1747 h 2371"/>
                <a:gd name="T104" fmla="*/ 1649 w 2195"/>
                <a:gd name="T105" fmla="*/ 1854 h 2371"/>
                <a:gd name="T106" fmla="*/ 1649 w 2195"/>
                <a:gd name="T107" fmla="*/ 1981 h 2371"/>
                <a:gd name="T108" fmla="*/ 1698 w 2195"/>
                <a:gd name="T109" fmla="*/ 2157 h 2371"/>
                <a:gd name="T110" fmla="*/ 1532 w 2195"/>
                <a:gd name="T111" fmla="*/ 2322 h 2371"/>
                <a:gd name="T112" fmla="*/ 1405 w 2195"/>
                <a:gd name="T113" fmla="*/ 2342 h 2371"/>
                <a:gd name="T114" fmla="*/ 1181 w 2195"/>
                <a:gd name="T115" fmla="*/ 2332 h 2371"/>
                <a:gd name="T116" fmla="*/ 995 w 2195"/>
                <a:gd name="T117" fmla="*/ 2352 h 23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5"/>
                <a:gd name="T178" fmla="*/ 0 h 2371"/>
                <a:gd name="T179" fmla="*/ 2195 w 2195"/>
                <a:gd name="T180" fmla="*/ 2371 h 23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5" h="2371">
                  <a:moveTo>
                    <a:pt x="937" y="2283"/>
                  </a:moveTo>
                  <a:lnTo>
                    <a:pt x="917" y="2303"/>
                  </a:lnTo>
                  <a:lnTo>
                    <a:pt x="908" y="2293"/>
                  </a:lnTo>
                  <a:lnTo>
                    <a:pt x="917" y="2283"/>
                  </a:lnTo>
                  <a:lnTo>
                    <a:pt x="917" y="2274"/>
                  </a:lnTo>
                  <a:lnTo>
                    <a:pt x="908" y="2274"/>
                  </a:lnTo>
                  <a:lnTo>
                    <a:pt x="908" y="2264"/>
                  </a:lnTo>
                  <a:lnTo>
                    <a:pt x="908" y="2244"/>
                  </a:lnTo>
                  <a:lnTo>
                    <a:pt x="898" y="2225"/>
                  </a:lnTo>
                  <a:lnTo>
                    <a:pt x="888" y="2205"/>
                  </a:lnTo>
                  <a:lnTo>
                    <a:pt x="888" y="2196"/>
                  </a:lnTo>
                  <a:lnTo>
                    <a:pt x="878" y="2186"/>
                  </a:lnTo>
                  <a:lnTo>
                    <a:pt x="859" y="2186"/>
                  </a:lnTo>
                  <a:lnTo>
                    <a:pt x="859" y="2166"/>
                  </a:lnTo>
                  <a:lnTo>
                    <a:pt x="859" y="2147"/>
                  </a:lnTo>
                  <a:lnTo>
                    <a:pt x="859" y="2127"/>
                  </a:lnTo>
                  <a:lnTo>
                    <a:pt x="839" y="2127"/>
                  </a:lnTo>
                  <a:lnTo>
                    <a:pt x="839" y="2108"/>
                  </a:lnTo>
                  <a:lnTo>
                    <a:pt x="830" y="2098"/>
                  </a:lnTo>
                  <a:lnTo>
                    <a:pt x="820" y="2108"/>
                  </a:lnTo>
                  <a:lnTo>
                    <a:pt x="791" y="2088"/>
                  </a:lnTo>
                  <a:lnTo>
                    <a:pt x="791" y="2098"/>
                  </a:lnTo>
                  <a:lnTo>
                    <a:pt x="781" y="2108"/>
                  </a:lnTo>
                  <a:lnTo>
                    <a:pt x="761" y="2098"/>
                  </a:lnTo>
                  <a:lnTo>
                    <a:pt x="761" y="2108"/>
                  </a:lnTo>
                  <a:lnTo>
                    <a:pt x="742" y="2118"/>
                  </a:lnTo>
                  <a:lnTo>
                    <a:pt x="732" y="2098"/>
                  </a:lnTo>
                  <a:lnTo>
                    <a:pt x="732" y="2079"/>
                  </a:lnTo>
                  <a:lnTo>
                    <a:pt x="732" y="2059"/>
                  </a:lnTo>
                  <a:lnTo>
                    <a:pt x="732" y="2049"/>
                  </a:lnTo>
                  <a:lnTo>
                    <a:pt x="703" y="2030"/>
                  </a:lnTo>
                  <a:lnTo>
                    <a:pt x="683" y="2030"/>
                  </a:lnTo>
                  <a:lnTo>
                    <a:pt x="644" y="2020"/>
                  </a:lnTo>
                  <a:lnTo>
                    <a:pt x="615" y="2040"/>
                  </a:lnTo>
                  <a:lnTo>
                    <a:pt x="615" y="2059"/>
                  </a:lnTo>
                  <a:lnTo>
                    <a:pt x="595" y="2079"/>
                  </a:lnTo>
                  <a:lnTo>
                    <a:pt x="586" y="2127"/>
                  </a:lnTo>
                  <a:lnTo>
                    <a:pt x="556" y="2157"/>
                  </a:lnTo>
                  <a:lnTo>
                    <a:pt x="547" y="2166"/>
                  </a:lnTo>
                  <a:lnTo>
                    <a:pt x="547" y="2205"/>
                  </a:lnTo>
                  <a:lnTo>
                    <a:pt x="527" y="2215"/>
                  </a:lnTo>
                  <a:lnTo>
                    <a:pt x="517" y="2225"/>
                  </a:lnTo>
                  <a:lnTo>
                    <a:pt x="508" y="2244"/>
                  </a:lnTo>
                  <a:lnTo>
                    <a:pt x="498" y="2225"/>
                  </a:lnTo>
                  <a:lnTo>
                    <a:pt x="498" y="2215"/>
                  </a:lnTo>
                  <a:lnTo>
                    <a:pt x="498" y="2186"/>
                  </a:lnTo>
                  <a:lnTo>
                    <a:pt x="488" y="2186"/>
                  </a:lnTo>
                  <a:lnTo>
                    <a:pt x="478" y="2166"/>
                  </a:lnTo>
                  <a:lnTo>
                    <a:pt x="459" y="2196"/>
                  </a:lnTo>
                  <a:lnTo>
                    <a:pt x="439" y="2215"/>
                  </a:lnTo>
                  <a:lnTo>
                    <a:pt x="420" y="2225"/>
                  </a:lnTo>
                  <a:lnTo>
                    <a:pt x="400" y="2225"/>
                  </a:lnTo>
                  <a:lnTo>
                    <a:pt x="381" y="2225"/>
                  </a:lnTo>
                  <a:lnTo>
                    <a:pt x="371" y="2244"/>
                  </a:lnTo>
                  <a:lnTo>
                    <a:pt x="361" y="2254"/>
                  </a:lnTo>
                  <a:lnTo>
                    <a:pt x="332" y="2254"/>
                  </a:lnTo>
                  <a:lnTo>
                    <a:pt x="313" y="2235"/>
                  </a:lnTo>
                  <a:lnTo>
                    <a:pt x="303" y="2225"/>
                  </a:lnTo>
                  <a:lnTo>
                    <a:pt x="303" y="2205"/>
                  </a:lnTo>
                  <a:lnTo>
                    <a:pt x="313" y="2176"/>
                  </a:lnTo>
                  <a:lnTo>
                    <a:pt x="313" y="2127"/>
                  </a:lnTo>
                  <a:lnTo>
                    <a:pt x="322" y="2069"/>
                  </a:lnTo>
                  <a:lnTo>
                    <a:pt x="332" y="2069"/>
                  </a:lnTo>
                  <a:lnTo>
                    <a:pt x="332" y="2059"/>
                  </a:lnTo>
                  <a:lnTo>
                    <a:pt x="332" y="2049"/>
                  </a:lnTo>
                  <a:lnTo>
                    <a:pt x="332" y="2040"/>
                  </a:lnTo>
                  <a:lnTo>
                    <a:pt x="342" y="2030"/>
                  </a:lnTo>
                  <a:lnTo>
                    <a:pt x="342" y="2020"/>
                  </a:lnTo>
                  <a:lnTo>
                    <a:pt x="332" y="2010"/>
                  </a:lnTo>
                  <a:lnTo>
                    <a:pt x="303" y="2001"/>
                  </a:lnTo>
                  <a:lnTo>
                    <a:pt x="293" y="1991"/>
                  </a:lnTo>
                  <a:lnTo>
                    <a:pt x="293" y="1971"/>
                  </a:lnTo>
                  <a:lnTo>
                    <a:pt x="293" y="1961"/>
                  </a:lnTo>
                  <a:lnTo>
                    <a:pt x="283" y="1961"/>
                  </a:lnTo>
                  <a:lnTo>
                    <a:pt x="283" y="1952"/>
                  </a:lnTo>
                  <a:lnTo>
                    <a:pt x="283" y="1932"/>
                  </a:lnTo>
                  <a:lnTo>
                    <a:pt x="283" y="1922"/>
                  </a:lnTo>
                  <a:lnTo>
                    <a:pt x="283" y="1874"/>
                  </a:lnTo>
                  <a:lnTo>
                    <a:pt x="274" y="1874"/>
                  </a:lnTo>
                  <a:lnTo>
                    <a:pt x="254" y="1874"/>
                  </a:lnTo>
                  <a:lnTo>
                    <a:pt x="244" y="1854"/>
                  </a:lnTo>
                  <a:lnTo>
                    <a:pt x="254" y="1844"/>
                  </a:lnTo>
                  <a:lnTo>
                    <a:pt x="264" y="1825"/>
                  </a:lnTo>
                  <a:lnTo>
                    <a:pt x="244" y="1786"/>
                  </a:lnTo>
                  <a:lnTo>
                    <a:pt x="225" y="1766"/>
                  </a:lnTo>
                  <a:lnTo>
                    <a:pt x="215" y="1757"/>
                  </a:lnTo>
                  <a:lnTo>
                    <a:pt x="186" y="1757"/>
                  </a:lnTo>
                  <a:lnTo>
                    <a:pt x="166" y="1747"/>
                  </a:lnTo>
                  <a:lnTo>
                    <a:pt x="166" y="1737"/>
                  </a:lnTo>
                  <a:lnTo>
                    <a:pt x="176" y="1727"/>
                  </a:lnTo>
                  <a:lnTo>
                    <a:pt x="186" y="1718"/>
                  </a:lnTo>
                  <a:lnTo>
                    <a:pt x="196" y="1718"/>
                  </a:lnTo>
                  <a:lnTo>
                    <a:pt x="196" y="1708"/>
                  </a:lnTo>
                  <a:lnTo>
                    <a:pt x="186" y="1688"/>
                  </a:lnTo>
                  <a:lnTo>
                    <a:pt x="176" y="1669"/>
                  </a:lnTo>
                  <a:lnTo>
                    <a:pt x="166" y="1669"/>
                  </a:lnTo>
                  <a:lnTo>
                    <a:pt x="166" y="1679"/>
                  </a:lnTo>
                  <a:lnTo>
                    <a:pt x="127" y="1669"/>
                  </a:lnTo>
                  <a:lnTo>
                    <a:pt x="117" y="1679"/>
                  </a:lnTo>
                  <a:lnTo>
                    <a:pt x="88" y="1669"/>
                  </a:lnTo>
                  <a:lnTo>
                    <a:pt x="78" y="1659"/>
                  </a:lnTo>
                  <a:lnTo>
                    <a:pt x="69" y="1659"/>
                  </a:lnTo>
                  <a:lnTo>
                    <a:pt x="69" y="1669"/>
                  </a:lnTo>
                  <a:lnTo>
                    <a:pt x="49" y="1659"/>
                  </a:lnTo>
                  <a:lnTo>
                    <a:pt x="30" y="1659"/>
                  </a:lnTo>
                  <a:lnTo>
                    <a:pt x="30" y="1649"/>
                  </a:lnTo>
                  <a:lnTo>
                    <a:pt x="39" y="1620"/>
                  </a:lnTo>
                  <a:lnTo>
                    <a:pt x="39" y="1591"/>
                  </a:lnTo>
                  <a:lnTo>
                    <a:pt x="59" y="1571"/>
                  </a:lnTo>
                  <a:lnTo>
                    <a:pt x="78" y="1552"/>
                  </a:lnTo>
                  <a:lnTo>
                    <a:pt x="78" y="1542"/>
                  </a:lnTo>
                  <a:lnTo>
                    <a:pt x="69" y="1532"/>
                  </a:lnTo>
                  <a:lnTo>
                    <a:pt x="59" y="1513"/>
                  </a:lnTo>
                  <a:lnTo>
                    <a:pt x="59" y="1483"/>
                  </a:lnTo>
                  <a:lnTo>
                    <a:pt x="49" y="1464"/>
                  </a:lnTo>
                  <a:lnTo>
                    <a:pt x="30" y="1454"/>
                  </a:lnTo>
                  <a:lnTo>
                    <a:pt x="30" y="1435"/>
                  </a:lnTo>
                  <a:lnTo>
                    <a:pt x="39" y="1415"/>
                  </a:lnTo>
                  <a:lnTo>
                    <a:pt x="30" y="1396"/>
                  </a:lnTo>
                  <a:lnTo>
                    <a:pt x="20" y="1386"/>
                  </a:lnTo>
                  <a:lnTo>
                    <a:pt x="0" y="1386"/>
                  </a:lnTo>
                  <a:lnTo>
                    <a:pt x="10" y="1366"/>
                  </a:lnTo>
                  <a:lnTo>
                    <a:pt x="20" y="1357"/>
                  </a:lnTo>
                  <a:lnTo>
                    <a:pt x="30" y="1347"/>
                  </a:lnTo>
                  <a:lnTo>
                    <a:pt x="39" y="1347"/>
                  </a:lnTo>
                  <a:lnTo>
                    <a:pt x="49" y="1327"/>
                  </a:lnTo>
                  <a:lnTo>
                    <a:pt x="39" y="1269"/>
                  </a:lnTo>
                  <a:lnTo>
                    <a:pt x="39" y="1220"/>
                  </a:lnTo>
                  <a:lnTo>
                    <a:pt x="30" y="1152"/>
                  </a:lnTo>
                  <a:lnTo>
                    <a:pt x="20" y="1122"/>
                  </a:lnTo>
                  <a:lnTo>
                    <a:pt x="0" y="1103"/>
                  </a:lnTo>
                  <a:lnTo>
                    <a:pt x="10" y="1083"/>
                  </a:lnTo>
                  <a:lnTo>
                    <a:pt x="30" y="1083"/>
                  </a:lnTo>
                  <a:lnTo>
                    <a:pt x="49" y="1074"/>
                  </a:lnTo>
                  <a:lnTo>
                    <a:pt x="69" y="1054"/>
                  </a:lnTo>
                  <a:lnTo>
                    <a:pt x="78" y="1044"/>
                  </a:lnTo>
                  <a:lnTo>
                    <a:pt x="88" y="1044"/>
                  </a:lnTo>
                  <a:lnTo>
                    <a:pt x="98" y="1044"/>
                  </a:lnTo>
                  <a:lnTo>
                    <a:pt x="117" y="1044"/>
                  </a:lnTo>
                  <a:lnTo>
                    <a:pt x="127" y="1025"/>
                  </a:lnTo>
                  <a:lnTo>
                    <a:pt x="127" y="1015"/>
                  </a:lnTo>
                  <a:lnTo>
                    <a:pt x="127" y="996"/>
                  </a:lnTo>
                  <a:lnTo>
                    <a:pt x="137" y="986"/>
                  </a:lnTo>
                  <a:lnTo>
                    <a:pt x="137" y="966"/>
                  </a:lnTo>
                  <a:lnTo>
                    <a:pt x="157" y="966"/>
                  </a:lnTo>
                  <a:lnTo>
                    <a:pt x="157" y="937"/>
                  </a:lnTo>
                  <a:lnTo>
                    <a:pt x="186" y="908"/>
                  </a:lnTo>
                  <a:lnTo>
                    <a:pt x="205" y="888"/>
                  </a:lnTo>
                  <a:lnTo>
                    <a:pt x="225" y="878"/>
                  </a:lnTo>
                  <a:lnTo>
                    <a:pt x="225" y="869"/>
                  </a:lnTo>
                  <a:lnTo>
                    <a:pt x="225" y="849"/>
                  </a:lnTo>
                  <a:lnTo>
                    <a:pt x="196" y="839"/>
                  </a:lnTo>
                  <a:lnTo>
                    <a:pt x="196" y="820"/>
                  </a:lnTo>
                  <a:lnTo>
                    <a:pt x="196" y="791"/>
                  </a:lnTo>
                  <a:lnTo>
                    <a:pt x="166" y="761"/>
                  </a:lnTo>
                  <a:lnTo>
                    <a:pt x="147" y="742"/>
                  </a:lnTo>
                  <a:lnTo>
                    <a:pt x="137" y="742"/>
                  </a:lnTo>
                  <a:lnTo>
                    <a:pt x="137" y="722"/>
                  </a:lnTo>
                  <a:lnTo>
                    <a:pt x="108" y="703"/>
                  </a:lnTo>
                  <a:lnTo>
                    <a:pt x="117" y="674"/>
                  </a:lnTo>
                  <a:lnTo>
                    <a:pt x="108" y="654"/>
                  </a:lnTo>
                  <a:lnTo>
                    <a:pt x="88" y="635"/>
                  </a:lnTo>
                  <a:lnTo>
                    <a:pt x="98" y="625"/>
                  </a:lnTo>
                  <a:lnTo>
                    <a:pt x="117" y="605"/>
                  </a:lnTo>
                  <a:lnTo>
                    <a:pt x="117" y="596"/>
                  </a:lnTo>
                  <a:lnTo>
                    <a:pt x="117" y="586"/>
                  </a:lnTo>
                  <a:lnTo>
                    <a:pt x="127" y="576"/>
                  </a:lnTo>
                  <a:lnTo>
                    <a:pt x="137" y="586"/>
                  </a:lnTo>
                  <a:lnTo>
                    <a:pt x="166" y="586"/>
                  </a:lnTo>
                  <a:lnTo>
                    <a:pt x="186" y="576"/>
                  </a:lnTo>
                  <a:lnTo>
                    <a:pt x="176" y="566"/>
                  </a:lnTo>
                  <a:lnTo>
                    <a:pt x="176" y="557"/>
                  </a:lnTo>
                  <a:lnTo>
                    <a:pt x="186" y="557"/>
                  </a:lnTo>
                  <a:lnTo>
                    <a:pt x="196" y="566"/>
                  </a:lnTo>
                  <a:lnTo>
                    <a:pt x="205" y="596"/>
                  </a:lnTo>
                  <a:lnTo>
                    <a:pt x="205" y="615"/>
                  </a:lnTo>
                  <a:lnTo>
                    <a:pt x="215" y="625"/>
                  </a:lnTo>
                  <a:lnTo>
                    <a:pt x="215" y="635"/>
                  </a:lnTo>
                  <a:lnTo>
                    <a:pt x="225" y="625"/>
                  </a:lnTo>
                  <a:lnTo>
                    <a:pt x="235" y="615"/>
                  </a:lnTo>
                  <a:lnTo>
                    <a:pt x="225" y="615"/>
                  </a:lnTo>
                  <a:lnTo>
                    <a:pt x="215" y="605"/>
                  </a:lnTo>
                  <a:lnTo>
                    <a:pt x="215" y="596"/>
                  </a:lnTo>
                  <a:lnTo>
                    <a:pt x="235" y="596"/>
                  </a:lnTo>
                  <a:lnTo>
                    <a:pt x="254" y="586"/>
                  </a:lnTo>
                  <a:lnTo>
                    <a:pt x="274" y="566"/>
                  </a:lnTo>
                  <a:lnTo>
                    <a:pt x="303" y="566"/>
                  </a:lnTo>
                  <a:lnTo>
                    <a:pt x="361" y="557"/>
                  </a:lnTo>
                  <a:lnTo>
                    <a:pt x="381" y="557"/>
                  </a:lnTo>
                  <a:lnTo>
                    <a:pt x="400" y="566"/>
                  </a:lnTo>
                  <a:lnTo>
                    <a:pt x="391" y="566"/>
                  </a:lnTo>
                  <a:lnTo>
                    <a:pt x="381" y="566"/>
                  </a:lnTo>
                  <a:lnTo>
                    <a:pt x="381" y="576"/>
                  </a:lnTo>
                  <a:lnTo>
                    <a:pt x="381" y="596"/>
                  </a:lnTo>
                  <a:lnTo>
                    <a:pt x="430" y="605"/>
                  </a:lnTo>
                  <a:lnTo>
                    <a:pt x="449" y="605"/>
                  </a:lnTo>
                  <a:lnTo>
                    <a:pt x="459" y="596"/>
                  </a:lnTo>
                  <a:lnTo>
                    <a:pt x="498" y="596"/>
                  </a:lnTo>
                  <a:lnTo>
                    <a:pt x="517" y="586"/>
                  </a:lnTo>
                  <a:lnTo>
                    <a:pt x="537" y="586"/>
                  </a:lnTo>
                  <a:lnTo>
                    <a:pt x="537" y="576"/>
                  </a:lnTo>
                  <a:lnTo>
                    <a:pt x="547" y="576"/>
                  </a:lnTo>
                  <a:lnTo>
                    <a:pt x="566" y="576"/>
                  </a:lnTo>
                  <a:lnTo>
                    <a:pt x="566" y="566"/>
                  </a:lnTo>
                  <a:lnTo>
                    <a:pt x="566" y="547"/>
                  </a:lnTo>
                  <a:lnTo>
                    <a:pt x="576" y="537"/>
                  </a:lnTo>
                  <a:lnTo>
                    <a:pt x="556" y="537"/>
                  </a:lnTo>
                  <a:lnTo>
                    <a:pt x="547" y="527"/>
                  </a:lnTo>
                  <a:lnTo>
                    <a:pt x="547" y="517"/>
                  </a:lnTo>
                  <a:lnTo>
                    <a:pt x="537" y="508"/>
                  </a:lnTo>
                  <a:lnTo>
                    <a:pt x="547" y="488"/>
                  </a:lnTo>
                  <a:lnTo>
                    <a:pt x="547" y="498"/>
                  </a:lnTo>
                  <a:lnTo>
                    <a:pt x="566" y="498"/>
                  </a:lnTo>
                  <a:lnTo>
                    <a:pt x="556" y="478"/>
                  </a:lnTo>
                  <a:lnTo>
                    <a:pt x="566" y="469"/>
                  </a:lnTo>
                  <a:lnTo>
                    <a:pt x="586" y="478"/>
                  </a:lnTo>
                  <a:lnTo>
                    <a:pt x="595" y="478"/>
                  </a:lnTo>
                  <a:lnTo>
                    <a:pt x="605" y="488"/>
                  </a:lnTo>
                  <a:lnTo>
                    <a:pt x="625" y="488"/>
                  </a:lnTo>
                  <a:lnTo>
                    <a:pt x="634" y="478"/>
                  </a:lnTo>
                  <a:lnTo>
                    <a:pt x="644" y="488"/>
                  </a:lnTo>
                  <a:lnTo>
                    <a:pt x="654" y="478"/>
                  </a:lnTo>
                  <a:lnTo>
                    <a:pt x="664" y="469"/>
                  </a:lnTo>
                  <a:lnTo>
                    <a:pt x="673" y="459"/>
                  </a:lnTo>
                  <a:lnTo>
                    <a:pt x="683" y="459"/>
                  </a:lnTo>
                  <a:lnTo>
                    <a:pt x="693" y="459"/>
                  </a:lnTo>
                  <a:lnTo>
                    <a:pt x="703" y="459"/>
                  </a:lnTo>
                  <a:lnTo>
                    <a:pt x="713" y="459"/>
                  </a:lnTo>
                  <a:lnTo>
                    <a:pt x="722" y="478"/>
                  </a:lnTo>
                  <a:lnTo>
                    <a:pt x="732" y="469"/>
                  </a:lnTo>
                  <a:lnTo>
                    <a:pt x="732" y="478"/>
                  </a:lnTo>
                  <a:lnTo>
                    <a:pt x="742" y="478"/>
                  </a:lnTo>
                  <a:lnTo>
                    <a:pt x="752" y="488"/>
                  </a:lnTo>
                  <a:lnTo>
                    <a:pt x="752" y="498"/>
                  </a:lnTo>
                  <a:lnTo>
                    <a:pt x="761" y="498"/>
                  </a:lnTo>
                  <a:lnTo>
                    <a:pt x="761" y="508"/>
                  </a:lnTo>
                  <a:lnTo>
                    <a:pt x="761" y="517"/>
                  </a:lnTo>
                  <a:lnTo>
                    <a:pt x="771" y="517"/>
                  </a:lnTo>
                  <a:lnTo>
                    <a:pt x="771" y="527"/>
                  </a:lnTo>
                  <a:lnTo>
                    <a:pt x="761" y="527"/>
                  </a:lnTo>
                  <a:lnTo>
                    <a:pt x="761" y="537"/>
                  </a:lnTo>
                  <a:lnTo>
                    <a:pt x="761" y="547"/>
                  </a:lnTo>
                  <a:lnTo>
                    <a:pt x="771" y="547"/>
                  </a:lnTo>
                  <a:lnTo>
                    <a:pt x="781" y="537"/>
                  </a:lnTo>
                  <a:lnTo>
                    <a:pt x="791" y="547"/>
                  </a:lnTo>
                  <a:lnTo>
                    <a:pt x="800" y="557"/>
                  </a:lnTo>
                  <a:lnTo>
                    <a:pt x="791" y="557"/>
                  </a:lnTo>
                  <a:lnTo>
                    <a:pt x="800" y="557"/>
                  </a:lnTo>
                  <a:lnTo>
                    <a:pt x="800" y="566"/>
                  </a:lnTo>
                  <a:lnTo>
                    <a:pt x="810" y="576"/>
                  </a:lnTo>
                  <a:lnTo>
                    <a:pt x="800" y="576"/>
                  </a:lnTo>
                  <a:lnTo>
                    <a:pt x="791" y="586"/>
                  </a:lnTo>
                  <a:lnTo>
                    <a:pt x="781" y="586"/>
                  </a:lnTo>
                  <a:lnTo>
                    <a:pt x="771" y="576"/>
                  </a:lnTo>
                  <a:lnTo>
                    <a:pt x="761" y="576"/>
                  </a:lnTo>
                  <a:lnTo>
                    <a:pt x="752" y="576"/>
                  </a:lnTo>
                  <a:lnTo>
                    <a:pt x="742" y="576"/>
                  </a:lnTo>
                  <a:lnTo>
                    <a:pt x="752" y="586"/>
                  </a:lnTo>
                  <a:lnTo>
                    <a:pt x="771" y="586"/>
                  </a:lnTo>
                  <a:lnTo>
                    <a:pt x="781" y="605"/>
                  </a:lnTo>
                  <a:lnTo>
                    <a:pt x="781" y="615"/>
                  </a:lnTo>
                  <a:lnTo>
                    <a:pt x="791" y="615"/>
                  </a:lnTo>
                  <a:lnTo>
                    <a:pt x="810" y="615"/>
                  </a:lnTo>
                  <a:lnTo>
                    <a:pt x="800" y="596"/>
                  </a:lnTo>
                  <a:lnTo>
                    <a:pt x="810" y="596"/>
                  </a:lnTo>
                  <a:lnTo>
                    <a:pt x="820" y="605"/>
                  </a:lnTo>
                  <a:lnTo>
                    <a:pt x="830" y="605"/>
                  </a:lnTo>
                  <a:lnTo>
                    <a:pt x="830" y="615"/>
                  </a:lnTo>
                  <a:lnTo>
                    <a:pt x="820" y="615"/>
                  </a:lnTo>
                  <a:lnTo>
                    <a:pt x="820" y="625"/>
                  </a:lnTo>
                  <a:lnTo>
                    <a:pt x="820" y="635"/>
                  </a:lnTo>
                  <a:lnTo>
                    <a:pt x="830" y="635"/>
                  </a:lnTo>
                  <a:lnTo>
                    <a:pt x="849" y="654"/>
                  </a:lnTo>
                  <a:lnTo>
                    <a:pt x="859" y="664"/>
                  </a:lnTo>
                  <a:lnTo>
                    <a:pt x="869" y="674"/>
                  </a:lnTo>
                  <a:lnTo>
                    <a:pt x="878" y="674"/>
                  </a:lnTo>
                  <a:lnTo>
                    <a:pt x="888" y="674"/>
                  </a:lnTo>
                  <a:lnTo>
                    <a:pt x="888" y="683"/>
                  </a:lnTo>
                  <a:lnTo>
                    <a:pt x="898" y="683"/>
                  </a:lnTo>
                  <a:lnTo>
                    <a:pt x="908" y="683"/>
                  </a:lnTo>
                  <a:lnTo>
                    <a:pt x="917" y="693"/>
                  </a:lnTo>
                  <a:lnTo>
                    <a:pt x="917" y="674"/>
                  </a:lnTo>
                  <a:lnTo>
                    <a:pt x="927" y="683"/>
                  </a:lnTo>
                  <a:lnTo>
                    <a:pt x="927" y="693"/>
                  </a:lnTo>
                  <a:lnTo>
                    <a:pt x="947" y="693"/>
                  </a:lnTo>
                  <a:lnTo>
                    <a:pt x="947" y="674"/>
                  </a:lnTo>
                  <a:lnTo>
                    <a:pt x="947" y="644"/>
                  </a:lnTo>
                  <a:lnTo>
                    <a:pt x="937" y="625"/>
                  </a:lnTo>
                  <a:lnTo>
                    <a:pt x="937" y="615"/>
                  </a:lnTo>
                  <a:lnTo>
                    <a:pt x="937" y="605"/>
                  </a:lnTo>
                  <a:lnTo>
                    <a:pt x="937" y="576"/>
                  </a:lnTo>
                  <a:lnTo>
                    <a:pt x="927" y="566"/>
                  </a:lnTo>
                  <a:lnTo>
                    <a:pt x="927" y="547"/>
                  </a:lnTo>
                  <a:lnTo>
                    <a:pt x="937" y="547"/>
                  </a:lnTo>
                  <a:lnTo>
                    <a:pt x="947" y="557"/>
                  </a:lnTo>
                  <a:lnTo>
                    <a:pt x="956" y="566"/>
                  </a:lnTo>
                  <a:lnTo>
                    <a:pt x="966" y="566"/>
                  </a:lnTo>
                  <a:lnTo>
                    <a:pt x="995" y="576"/>
                  </a:lnTo>
                  <a:lnTo>
                    <a:pt x="1015" y="566"/>
                  </a:lnTo>
                  <a:lnTo>
                    <a:pt x="1025" y="557"/>
                  </a:lnTo>
                  <a:lnTo>
                    <a:pt x="1025" y="537"/>
                  </a:lnTo>
                  <a:lnTo>
                    <a:pt x="1034" y="537"/>
                  </a:lnTo>
                  <a:lnTo>
                    <a:pt x="1034" y="517"/>
                  </a:lnTo>
                  <a:lnTo>
                    <a:pt x="1054" y="508"/>
                  </a:lnTo>
                  <a:lnTo>
                    <a:pt x="1073" y="508"/>
                  </a:lnTo>
                  <a:lnTo>
                    <a:pt x="1083" y="517"/>
                  </a:lnTo>
                  <a:lnTo>
                    <a:pt x="1093" y="508"/>
                  </a:lnTo>
                  <a:lnTo>
                    <a:pt x="1103" y="517"/>
                  </a:lnTo>
                  <a:lnTo>
                    <a:pt x="1122" y="517"/>
                  </a:lnTo>
                  <a:lnTo>
                    <a:pt x="1132" y="517"/>
                  </a:lnTo>
                  <a:lnTo>
                    <a:pt x="1132" y="527"/>
                  </a:lnTo>
                  <a:lnTo>
                    <a:pt x="1142" y="527"/>
                  </a:lnTo>
                  <a:lnTo>
                    <a:pt x="1151" y="517"/>
                  </a:lnTo>
                  <a:lnTo>
                    <a:pt x="1142" y="517"/>
                  </a:lnTo>
                  <a:lnTo>
                    <a:pt x="1151" y="508"/>
                  </a:lnTo>
                  <a:lnTo>
                    <a:pt x="1171" y="508"/>
                  </a:lnTo>
                  <a:lnTo>
                    <a:pt x="1181" y="517"/>
                  </a:lnTo>
                  <a:lnTo>
                    <a:pt x="1181" y="508"/>
                  </a:lnTo>
                  <a:lnTo>
                    <a:pt x="1181" y="498"/>
                  </a:lnTo>
                  <a:lnTo>
                    <a:pt x="1161" y="498"/>
                  </a:lnTo>
                  <a:lnTo>
                    <a:pt x="1151" y="498"/>
                  </a:lnTo>
                  <a:lnTo>
                    <a:pt x="1132" y="508"/>
                  </a:lnTo>
                  <a:lnTo>
                    <a:pt x="1132" y="498"/>
                  </a:lnTo>
                  <a:lnTo>
                    <a:pt x="1132" y="478"/>
                  </a:lnTo>
                  <a:lnTo>
                    <a:pt x="1132" y="469"/>
                  </a:lnTo>
                  <a:lnTo>
                    <a:pt x="1142" y="469"/>
                  </a:lnTo>
                  <a:lnTo>
                    <a:pt x="1142" y="459"/>
                  </a:lnTo>
                  <a:lnTo>
                    <a:pt x="1151" y="459"/>
                  </a:lnTo>
                  <a:lnTo>
                    <a:pt x="1171" y="469"/>
                  </a:lnTo>
                  <a:lnTo>
                    <a:pt x="1181" y="459"/>
                  </a:lnTo>
                  <a:lnTo>
                    <a:pt x="1190" y="449"/>
                  </a:lnTo>
                  <a:lnTo>
                    <a:pt x="1190" y="439"/>
                  </a:lnTo>
                  <a:lnTo>
                    <a:pt x="1181" y="439"/>
                  </a:lnTo>
                  <a:lnTo>
                    <a:pt x="1161" y="430"/>
                  </a:lnTo>
                  <a:lnTo>
                    <a:pt x="1151" y="420"/>
                  </a:lnTo>
                  <a:lnTo>
                    <a:pt x="1142" y="420"/>
                  </a:lnTo>
                  <a:lnTo>
                    <a:pt x="1142" y="410"/>
                  </a:lnTo>
                  <a:lnTo>
                    <a:pt x="1142" y="400"/>
                  </a:lnTo>
                  <a:lnTo>
                    <a:pt x="1142" y="391"/>
                  </a:lnTo>
                  <a:lnTo>
                    <a:pt x="1151" y="381"/>
                  </a:lnTo>
                  <a:lnTo>
                    <a:pt x="1142" y="381"/>
                  </a:lnTo>
                  <a:lnTo>
                    <a:pt x="1132" y="381"/>
                  </a:lnTo>
                  <a:lnTo>
                    <a:pt x="1132" y="391"/>
                  </a:lnTo>
                  <a:lnTo>
                    <a:pt x="1122" y="400"/>
                  </a:lnTo>
                  <a:lnTo>
                    <a:pt x="1112" y="400"/>
                  </a:lnTo>
                  <a:lnTo>
                    <a:pt x="1112" y="391"/>
                  </a:lnTo>
                  <a:lnTo>
                    <a:pt x="1112" y="371"/>
                  </a:lnTo>
                  <a:lnTo>
                    <a:pt x="1112" y="361"/>
                  </a:lnTo>
                  <a:lnTo>
                    <a:pt x="1112" y="352"/>
                  </a:lnTo>
                  <a:lnTo>
                    <a:pt x="1132" y="352"/>
                  </a:lnTo>
                  <a:lnTo>
                    <a:pt x="1132" y="342"/>
                  </a:lnTo>
                  <a:lnTo>
                    <a:pt x="1151" y="332"/>
                  </a:lnTo>
                  <a:lnTo>
                    <a:pt x="1142" y="322"/>
                  </a:lnTo>
                  <a:lnTo>
                    <a:pt x="1142" y="313"/>
                  </a:lnTo>
                  <a:lnTo>
                    <a:pt x="1132" y="313"/>
                  </a:lnTo>
                  <a:lnTo>
                    <a:pt x="1122" y="303"/>
                  </a:lnTo>
                  <a:lnTo>
                    <a:pt x="1132" y="293"/>
                  </a:lnTo>
                  <a:lnTo>
                    <a:pt x="1142" y="293"/>
                  </a:lnTo>
                  <a:lnTo>
                    <a:pt x="1161" y="293"/>
                  </a:lnTo>
                  <a:lnTo>
                    <a:pt x="1190" y="274"/>
                  </a:lnTo>
                  <a:lnTo>
                    <a:pt x="1229" y="254"/>
                  </a:lnTo>
                  <a:lnTo>
                    <a:pt x="1259" y="244"/>
                  </a:lnTo>
                  <a:lnTo>
                    <a:pt x="1288" y="225"/>
                  </a:lnTo>
                  <a:lnTo>
                    <a:pt x="1317" y="215"/>
                  </a:lnTo>
                  <a:lnTo>
                    <a:pt x="1337" y="215"/>
                  </a:lnTo>
                  <a:lnTo>
                    <a:pt x="1317" y="235"/>
                  </a:lnTo>
                  <a:lnTo>
                    <a:pt x="1298" y="244"/>
                  </a:lnTo>
                  <a:lnTo>
                    <a:pt x="1288" y="254"/>
                  </a:lnTo>
                  <a:lnTo>
                    <a:pt x="1278" y="254"/>
                  </a:lnTo>
                  <a:lnTo>
                    <a:pt x="1269" y="264"/>
                  </a:lnTo>
                  <a:lnTo>
                    <a:pt x="1278" y="274"/>
                  </a:lnTo>
                  <a:lnTo>
                    <a:pt x="1269" y="283"/>
                  </a:lnTo>
                  <a:lnTo>
                    <a:pt x="1278" y="293"/>
                  </a:lnTo>
                  <a:lnTo>
                    <a:pt x="1288" y="283"/>
                  </a:lnTo>
                  <a:lnTo>
                    <a:pt x="1288" y="264"/>
                  </a:lnTo>
                  <a:lnTo>
                    <a:pt x="1308" y="244"/>
                  </a:lnTo>
                  <a:lnTo>
                    <a:pt x="1327" y="235"/>
                  </a:lnTo>
                  <a:lnTo>
                    <a:pt x="1347" y="235"/>
                  </a:lnTo>
                  <a:lnTo>
                    <a:pt x="1347" y="244"/>
                  </a:lnTo>
                  <a:lnTo>
                    <a:pt x="1347" y="264"/>
                  </a:lnTo>
                  <a:lnTo>
                    <a:pt x="1347" y="283"/>
                  </a:lnTo>
                  <a:lnTo>
                    <a:pt x="1337" y="264"/>
                  </a:lnTo>
                  <a:lnTo>
                    <a:pt x="1337" y="254"/>
                  </a:lnTo>
                  <a:lnTo>
                    <a:pt x="1327" y="264"/>
                  </a:lnTo>
                  <a:lnTo>
                    <a:pt x="1317" y="254"/>
                  </a:lnTo>
                  <a:lnTo>
                    <a:pt x="1308" y="254"/>
                  </a:lnTo>
                  <a:lnTo>
                    <a:pt x="1317" y="274"/>
                  </a:lnTo>
                  <a:lnTo>
                    <a:pt x="1337" y="274"/>
                  </a:lnTo>
                  <a:lnTo>
                    <a:pt x="1337" y="283"/>
                  </a:lnTo>
                  <a:lnTo>
                    <a:pt x="1337" y="293"/>
                  </a:lnTo>
                  <a:lnTo>
                    <a:pt x="1317" y="293"/>
                  </a:lnTo>
                  <a:lnTo>
                    <a:pt x="1317" y="303"/>
                  </a:lnTo>
                  <a:lnTo>
                    <a:pt x="1327" y="303"/>
                  </a:lnTo>
                  <a:lnTo>
                    <a:pt x="1337" y="322"/>
                  </a:lnTo>
                  <a:lnTo>
                    <a:pt x="1347" y="313"/>
                  </a:lnTo>
                  <a:lnTo>
                    <a:pt x="1356" y="303"/>
                  </a:lnTo>
                  <a:lnTo>
                    <a:pt x="1356" y="274"/>
                  </a:lnTo>
                  <a:lnTo>
                    <a:pt x="1356" y="244"/>
                  </a:lnTo>
                  <a:lnTo>
                    <a:pt x="1347" y="235"/>
                  </a:lnTo>
                  <a:lnTo>
                    <a:pt x="1347" y="205"/>
                  </a:lnTo>
                  <a:lnTo>
                    <a:pt x="1386" y="186"/>
                  </a:lnTo>
                  <a:lnTo>
                    <a:pt x="1405" y="176"/>
                  </a:lnTo>
                  <a:lnTo>
                    <a:pt x="1444" y="176"/>
                  </a:lnTo>
                  <a:lnTo>
                    <a:pt x="1464" y="176"/>
                  </a:lnTo>
                  <a:lnTo>
                    <a:pt x="1464" y="186"/>
                  </a:lnTo>
                  <a:lnTo>
                    <a:pt x="1464" y="205"/>
                  </a:lnTo>
                  <a:lnTo>
                    <a:pt x="1454" y="205"/>
                  </a:lnTo>
                  <a:lnTo>
                    <a:pt x="1444" y="196"/>
                  </a:lnTo>
                  <a:lnTo>
                    <a:pt x="1444" y="215"/>
                  </a:lnTo>
                  <a:lnTo>
                    <a:pt x="1444" y="225"/>
                  </a:lnTo>
                  <a:lnTo>
                    <a:pt x="1464" y="215"/>
                  </a:lnTo>
                  <a:lnTo>
                    <a:pt x="1483" y="196"/>
                  </a:lnTo>
                  <a:lnTo>
                    <a:pt x="1493" y="205"/>
                  </a:lnTo>
                  <a:lnTo>
                    <a:pt x="1493" y="215"/>
                  </a:lnTo>
                  <a:lnTo>
                    <a:pt x="1503" y="205"/>
                  </a:lnTo>
                  <a:lnTo>
                    <a:pt x="1512" y="196"/>
                  </a:lnTo>
                  <a:lnTo>
                    <a:pt x="1522" y="215"/>
                  </a:lnTo>
                  <a:lnTo>
                    <a:pt x="1532" y="205"/>
                  </a:lnTo>
                  <a:lnTo>
                    <a:pt x="1532" y="196"/>
                  </a:lnTo>
                  <a:lnTo>
                    <a:pt x="1542" y="186"/>
                  </a:lnTo>
                  <a:lnTo>
                    <a:pt x="1571" y="196"/>
                  </a:lnTo>
                  <a:lnTo>
                    <a:pt x="1590" y="205"/>
                  </a:lnTo>
                  <a:lnTo>
                    <a:pt x="1590" y="215"/>
                  </a:lnTo>
                  <a:lnTo>
                    <a:pt x="1600" y="205"/>
                  </a:lnTo>
                  <a:lnTo>
                    <a:pt x="1629" y="196"/>
                  </a:lnTo>
                  <a:lnTo>
                    <a:pt x="1639" y="186"/>
                  </a:lnTo>
                  <a:lnTo>
                    <a:pt x="1639" y="176"/>
                  </a:lnTo>
                  <a:lnTo>
                    <a:pt x="1649" y="166"/>
                  </a:lnTo>
                  <a:lnTo>
                    <a:pt x="1659" y="156"/>
                  </a:lnTo>
                  <a:lnTo>
                    <a:pt x="1668" y="117"/>
                  </a:lnTo>
                  <a:lnTo>
                    <a:pt x="1688" y="98"/>
                  </a:lnTo>
                  <a:lnTo>
                    <a:pt x="1707" y="78"/>
                  </a:lnTo>
                  <a:lnTo>
                    <a:pt x="1727" y="59"/>
                  </a:lnTo>
                  <a:lnTo>
                    <a:pt x="1737" y="49"/>
                  </a:lnTo>
                  <a:lnTo>
                    <a:pt x="1776" y="30"/>
                  </a:lnTo>
                  <a:lnTo>
                    <a:pt x="1805" y="20"/>
                  </a:lnTo>
                  <a:lnTo>
                    <a:pt x="1825" y="20"/>
                  </a:lnTo>
                  <a:lnTo>
                    <a:pt x="1854" y="20"/>
                  </a:lnTo>
                  <a:lnTo>
                    <a:pt x="1854" y="30"/>
                  </a:lnTo>
                  <a:lnTo>
                    <a:pt x="1873" y="30"/>
                  </a:lnTo>
                  <a:lnTo>
                    <a:pt x="1883" y="39"/>
                  </a:lnTo>
                  <a:lnTo>
                    <a:pt x="1883" y="49"/>
                  </a:lnTo>
                  <a:lnTo>
                    <a:pt x="1893" y="59"/>
                  </a:lnTo>
                  <a:lnTo>
                    <a:pt x="1893" y="69"/>
                  </a:lnTo>
                  <a:lnTo>
                    <a:pt x="1903" y="69"/>
                  </a:lnTo>
                  <a:lnTo>
                    <a:pt x="1912" y="69"/>
                  </a:lnTo>
                  <a:lnTo>
                    <a:pt x="1932" y="69"/>
                  </a:lnTo>
                  <a:lnTo>
                    <a:pt x="1951" y="59"/>
                  </a:lnTo>
                  <a:lnTo>
                    <a:pt x="1971" y="69"/>
                  </a:lnTo>
                  <a:lnTo>
                    <a:pt x="1981" y="69"/>
                  </a:lnTo>
                  <a:lnTo>
                    <a:pt x="1981" y="59"/>
                  </a:lnTo>
                  <a:lnTo>
                    <a:pt x="1981" y="49"/>
                  </a:lnTo>
                  <a:lnTo>
                    <a:pt x="1990" y="49"/>
                  </a:lnTo>
                  <a:lnTo>
                    <a:pt x="2000" y="49"/>
                  </a:lnTo>
                  <a:lnTo>
                    <a:pt x="1990" y="30"/>
                  </a:lnTo>
                  <a:lnTo>
                    <a:pt x="1990" y="20"/>
                  </a:lnTo>
                  <a:lnTo>
                    <a:pt x="1990" y="0"/>
                  </a:lnTo>
                  <a:lnTo>
                    <a:pt x="2000" y="10"/>
                  </a:lnTo>
                  <a:lnTo>
                    <a:pt x="2010" y="30"/>
                  </a:lnTo>
                  <a:lnTo>
                    <a:pt x="2020" y="20"/>
                  </a:lnTo>
                  <a:lnTo>
                    <a:pt x="2039" y="30"/>
                  </a:lnTo>
                  <a:lnTo>
                    <a:pt x="2039" y="39"/>
                  </a:lnTo>
                  <a:lnTo>
                    <a:pt x="2068" y="49"/>
                  </a:lnTo>
                  <a:lnTo>
                    <a:pt x="2068" y="59"/>
                  </a:lnTo>
                  <a:lnTo>
                    <a:pt x="2088" y="69"/>
                  </a:lnTo>
                  <a:lnTo>
                    <a:pt x="2107" y="69"/>
                  </a:lnTo>
                  <a:lnTo>
                    <a:pt x="2107" y="88"/>
                  </a:lnTo>
                  <a:lnTo>
                    <a:pt x="2098" y="98"/>
                  </a:lnTo>
                  <a:lnTo>
                    <a:pt x="2078" y="117"/>
                  </a:lnTo>
                  <a:lnTo>
                    <a:pt x="2078" y="137"/>
                  </a:lnTo>
                  <a:lnTo>
                    <a:pt x="2078" y="166"/>
                  </a:lnTo>
                  <a:lnTo>
                    <a:pt x="2059" y="186"/>
                  </a:lnTo>
                  <a:lnTo>
                    <a:pt x="2059" y="196"/>
                  </a:lnTo>
                  <a:lnTo>
                    <a:pt x="2049" y="205"/>
                  </a:lnTo>
                  <a:lnTo>
                    <a:pt x="2029" y="235"/>
                  </a:lnTo>
                  <a:lnTo>
                    <a:pt x="2029" y="244"/>
                  </a:lnTo>
                  <a:lnTo>
                    <a:pt x="2029" y="264"/>
                  </a:lnTo>
                  <a:lnTo>
                    <a:pt x="2049" y="264"/>
                  </a:lnTo>
                  <a:lnTo>
                    <a:pt x="2039" y="293"/>
                  </a:lnTo>
                  <a:lnTo>
                    <a:pt x="2049" y="303"/>
                  </a:lnTo>
                  <a:lnTo>
                    <a:pt x="2078" y="313"/>
                  </a:lnTo>
                  <a:lnTo>
                    <a:pt x="2117" y="303"/>
                  </a:lnTo>
                  <a:lnTo>
                    <a:pt x="2146" y="303"/>
                  </a:lnTo>
                  <a:lnTo>
                    <a:pt x="2156" y="322"/>
                  </a:lnTo>
                  <a:lnTo>
                    <a:pt x="2166" y="352"/>
                  </a:lnTo>
                  <a:lnTo>
                    <a:pt x="2176" y="361"/>
                  </a:lnTo>
                  <a:lnTo>
                    <a:pt x="2185" y="371"/>
                  </a:lnTo>
                  <a:lnTo>
                    <a:pt x="2195" y="381"/>
                  </a:lnTo>
                  <a:lnTo>
                    <a:pt x="2185" y="400"/>
                  </a:lnTo>
                  <a:lnTo>
                    <a:pt x="2185" y="439"/>
                  </a:lnTo>
                  <a:lnTo>
                    <a:pt x="2146" y="439"/>
                  </a:lnTo>
                  <a:lnTo>
                    <a:pt x="2146" y="449"/>
                  </a:lnTo>
                  <a:lnTo>
                    <a:pt x="2146" y="459"/>
                  </a:lnTo>
                  <a:lnTo>
                    <a:pt x="2137" y="469"/>
                  </a:lnTo>
                  <a:lnTo>
                    <a:pt x="2107" y="488"/>
                  </a:lnTo>
                  <a:lnTo>
                    <a:pt x="2098" y="488"/>
                  </a:lnTo>
                  <a:lnTo>
                    <a:pt x="2098" y="508"/>
                  </a:lnTo>
                  <a:lnTo>
                    <a:pt x="2068" y="508"/>
                  </a:lnTo>
                  <a:lnTo>
                    <a:pt x="2068" y="517"/>
                  </a:lnTo>
                  <a:lnTo>
                    <a:pt x="2078" y="527"/>
                  </a:lnTo>
                  <a:lnTo>
                    <a:pt x="2098" y="537"/>
                  </a:lnTo>
                  <a:lnTo>
                    <a:pt x="2098" y="557"/>
                  </a:lnTo>
                  <a:lnTo>
                    <a:pt x="2078" y="566"/>
                  </a:lnTo>
                  <a:lnTo>
                    <a:pt x="2068" y="576"/>
                  </a:lnTo>
                  <a:lnTo>
                    <a:pt x="2107" y="596"/>
                  </a:lnTo>
                  <a:lnTo>
                    <a:pt x="2107" y="615"/>
                  </a:lnTo>
                  <a:lnTo>
                    <a:pt x="2098" y="625"/>
                  </a:lnTo>
                  <a:lnTo>
                    <a:pt x="2088" y="635"/>
                  </a:lnTo>
                  <a:lnTo>
                    <a:pt x="2088" y="654"/>
                  </a:lnTo>
                  <a:lnTo>
                    <a:pt x="2098" y="674"/>
                  </a:lnTo>
                  <a:lnTo>
                    <a:pt x="2127" y="683"/>
                  </a:lnTo>
                  <a:lnTo>
                    <a:pt x="2137" y="693"/>
                  </a:lnTo>
                  <a:lnTo>
                    <a:pt x="2137" y="722"/>
                  </a:lnTo>
                  <a:lnTo>
                    <a:pt x="2146" y="732"/>
                  </a:lnTo>
                  <a:lnTo>
                    <a:pt x="2146" y="742"/>
                  </a:lnTo>
                  <a:lnTo>
                    <a:pt x="2127" y="742"/>
                  </a:lnTo>
                  <a:lnTo>
                    <a:pt x="2117" y="791"/>
                  </a:lnTo>
                  <a:lnTo>
                    <a:pt x="2107" y="791"/>
                  </a:lnTo>
                  <a:lnTo>
                    <a:pt x="2098" y="800"/>
                  </a:lnTo>
                  <a:lnTo>
                    <a:pt x="2098" y="810"/>
                  </a:lnTo>
                  <a:lnTo>
                    <a:pt x="2088" y="830"/>
                  </a:lnTo>
                  <a:lnTo>
                    <a:pt x="2068" y="820"/>
                  </a:lnTo>
                  <a:lnTo>
                    <a:pt x="2068" y="810"/>
                  </a:lnTo>
                  <a:lnTo>
                    <a:pt x="2049" y="810"/>
                  </a:lnTo>
                  <a:lnTo>
                    <a:pt x="2049" y="830"/>
                  </a:lnTo>
                  <a:lnTo>
                    <a:pt x="2039" y="839"/>
                  </a:lnTo>
                  <a:lnTo>
                    <a:pt x="2020" y="839"/>
                  </a:lnTo>
                  <a:lnTo>
                    <a:pt x="2010" y="849"/>
                  </a:lnTo>
                  <a:lnTo>
                    <a:pt x="2000" y="849"/>
                  </a:lnTo>
                  <a:lnTo>
                    <a:pt x="1990" y="849"/>
                  </a:lnTo>
                  <a:lnTo>
                    <a:pt x="1990" y="859"/>
                  </a:lnTo>
                  <a:lnTo>
                    <a:pt x="2000" y="869"/>
                  </a:lnTo>
                  <a:lnTo>
                    <a:pt x="2010" y="869"/>
                  </a:lnTo>
                  <a:lnTo>
                    <a:pt x="2020" y="898"/>
                  </a:lnTo>
                  <a:lnTo>
                    <a:pt x="2020" y="908"/>
                  </a:lnTo>
                  <a:lnTo>
                    <a:pt x="2010" y="918"/>
                  </a:lnTo>
                  <a:lnTo>
                    <a:pt x="2000" y="908"/>
                  </a:lnTo>
                  <a:lnTo>
                    <a:pt x="1981" y="908"/>
                  </a:lnTo>
                  <a:lnTo>
                    <a:pt x="1981" y="927"/>
                  </a:lnTo>
                  <a:lnTo>
                    <a:pt x="1961" y="927"/>
                  </a:lnTo>
                  <a:lnTo>
                    <a:pt x="1951" y="937"/>
                  </a:lnTo>
                  <a:lnTo>
                    <a:pt x="1942" y="947"/>
                  </a:lnTo>
                  <a:lnTo>
                    <a:pt x="1942" y="966"/>
                  </a:lnTo>
                  <a:lnTo>
                    <a:pt x="1951" y="976"/>
                  </a:lnTo>
                  <a:lnTo>
                    <a:pt x="1942" y="996"/>
                  </a:lnTo>
                  <a:lnTo>
                    <a:pt x="1942" y="1005"/>
                  </a:lnTo>
                  <a:lnTo>
                    <a:pt x="1951" y="1025"/>
                  </a:lnTo>
                  <a:lnTo>
                    <a:pt x="1971" y="1064"/>
                  </a:lnTo>
                  <a:lnTo>
                    <a:pt x="1981" y="1083"/>
                  </a:lnTo>
                  <a:lnTo>
                    <a:pt x="2000" y="1093"/>
                  </a:lnTo>
                  <a:lnTo>
                    <a:pt x="2000" y="1103"/>
                  </a:lnTo>
                  <a:lnTo>
                    <a:pt x="2020" y="1122"/>
                  </a:lnTo>
                  <a:lnTo>
                    <a:pt x="2010" y="1132"/>
                  </a:lnTo>
                  <a:lnTo>
                    <a:pt x="2029" y="1152"/>
                  </a:lnTo>
                  <a:lnTo>
                    <a:pt x="2029" y="1181"/>
                  </a:lnTo>
                  <a:lnTo>
                    <a:pt x="2020" y="1191"/>
                  </a:lnTo>
                  <a:lnTo>
                    <a:pt x="2020" y="1210"/>
                  </a:lnTo>
                  <a:lnTo>
                    <a:pt x="2020" y="1230"/>
                  </a:lnTo>
                  <a:lnTo>
                    <a:pt x="2010" y="1230"/>
                  </a:lnTo>
                  <a:lnTo>
                    <a:pt x="2010" y="1220"/>
                  </a:lnTo>
                  <a:lnTo>
                    <a:pt x="2000" y="1210"/>
                  </a:lnTo>
                  <a:lnTo>
                    <a:pt x="1990" y="1220"/>
                  </a:lnTo>
                  <a:lnTo>
                    <a:pt x="1990" y="1230"/>
                  </a:lnTo>
                  <a:lnTo>
                    <a:pt x="1981" y="1239"/>
                  </a:lnTo>
                  <a:lnTo>
                    <a:pt x="1971" y="1220"/>
                  </a:lnTo>
                  <a:lnTo>
                    <a:pt x="1951" y="1239"/>
                  </a:lnTo>
                  <a:lnTo>
                    <a:pt x="1961" y="1259"/>
                  </a:lnTo>
                  <a:lnTo>
                    <a:pt x="1951" y="1269"/>
                  </a:lnTo>
                  <a:lnTo>
                    <a:pt x="1932" y="1279"/>
                  </a:lnTo>
                  <a:lnTo>
                    <a:pt x="1912" y="1269"/>
                  </a:lnTo>
                  <a:lnTo>
                    <a:pt x="1893" y="1279"/>
                  </a:lnTo>
                  <a:lnTo>
                    <a:pt x="1873" y="1269"/>
                  </a:lnTo>
                  <a:lnTo>
                    <a:pt x="1854" y="1269"/>
                  </a:lnTo>
                  <a:lnTo>
                    <a:pt x="1844" y="1279"/>
                  </a:lnTo>
                  <a:lnTo>
                    <a:pt x="1834" y="1279"/>
                  </a:lnTo>
                  <a:lnTo>
                    <a:pt x="1825" y="1269"/>
                  </a:lnTo>
                  <a:lnTo>
                    <a:pt x="1815" y="1279"/>
                  </a:lnTo>
                  <a:lnTo>
                    <a:pt x="1825" y="1288"/>
                  </a:lnTo>
                  <a:lnTo>
                    <a:pt x="1815" y="1308"/>
                  </a:lnTo>
                  <a:lnTo>
                    <a:pt x="1825" y="1347"/>
                  </a:lnTo>
                  <a:lnTo>
                    <a:pt x="1834" y="1357"/>
                  </a:lnTo>
                  <a:lnTo>
                    <a:pt x="1834" y="1386"/>
                  </a:lnTo>
                  <a:lnTo>
                    <a:pt x="1825" y="1405"/>
                  </a:lnTo>
                  <a:lnTo>
                    <a:pt x="1815" y="1425"/>
                  </a:lnTo>
                  <a:lnTo>
                    <a:pt x="1815" y="1444"/>
                  </a:lnTo>
                  <a:lnTo>
                    <a:pt x="1805" y="1454"/>
                  </a:lnTo>
                  <a:lnTo>
                    <a:pt x="1805" y="1483"/>
                  </a:lnTo>
                  <a:lnTo>
                    <a:pt x="1805" y="1513"/>
                  </a:lnTo>
                  <a:lnTo>
                    <a:pt x="1834" y="1532"/>
                  </a:lnTo>
                  <a:lnTo>
                    <a:pt x="1844" y="1571"/>
                  </a:lnTo>
                  <a:lnTo>
                    <a:pt x="1854" y="1581"/>
                  </a:lnTo>
                  <a:lnTo>
                    <a:pt x="1873" y="1591"/>
                  </a:lnTo>
                  <a:lnTo>
                    <a:pt x="1873" y="1610"/>
                  </a:lnTo>
                  <a:lnTo>
                    <a:pt x="1873" y="1620"/>
                  </a:lnTo>
                  <a:lnTo>
                    <a:pt x="1864" y="1630"/>
                  </a:lnTo>
                  <a:lnTo>
                    <a:pt x="1864" y="1659"/>
                  </a:lnTo>
                  <a:lnTo>
                    <a:pt x="1854" y="1679"/>
                  </a:lnTo>
                  <a:lnTo>
                    <a:pt x="1834" y="1698"/>
                  </a:lnTo>
                  <a:lnTo>
                    <a:pt x="1815" y="1698"/>
                  </a:lnTo>
                  <a:lnTo>
                    <a:pt x="1805" y="1708"/>
                  </a:lnTo>
                  <a:lnTo>
                    <a:pt x="1785" y="1708"/>
                  </a:lnTo>
                  <a:lnTo>
                    <a:pt x="1776" y="1708"/>
                  </a:lnTo>
                  <a:lnTo>
                    <a:pt x="1766" y="1727"/>
                  </a:lnTo>
                  <a:lnTo>
                    <a:pt x="1766" y="1747"/>
                  </a:lnTo>
                  <a:lnTo>
                    <a:pt x="1766" y="1757"/>
                  </a:lnTo>
                  <a:lnTo>
                    <a:pt x="1756" y="1766"/>
                  </a:lnTo>
                  <a:lnTo>
                    <a:pt x="1737" y="1776"/>
                  </a:lnTo>
                  <a:lnTo>
                    <a:pt x="1727" y="1776"/>
                  </a:lnTo>
                  <a:lnTo>
                    <a:pt x="1717" y="1796"/>
                  </a:lnTo>
                  <a:lnTo>
                    <a:pt x="1698" y="1786"/>
                  </a:lnTo>
                  <a:lnTo>
                    <a:pt x="1688" y="1796"/>
                  </a:lnTo>
                  <a:lnTo>
                    <a:pt x="1668" y="1796"/>
                  </a:lnTo>
                  <a:lnTo>
                    <a:pt x="1649" y="1805"/>
                  </a:lnTo>
                  <a:lnTo>
                    <a:pt x="1649" y="1835"/>
                  </a:lnTo>
                  <a:lnTo>
                    <a:pt x="1649" y="1854"/>
                  </a:lnTo>
                  <a:lnTo>
                    <a:pt x="1639" y="1864"/>
                  </a:lnTo>
                  <a:lnTo>
                    <a:pt x="1649" y="1913"/>
                  </a:lnTo>
                  <a:lnTo>
                    <a:pt x="1639" y="1913"/>
                  </a:lnTo>
                  <a:lnTo>
                    <a:pt x="1639" y="1922"/>
                  </a:lnTo>
                  <a:lnTo>
                    <a:pt x="1649" y="1932"/>
                  </a:lnTo>
                  <a:lnTo>
                    <a:pt x="1649" y="1942"/>
                  </a:lnTo>
                  <a:lnTo>
                    <a:pt x="1649" y="1952"/>
                  </a:lnTo>
                  <a:lnTo>
                    <a:pt x="1649" y="1961"/>
                  </a:lnTo>
                  <a:lnTo>
                    <a:pt x="1629" y="1961"/>
                  </a:lnTo>
                  <a:lnTo>
                    <a:pt x="1620" y="1961"/>
                  </a:lnTo>
                  <a:lnTo>
                    <a:pt x="1629" y="1971"/>
                  </a:lnTo>
                  <a:lnTo>
                    <a:pt x="1649" y="1981"/>
                  </a:lnTo>
                  <a:lnTo>
                    <a:pt x="1659" y="1991"/>
                  </a:lnTo>
                  <a:lnTo>
                    <a:pt x="1678" y="2001"/>
                  </a:lnTo>
                  <a:lnTo>
                    <a:pt x="1668" y="2020"/>
                  </a:lnTo>
                  <a:lnTo>
                    <a:pt x="1659" y="2049"/>
                  </a:lnTo>
                  <a:lnTo>
                    <a:pt x="1659" y="2069"/>
                  </a:lnTo>
                  <a:lnTo>
                    <a:pt x="1678" y="2069"/>
                  </a:lnTo>
                  <a:lnTo>
                    <a:pt x="1698" y="2088"/>
                  </a:lnTo>
                  <a:lnTo>
                    <a:pt x="1707" y="2098"/>
                  </a:lnTo>
                  <a:lnTo>
                    <a:pt x="1707" y="2108"/>
                  </a:lnTo>
                  <a:lnTo>
                    <a:pt x="1707" y="2127"/>
                  </a:lnTo>
                  <a:lnTo>
                    <a:pt x="1698" y="2137"/>
                  </a:lnTo>
                  <a:lnTo>
                    <a:pt x="1698" y="2157"/>
                  </a:lnTo>
                  <a:lnTo>
                    <a:pt x="1698" y="2166"/>
                  </a:lnTo>
                  <a:lnTo>
                    <a:pt x="1688" y="2186"/>
                  </a:lnTo>
                  <a:lnTo>
                    <a:pt x="1688" y="2205"/>
                  </a:lnTo>
                  <a:lnTo>
                    <a:pt x="1707" y="2225"/>
                  </a:lnTo>
                  <a:lnTo>
                    <a:pt x="1659" y="2244"/>
                  </a:lnTo>
                  <a:lnTo>
                    <a:pt x="1629" y="2254"/>
                  </a:lnTo>
                  <a:lnTo>
                    <a:pt x="1590" y="2274"/>
                  </a:lnTo>
                  <a:lnTo>
                    <a:pt x="1590" y="2293"/>
                  </a:lnTo>
                  <a:lnTo>
                    <a:pt x="1600" y="2303"/>
                  </a:lnTo>
                  <a:lnTo>
                    <a:pt x="1590" y="2313"/>
                  </a:lnTo>
                  <a:lnTo>
                    <a:pt x="1551" y="2322"/>
                  </a:lnTo>
                  <a:lnTo>
                    <a:pt x="1532" y="2322"/>
                  </a:lnTo>
                  <a:lnTo>
                    <a:pt x="1522" y="2322"/>
                  </a:lnTo>
                  <a:lnTo>
                    <a:pt x="1512" y="2322"/>
                  </a:lnTo>
                  <a:lnTo>
                    <a:pt x="1512" y="2342"/>
                  </a:lnTo>
                  <a:lnTo>
                    <a:pt x="1493" y="2342"/>
                  </a:lnTo>
                  <a:lnTo>
                    <a:pt x="1493" y="2332"/>
                  </a:lnTo>
                  <a:lnTo>
                    <a:pt x="1483" y="2342"/>
                  </a:lnTo>
                  <a:lnTo>
                    <a:pt x="1473" y="2342"/>
                  </a:lnTo>
                  <a:lnTo>
                    <a:pt x="1454" y="2342"/>
                  </a:lnTo>
                  <a:lnTo>
                    <a:pt x="1444" y="2362"/>
                  </a:lnTo>
                  <a:lnTo>
                    <a:pt x="1425" y="2362"/>
                  </a:lnTo>
                  <a:lnTo>
                    <a:pt x="1415" y="2352"/>
                  </a:lnTo>
                  <a:lnTo>
                    <a:pt x="1405" y="2342"/>
                  </a:lnTo>
                  <a:lnTo>
                    <a:pt x="1395" y="2352"/>
                  </a:lnTo>
                  <a:lnTo>
                    <a:pt x="1386" y="2352"/>
                  </a:lnTo>
                  <a:lnTo>
                    <a:pt x="1356" y="2352"/>
                  </a:lnTo>
                  <a:lnTo>
                    <a:pt x="1327" y="2362"/>
                  </a:lnTo>
                  <a:lnTo>
                    <a:pt x="1308" y="2371"/>
                  </a:lnTo>
                  <a:lnTo>
                    <a:pt x="1298" y="2362"/>
                  </a:lnTo>
                  <a:lnTo>
                    <a:pt x="1278" y="2342"/>
                  </a:lnTo>
                  <a:lnTo>
                    <a:pt x="1259" y="2332"/>
                  </a:lnTo>
                  <a:lnTo>
                    <a:pt x="1239" y="2332"/>
                  </a:lnTo>
                  <a:lnTo>
                    <a:pt x="1220" y="2332"/>
                  </a:lnTo>
                  <a:lnTo>
                    <a:pt x="1190" y="2332"/>
                  </a:lnTo>
                  <a:lnTo>
                    <a:pt x="1181" y="2332"/>
                  </a:lnTo>
                  <a:lnTo>
                    <a:pt x="1181" y="2352"/>
                  </a:lnTo>
                  <a:lnTo>
                    <a:pt x="1161" y="2352"/>
                  </a:lnTo>
                  <a:lnTo>
                    <a:pt x="1142" y="2342"/>
                  </a:lnTo>
                  <a:lnTo>
                    <a:pt x="1132" y="2322"/>
                  </a:lnTo>
                  <a:lnTo>
                    <a:pt x="1112" y="2342"/>
                  </a:lnTo>
                  <a:lnTo>
                    <a:pt x="1093" y="2332"/>
                  </a:lnTo>
                  <a:lnTo>
                    <a:pt x="1083" y="2322"/>
                  </a:lnTo>
                  <a:lnTo>
                    <a:pt x="1064" y="2322"/>
                  </a:lnTo>
                  <a:lnTo>
                    <a:pt x="1044" y="2322"/>
                  </a:lnTo>
                  <a:lnTo>
                    <a:pt x="1015" y="2332"/>
                  </a:lnTo>
                  <a:lnTo>
                    <a:pt x="1005" y="2342"/>
                  </a:lnTo>
                  <a:lnTo>
                    <a:pt x="995" y="2352"/>
                  </a:lnTo>
                  <a:lnTo>
                    <a:pt x="976" y="2342"/>
                  </a:lnTo>
                  <a:lnTo>
                    <a:pt x="947" y="2303"/>
                  </a:lnTo>
                  <a:lnTo>
                    <a:pt x="947" y="2283"/>
                  </a:lnTo>
                  <a:lnTo>
                    <a:pt x="937" y="2283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9" name="Freeform 89"/>
            <p:cNvSpPr>
              <a:spLocks/>
            </p:cNvSpPr>
            <p:nvPr/>
          </p:nvSpPr>
          <p:spPr bwMode="auto">
            <a:xfrm>
              <a:off x="7550" y="1220"/>
              <a:ext cx="839" cy="1046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97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9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3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5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20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3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29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87"/>
                  </a:lnTo>
                  <a:lnTo>
                    <a:pt x="117" y="48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58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97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4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83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29"/>
                  </a:lnTo>
                  <a:lnTo>
                    <a:pt x="64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90" y="38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819" y="23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7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39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5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  <a:lnTo>
                    <a:pt x="253" y="4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97" name="Group 86"/>
            <p:cNvGrpSpPr>
              <a:grpSpLocks/>
            </p:cNvGrpSpPr>
            <p:nvPr/>
          </p:nvGrpSpPr>
          <p:grpSpPr bwMode="auto">
            <a:xfrm>
              <a:off x="7549" y="1220"/>
              <a:ext cx="839" cy="1044"/>
              <a:chOff x="7550" y="1220"/>
              <a:chExt cx="839" cy="1044"/>
            </a:xfrm>
          </p:grpSpPr>
          <p:sp>
            <p:nvSpPr>
              <p:cNvPr id="311" name="Freeform 88"/>
              <p:cNvSpPr>
                <a:spLocks/>
              </p:cNvSpPr>
              <p:nvPr/>
            </p:nvSpPr>
            <p:spPr bwMode="auto">
              <a:xfrm>
                <a:off x="7551" y="1220"/>
                <a:ext cx="839" cy="1046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  <a:lnTo>
                      <a:pt x="253" y="48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2" name="Freeform 87"/>
              <p:cNvSpPr>
                <a:spLocks/>
              </p:cNvSpPr>
              <p:nvPr/>
            </p:nvSpPr>
            <p:spPr bwMode="auto">
              <a:xfrm>
                <a:off x="7551" y="1220"/>
                <a:ext cx="839" cy="1046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41" name="Freeform 85"/>
            <p:cNvSpPr>
              <a:spLocks/>
            </p:cNvSpPr>
            <p:nvPr/>
          </p:nvSpPr>
          <p:spPr bwMode="auto">
            <a:xfrm>
              <a:off x="8135" y="2138"/>
              <a:ext cx="8" cy="17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299" name="Group 82"/>
            <p:cNvGrpSpPr>
              <a:grpSpLocks/>
            </p:cNvGrpSpPr>
            <p:nvPr/>
          </p:nvGrpSpPr>
          <p:grpSpPr bwMode="auto">
            <a:xfrm>
              <a:off x="8134" y="2137"/>
              <a:ext cx="10" cy="19"/>
              <a:chOff x="8135" y="2137"/>
              <a:chExt cx="10" cy="19"/>
            </a:xfrm>
          </p:grpSpPr>
          <p:sp>
            <p:nvSpPr>
              <p:cNvPr id="309" name="Freeform 84"/>
              <p:cNvSpPr>
                <a:spLocks/>
              </p:cNvSpPr>
              <p:nvPr/>
            </p:nvSpPr>
            <p:spPr bwMode="auto">
              <a:xfrm>
                <a:off x="8136" y="2138"/>
                <a:ext cx="8" cy="17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0" name="Freeform 83"/>
              <p:cNvSpPr>
                <a:spLocks/>
              </p:cNvSpPr>
              <p:nvPr/>
            </p:nvSpPr>
            <p:spPr bwMode="auto">
              <a:xfrm>
                <a:off x="8136" y="2138"/>
                <a:ext cx="8" cy="17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43" name="Freeform 81"/>
            <p:cNvSpPr>
              <a:spLocks/>
            </p:cNvSpPr>
            <p:nvPr/>
          </p:nvSpPr>
          <p:spPr bwMode="auto">
            <a:xfrm>
              <a:off x="8633" y="1737"/>
              <a:ext cx="487" cy="770"/>
            </a:xfrm>
            <a:custGeom>
              <a:avLst/>
              <a:gdLst>
                <a:gd name="T0" fmla="*/ 29 w 487"/>
                <a:gd name="T1" fmla="*/ 449 h 770"/>
                <a:gd name="T2" fmla="*/ 5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8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5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3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5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61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58" y="31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51" y="283"/>
                  </a:lnTo>
                  <a:lnTo>
                    <a:pt x="35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8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51"/>
                  </a:lnTo>
                  <a:lnTo>
                    <a:pt x="448" y="75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3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01" name="Group 78"/>
            <p:cNvGrpSpPr>
              <a:grpSpLocks/>
            </p:cNvGrpSpPr>
            <p:nvPr/>
          </p:nvGrpSpPr>
          <p:grpSpPr bwMode="auto">
            <a:xfrm>
              <a:off x="8632" y="1737"/>
              <a:ext cx="487" cy="770"/>
              <a:chOff x="8633" y="1737"/>
              <a:chExt cx="487" cy="770"/>
            </a:xfrm>
          </p:grpSpPr>
          <p:sp>
            <p:nvSpPr>
              <p:cNvPr id="307" name="Freeform 80"/>
              <p:cNvSpPr>
                <a:spLocks/>
              </p:cNvSpPr>
              <p:nvPr/>
            </p:nvSpPr>
            <p:spPr bwMode="auto">
              <a:xfrm>
                <a:off x="8634" y="1737"/>
                <a:ext cx="487" cy="770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8" name="Freeform 79"/>
              <p:cNvSpPr>
                <a:spLocks/>
              </p:cNvSpPr>
              <p:nvPr/>
            </p:nvSpPr>
            <p:spPr bwMode="auto">
              <a:xfrm>
                <a:off x="8634" y="1737"/>
                <a:ext cx="487" cy="770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45" name="Freeform 77"/>
            <p:cNvSpPr>
              <a:spLocks/>
            </p:cNvSpPr>
            <p:nvPr/>
          </p:nvSpPr>
          <p:spPr bwMode="auto">
            <a:xfrm>
              <a:off x="2997" y="1170"/>
              <a:ext cx="945" cy="636"/>
            </a:xfrm>
            <a:custGeom>
              <a:avLst/>
              <a:gdLst/>
              <a:ahLst/>
              <a:cxnLst>
                <a:cxn ang="0">
                  <a:pos x="282" y="390"/>
                </a:cxn>
                <a:cxn ang="0">
                  <a:pos x="370" y="429"/>
                </a:cxn>
                <a:cxn ang="0">
                  <a:pos x="497" y="527"/>
                </a:cxn>
                <a:cxn ang="0">
                  <a:pos x="663" y="634"/>
                </a:cxn>
                <a:cxn ang="0">
                  <a:pos x="741" y="614"/>
                </a:cxn>
                <a:cxn ang="0">
                  <a:pos x="790" y="595"/>
                </a:cxn>
                <a:cxn ang="0">
                  <a:pos x="838" y="585"/>
                </a:cxn>
                <a:cxn ang="0">
                  <a:pos x="897" y="585"/>
                </a:cxn>
                <a:cxn ang="0">
                  <a:pos x="907" y="517"/>
                </a:cxn>
                <a:cxn ang="0">
                  <a:pos x="946" y="517"/>
                </a:cxn>
                <a:cxn ang="0">
                  <a:pos x="946" y="497"/>
                </a:cxn>
                <a:cxn ang="0">
                  <a:pos x="916" y="439"/>
                </a:cxn>
                <a:cxn ang="0">
                  <a:pos x="829" y="361"/>
                </a:cxn>
                <a:cxn ang="0">
                  <a:pos x="780" y="371"/>
                </a:cxn>
                <a:cxn ang="0">
                  <a:pos x="770" y="419"/>
                </a:cxn>
                <a:cxn ang="0">
                  <a:pos x="731" y="458"/>
                </a:cxn>
                <a:cxn ang="0">
                  <a:pos x="702" y="458"/>
                </a:cxn>
                <a:cxn ang="0">
                  <a:pos x="673" y="458"/>
                </a:cxn>
                <a:cxn ang="0">
                  <a:pos x="702" y="429"/>
                </a:cxn>
                <a:cxn ang="0">
                  <a:pos x="712" y="400"/>
                </a:cxn>
                <a:cxn ang="0">
                  <a:pos x="673" y="400"/>
                </a:cxn>
                <a:cxn ang="0">
                  <a:pos x="653" y="390"/>
                </a:cxn>
                <a:cxn ang="0">
                  <a:pos x="624" y="400"/>
                </a:cxn>
                <a:cxn ang="0">
                  <a:pos x="585" y="361"/>
                </a:cxn>
                <a:cxn ang="0">
                  <a:pos x="526" y="341"/>
                </a:cxn>
                <a:cxn ang="0">
                  <a:pos x="497" y="341"/>
                </a:cxn>
                <a:cxn ang="0">
                  <a:pos x="458" y="312"/>
                </a:cxn>
                <a:cxn ang="0">
                  <a:pos x="497" y="312"/>
                </a:cxn>
                <a:cxn ang="0">
                  <a:pos x="517" y="273"/>
                </a:cxn>
                <a:cxn ang="0">
                  <a:pos x="507" y="253"/>
                </a:cxn>
                <a:cxn ang="0">
                  <a:pos x="448" y="263"/>
                </a:cxn>
                <a:cxn ang="0">
                  <a:pos x="419" y="283"/>
                </a:cxn>
                <a:cxn ang="0">
                  <a:pos x="409" y="244"/>
                </a:cxn>
                <a:cxn ang="0">
                  <a:pos x="321" y="234"/>
                </a:cxn>
                <a:cxn ang="0">
                  <a:pos x="263" y="224"/>
                </a:cxn>
                <a:cxn ang="0">
                  <a:pos x="214" y="214"/>
                </a:cxn>
                <a:cxn ang="0">
                  <a:pos x="156" y="253"/>
                </a:cxn>
                <a:cxn ang="0">
                  <a:pos x="87" y="205"/>
                </a:cxn>
                <a:cxn ang="0">
                  <a:pos x="107" y="156"/>
                </a:cxn>
                <a:cxn ang="0">
                  <a:pos x="136" y="136"/>
                </a:cxn>
                <a:cxn ang="0">
                  <a:pos x="185" y="146"/>
                </a:cxn>
                <a:cxn ang="0">
                  <a:pos x="224" y="117"/>
                </a:cxn>
                <a:cxn ang="0">
                  <a:pos x="224" y="58"/>
                </a:cxn>
                <a:cxn ang="0">
                  <a:pos x="185" y="0"/>
                </a:cxn>
                <a:cxn ang="0">
                  <a:pos x="165" y="29"/>
                </a:cxn>
                <a:cxn ang="0">
                  <a:pos x="126" y="68"/>
                </a:cxn>
                <a:cxn ang="0">
                  <a:pos x="97" y="88"/>
                </a:cxn>
                <a:cxn ang="0">
                  <a:pos x="58" y="117"/>
                </a:cxn>
                <a:cxn ang="0">
                  <a:pos x="48" y="166"/>
                </a:cxn>
                <a:cxn ang="0">
                  <a:pos x="0" y="185"/>
                </a:cxn>
                <a:cxn ang="0">
                  <a:pos x="29" y="302"/>
                </a:cxn>
                <a:cxn ang="0">
                  <a:pos x="97" y="332"/>
                </a:cxn>
              </a:cxnLst>
              <a:rect l="0" t="0" r="r" b="b"/>
              <a:pathLst>
                <a:path w="946" h="634">
                  <a:moveTo>
                    <a:pt x="136" y="361"/>
                  </a:moveTo>
                  <a:lnTo>
                    <a:pt x="185" y="371"/>
                  </a:lnTo>
                  <a:lnTo>
                    <a:pt x="253" y="380"/>
                  </a:lnTo>
                  <a:lnTo>
                    <a:pt x="282" y="390"/>
                  </a:lnTo>
                  <a:lnTo>
                    <a:pt x="302" y="380"/>
                  </a:lnTo>
                  <a:lnTo>
                    <a:pt x="331" y="390"/>
                  </a:lnTo>
                  <a:lnTo>
                    <a:pt x="351" y="410"/>
                  </a:lnTo>
                  <a:lnTo>
                    <a:pt x="370" y="429"/>
                  </a:lnTo>
                  <a:lnTo>
                    <a:pt x="409" y="458"/>
                  </a:lnTo>
                  <a:lnTo>
                    <a:pt x="419" y="478"/>
                  </a:lnTo>
                  <a:lnTo>
                    <a:pt x="438" y="488"/>
                  </a:lnTo>
                  <a:lnTo>
                    <a:pt x="497" y="527"/>
                  </a:lnTo>
                  <a:lnTo>
                    <a:pt x="546" y="556"/>
                  </a:lnTo>
                  <a:lnTo>
                    <a:pt x="595" y="595"/>
                  </a:lnTo>
                  <a:lnTo>
                    <a:pt x="643" y="634"/>
                  </a:lnTo>
                  <a:lnTo>
                    <a:pt x="663" y="634"/>
                  </a:lnTo>
                  <a:lnTo>
                    <a:pt x="682" y="634"/>
                  </a:lnTo>
                  <a:lnTo>
                    <a:pt x="702" y="634"/>
                  </a:lnTo>
                  <a:lnTo>
                    <a:pt x="721" y="624"/>
                  </a:lnTo>
                  <a:lnTo>
                    <a:pt x="741" y="614"/>
                  </a:lnTo>
                  <a:lnTo>
                    <a:pt x="751" y="614"/>
                  </a:lnTo>
                  <a:lnTo>
                    <a:pt x="760" y="595"/>
                  </a:lnTo>
                  <a:lnTo>
                    <a:pt x="770" y="595"/>
                  </a:lnTo>
                  <a:lnTo>
                    <a:pt x="790" y="595"/>
                  </a:lnTo>
                  <a:lnTo>
                    <a:pt x="799" y="605"/>
                  </a:lnTo>
                  <a:lnTo>
                    <a:pt x="819" y="605"/>
                  </a:lnTo>
                  <a:lnTo>
                    <a:pt x="819" y="595"/>
                  </a:lnTo>
                  <a:lnTo>
                    <a:pt x="838" y="585"/>
                  </a:lnTo>
                  <a:lnTo>
                    <a:pt x="848" y="575"/>
                  </a:lnTo>
                  <a:lnTo>
                    <a:pt x="858" y="575"/>
                  </a:lnTo>
                  <a:lnTo>
                    <a:pt x="887" y="575"/>
                  </a:lnTo>
                  <a:lnTo>
                    <a:pt x="897" y="585"/>
                  </a:lnTo>
                  <a:lnTo>
                    <a:pt x="907" y="575"/>
                  </a:lnTo>
                  <a:lnTo>
                    <a:pt x="916" y="556"/>
                  </a:lnTo>
                  <a:lnTo>
                    <a:pt x="916" y="536"/>
                  </a:lnTo>
                  <a:lnTo>
                    <a:pt x="907" y="517"/>
                  </a:lnTo>
                  <a:lnTo>
                    <a:pt x="916" y="507"/>
                  </a:lnTo>
                  <a:lnTo>
                    <a:pt x="936" y="517"/>
                  </a:lnTo>
                  <a:lnTo>
                    <a:pt x="946" y="517"/>
                  </a:lnTo>
                  <a:lnTo>
                    <a:pt x="946" y="507"/>
                  </a:lnTo>
                  <a:lnTo>
                    <a:pt x="926" y="497"/>
                  </a:lnTo>
                  <a:lnTo>
                    <a:pt x="946" y="497"/>
                  </a:lnTo>
                  <a:lnTo>
                    <a:pt x="926" y="478"/>
                  </a:lnTo>
                  <a:lnTo>
                    <a:pt x="926" y="458"/>
                  </a:lnTo>
                  <a:lnTo>
                    <a:pt x="916" y="458"/>
                  </a:lnTo>
                  <a:lnTo>
                    <a:pt x="916" y="439"/>
                  </a:lnTo>
                  <a:lnTo>
                    <a:pt x="877" y="410"/>
                  </a:lnTo>
                  <a:lnTo>
                    <a:pt x="848" y="380"/>
                  </a:lnTo>
                  <a:lnTo>
                    <a:pt x="848" y="371"/>
                  </a:lnTo>
                  <a:lnTo>
                    <a:pt x="829" y="361"/>
                  </a:lnTo>
                  <a:lnTo>
                    <a:pt x="819" y="361"/>
                  </a:lnTo>
                  <a:lnTo>
                    <a:pt x="809" y="371"/>
                  </a:lnTo>
                  <a:lnTo>
                    <a:pt x="799" y="361"/>
                  </a:lnTo>
                  <a:lnTo>
                    <a:pt x="780" y="371"/>
                  </a:lnTo>
                  <a:lnTo>
                    <a:pt x="780" y="390"/>
                  </a:lnTo>
                  <a:lnTo>
                    <a:pt x="780" y="400"/>
                  </a:lnTo>
                  <a:lnTo>
                    <a:pt x="770" y="410"/>
                  </a:lnTo>
                  <a:lnTo>
                    <a:pt x="770" y="419"/>
                  </a:lnTo>
                  <a:lnTo>
                    <a:pt x="780" y="429"/>
                  </a:lnTo>
                  <a:lnTo>
                    <a:pt x="770" y="439"/>
                  </a:lnTo>
                  <a:lnTo>
                    <a:pt x="770" y="449"/>
                  </a:lnTo>
                  <a:lnTo>
                    <a:pt x="731" y="458"/>
                  </a:lnTo>
                  <a:lnTo>
                    <a:pt x="721" y="439"/>
                  </a:lnTo>
                  <a:lnTo>
                    <a:pt x="712" y="439"/>
                  </a:lnTo>
                  <a:lnTo>
                    <a:pt x="702" y="449"/>
                  </a:lnTo>
                  <a:lnTo>
                    <a:pt x="702" y="458"/>
                  </a:lnTo>
                  <a:lnTo>
                    <a:pt x="702" y="468"/>
                  </a:lnTo>
                  <a:lnTo>
                    <a:pt x="682" y="468"/>
                  </a:lnTo>
                  <a:lnTo>
                    <a:pt x="673" y="458"/>
                  </a:lnTo>
                  <a:lnTo>
                    <a:pt x="673" y="449"/>
                  </a:lnTo>
                  <a:lnTo>
                    <a:pt x="673" y="429"/>
                  </a:lnTo>
                  <a:lnTo>
                    <a:pt x="692" y="429"/>
                  </a:lnTo>
                  <a:lnTo>
                    <a:pt x="702" y="429"/>
                  </a:lnTo>
                  <a:lnTo>
                    <a:pt x="702" y="419"/>
                  </a:lnTo>
                  <a:lnTo>
                    <a:pt x="702" y="400"/>
                  </a:lnTo>
                  <a:lnTo>
                    <a:pt x="712" y="400"/>
                  </a:lnTo>
                  <a:lnTo>
                    <a:pt x="702" y="390"/>
                  </a:lnTo>
                  <a:lnTo>
                    <a:pt x="682" y="380"/>
                  </a:lnTo>
                  <a:lnTo>
                    <a:pt x="673" y="380"/>
                  </a:lnTo>
                  <a:lnTo>
                    <a:pt x="673" y="400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53" y="390"/>
                  </a:lnTo>
                  <a:lnTo>
                    <a:pt x="643" y="400"/>
                  </a:lnTo>
                  <a:lnTo>
                    <a:pt x="643" y="390"/>
                  </a:lnTo>
                  <a:lnTo>
                    <a:pt x="634" y="390"/>
                  </a:lnTo>
                  <a:lnTo>
                    <a:pt x="624" y="400"/>
                  </a:lnTo>
                  <a:lnTo>
                    <a:pt x="614" y="390"/>
                  </a:lnTo>
                  <a:lnTo>
                    <a:pt x="604" y="380"/>
                  </a:lnTo>
                  <a:lnTo>
                    <a:pt x="595" y="371"/>
                  </a:lnTo>
                  <a:lnTo>
                    <a:pt x="585" y="361"/>
                  </a:lnTo>
                  <a:lnTo>
                    <a:pt x="575" y="351"/>
                  </a:lnTo>
                  <a:lnTo>
                    <a:pt x="565" y="351"/>
                  </a:lnTo>
                  <a:lnTo>
                    <a:pt x="546" y="341"/>
                  </a:lnTo>
                  <a:lnTo>
                    <a:pt x="526" y="341"/>
                  </a:lnTo>
                  <a:lnTo>
                    <a:pt x="517" y="351"/>
                  </a:lnTo>
                  <a:lnTo>
                    <a:pt x="507" y="361"/>
                  </a:lnTo>
                  <a:lnTo>
                    <a:pt x="497" y="361"/>
                  </a:lnTo>
                  <a:lnTo>
                    <a:pt x="497" y="341"/>
                  </a:lnTo>
                  <a:lnTo>
                    <a:pt x="478" y="341"/>
                  </a:lnTo>
                  <a:lnTo>
                    <a:pt x="468" y="332"/>
                  </a:lnTo>
                  <a:lnTo>
                    <a:pt x="458" y="312"/>
                  </a:lnTo>
                  <a:lnTo>
                    <a:pt x="468" y="312"/>
                  </a:lnTo>
                  <a:lnTo>
                    <a:pt x="478" y="312"/>
                  </a:lnTo>
                  <a:lnTo>
                    <a:pt x="487" y="322"/>
                  </a:lnTo>
                  <a:lnTo>
                    <a:pt x="497" y="312"/>
                  </a:lnTo>
                  <a:lnTo>
                    <a:pt x="497" y="302"/>
                  </a:lnTo>
                  <a:lnTo>
                    <a:pt x="517" y="283"/>
                  </a:lnTo>
                  <a:lnTo>
                    <a:pt x="517" y="273"/>
                  </a:lnTo>
                  <a:lnTo>
                    <a:pt x="536" y="283"/>
                  </a:lnTo>
                  <a:lnTo>
                    <a:pt x="546" y="283"/>
                  </a:lnTo>
                  <a:lnTo>
                    <a:pt x="526" y="263"/>
                  </a:lnTo>
                  <a:lnTo>
                    <a:pt x="507" y="253"/>
                  </a:lnTo>
                  <a:lnTo>
                    <a:pt x="458" y="253"/>
                  </a:lnTo>
                  <a:lnTo>
                    <a:pt x="448" y="253"/>
                  </a:lnTo>
                  <a:lnTo>
                    <a:pt x="458" y="263"/>
                  </a:lnTo>
                  <a:lnTo>
                    <a:pt x="448" y="263"/>
                  </a:lnTo>
                  <a:lnTo>
                    <a:pt x="458" y="283"/>
                  </a:lnTo>
                  <a:lnTo>
                    <a:pt x="448" y="283"/>
                  </a:lnTo>
                  <a:lnTo>
                    <a:pt x="438" y="283"/>
                  </a:lnTo>
                  <a:lnTo>
                    <a:pt x="419" y="283"/>
                  </a:lnTo>
                  <a:lnTo>
                    <a:pt x="438" y="273"/>
                  </a:lnTo>
                  <a:lnTo>
                    <a:pt x="438" y="253"/>
                  </a:lnTo>
                  <a:lnTo>
                    <a:pt x="419" y="253"/>
                  </a:lnTo>
                  <a:lnTo>
                    <a:pt x="409" y="244"/>
                  </a:lnTo>
                  <a:lnTo>
                    <a:pt x="390" y="244"/>
                  </a:lnTo>
                  <a:lnTo>
                    <a:pt x="380" y="234"/>
                  </a:lnTo>
                  <a:lnTo>
                    <a:pt x="360" y="234"/>
                  </a:lnTo>
                  <a:lnTo>
                    <a:pt x="321" y="234"/>
                  </a:lnTo>
                  <a:lnTo>
                    <a:pt x="292" y="234"/>
                  </a:lnTo>
                  <a:lnTo>
                    <a:pt x="273" y="224"/>
                  </a:lnTo>
                  <a:lnTo>
                    <a:pt x="273" y="214"/>
                  </a:lnTo>
                  <a:lnTo>
                    <a:pt x="263" y="224"/>
                  </a:lnTo>
                  <a:lnTo>
                    <a:pt x="263" y="234"/>
                  </a:lnTo>
                  <a:lnTo>
                    <a:pt x="243" y="224"/>
                  </a:lnTo>
                  <a:lnTo>
                    <a:pt x="234" y="214"/>
                  </a:lnTo>
                  <a:lnTo>
                    <a:pt x="214" y="214"/>
                  </a:lnTo>
                  <a:lnTo>
                    <a:pt x="214" y="224"/>
                  </a:lnTo>
                  <a:lnTo>
                    <a:pt x="175" y="234"/>
                  </a:lnTo>
                  <a:lnTo>
                    <a:pt x="175" y="253"/>
                  </a:lnTo>
                  <a:lnTo>
                    <a:pt x="156" y="253"/>
                  </a:lnTo>
                  <a:lnTo>
                    <a:pt x="146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87" y="205"/>
                  </a:lnTo>
                  <a:lnTo>
                    <a:pt x="97" y="195"/>
                  </a:lnTo>
                  <a:lnTo>
                    <a:pt x="97" y="185"/>
                  </a:lnTo>
                  <a:lnTo>
                    <a:pt x="107" y="175"/>
                  </a:lnTo>
                  <a:lnTo>
                    <a:pt x="107" y="156"/>
                  </a:lnTo>
                  <a:lnTo>
                    <a:pt x="107" y="146"/>
                  </a:lnTo>
                  <a:lnTo>
                    <a:pt x="117" y="136"/>
                  </a:lnTo>
                  <a:lnTo>
                    <a:pt x="136" y="136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75" y="136"/>
                  </a:lnTo>
                  <a:lnTo>
                    <a:pt x="185" y="146"/>
                  </a:lnTo>
                  <a:lnTo>
                    <a:pt x="195" y="166"/>
                  </a:lnTo>
                  <a:lnTo>
                    <a:pt x="204" y="146"/>
                  </a:lnTo>
                  <a:lnTo>
                    <a:pt x="21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24" y="88"/>
                  </a:lnTo>
                  <a:lnTo>
                    <a:pt x="224" y="7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195" y="29"/>
                  </a:lnTo>
                  <a:lnTo>
                    <a:pt x="185" y="19"/>
                  </a:lnTo>
                  <a:lnTo>
                    <a:pt x="185" y="0"/>
                  </a:lnTo>
                  <a:lnTo>
                    <a:pt x="175" y="0"/>
                  </a:lnTo>
                  <a:lnTo>
                    <a:pt x="165" y="10"/>
                  </a:lnTo>
                  <a:lnTo>
                    <a:pt x="165" y="29"/>
                  </a:lnTo>
                  <a:lnTo>
                    <a:pt x="165" y="49"/>
                  </a:lnTo>
                  <a:lnTo>
                    <a:pt x="156" y="58"/>
                  </a:lnTo>
                  <a:lnTo>
                    <a:pt x="136" y="58"/>
                  </a:lnTo>
                  <a:lnTo>
                    <a:pt x="126" y="68"/>
                  </a:lnTo>
                  <a:lnTo>
                    <a:pt x="136" y="78"/>
                  </a:lnTo>
                  <a:lnTo>
                    <a:pt x="117" y="78"/>
                  </a:lnTo>
                  <a:lnTo>
                    <a:pt x="107" y="88"/>
                  </a:lnTo>
                  <a:lnTo>
                    <a:pt x="97" y="88"/>
                  </a:lnTo>
                  <a:lnTo>
                    <a:pt x="78" y="97"/>
                  </a:lnTo>
                  <a:lnTo>
                    <a:pt x="68" y="107"/>
                  </a:lnTo>
                  <a:lnTo>
                    <a:pt x="58" y="107"/>
                  </a:lnTo>
                  <a:lnTo>
                    <a:pt x="58" y="117"/>
                  </a:lnTo>
                  <a:lnTo>
                    <a:pt x="68" y="127"/>
                  </a:lnTo>
                  <a:lnTo>
                    <a:pt x="58" y="136"/>
                  </a:lnTo>
                  <a:lnTo>
                    <a:pt x="58" y="156"/>
                  </a:lnTo>
                  <a:lnTo>
                    <a:pt x="48" y="166"/>
                  </a:lnTo>
                  <a:lnTo>
                    <a:pt x="39" y="166"/>
                  </a:lnTo>
                  <a:lnTo>
                    <a:pt x="29" y="175"/>
                  </a:lnTo>
                  <a:lnTo>
                    <a:pt x="19" y="185"/>
                  </a:lnTo>
                  <a:lnTo>
                    <a:pt x="0" y="185"/>
                  </a:lnTo>
                  <a:lnTo>
                    <a:pt x="9" y="214"/>
                  </a:lnTo>
                  <a:lnTo>
                    <a:pt x="19" y="253"/>
                  </a:lnTo>
                  <a:lnTo>
                    <a:pt x="29" y="273"/>
                  </a:lnTo>
                  <a:lnTo>
                    <a:pt x="29" y="302"/>
                  </a:lnTo>
                  <a:lnTo>
                    <a:pt x="39" y="322"/>
                  </a:lnTo>
                  <a:lnTo>
                    <a:pt x="48" y="322"/>
                  </a:lnTo>
                  <a:lnTo>
                    <a:pt x="68" y="341"/>
                  </a:lnTo>
                  <a:lnTo>
                    <a:pt x="97" y="332"/>
                  </a:lnTo>
                  <a:lnTo>
                    <a:pt x="117" y="351"/>
                  </a:lnTo>
                  <a:lnTo>
                    <a:pt x="136" y="36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6" name="Freeform 76"/>
            <p:cNvSpPr>
              <a:spLocks/>
            </p:cNvSpPr>
            <p:nvPr/>
          </p:nvSpPr>
          <p:spPr bwMode="auto">
            <a:xfrm>
              <a:off x="771" y="2869"/>
              <a:ext cx="177" cy="136"/>
            </a:xfrm>
            <a:custGeom>
              <a:avLst/>
              <a:gdLst/>
              <a:ahLst/>
              <a:cxnLst>
                <a:cxn ang="0">
                  <a:pos x="68" y="137"/>
                </a:cxn>
                <a:cxn ang="0">
                  <a:pos x="97" y="127"/>
                </a:cxn>
                <a:cxn ang="0">
                  <a:pos x="107" y="127"/>
                </a:cxn>
                <a:cxn ang="0">
                  <a:pos x="146" y="127"/>
                </a:cxn>
                <a:cxn ang="0">
                  <a:pos x="146" y="108"/>
                </a:cxn>
                <a:cxn ang="0">
                  <a:pos x="146" y="98"/>
                </a:cxn>
                <a:cxn ang="0">
                  <a:pos x="136" y="88"/>
                </a:cxn>
                <a:cxn ang="0">
                  <a:pos x="136" y="79"/>
                </a:cxn>
                <a:cxn ang="0">
                  <a:pos x="136" y="79"/>
                </a:cxn>
                <a:cxn ang="0">
                  <a:pos x="156" y="79"/>
                </a:cxn>
                <a:cxn ang="0">
                  <a:pos x="175" y="79"/>
                </a:cxn>
                <a:cxn ang="0">
                  <a:pos x="175" y="59"/>
                </a:cxn>
                <a:cxn ang="0">
                  <a:pos x="165" y="49"/>
                </a:cxn>
                <a:cxn ang="0">
                  <a:pos x="156" y="49"/>
                </a:cxn>
                <a:cxn ang="0">
                  <a:pos x="146" y="30"/>
                </a:cxn>
                <a:cxn ang="0">
                  <a:pos x="146" y="10"/>
                </a:cxn>
                <a:cxn ang="0">
                  <a:pos x="126" y="10"/>
                </a:cxn>
                <a:cxn ang="0">
                  <a:pos x="126" y="30"/>
                </a:cxn>
                <a:cxn ang="0">
                  <a:pos x="97" y="30"/>
                </a:cxn>
                <a:cxn ang="0">
                  <a:pos x="87" y="40"/>
                </a:cxn>
                <a:cxn ang="0">
                  <a:pos x="78" y="30"/>
                </a:cxn>
                <a:cxn ang="0">
                  <a:pos x="87" y="10"/>
                </a:cxn>
                <a:cxn ang="0">
                  <a:pos x="68" y="0"/>
                </a:cxn>
                <a:cxn ang="0">
                  <a:pos x="48" y="0"/>
                </a:cxn>
                <a:cxn ang="0">
                  <a:pos x="29" y="0"/>
                </a:cxn>
                <a:cxn ang="0">
                  <a:pos x="0" y="20"/>
                </a:cxn>
                <a:cxn ang="0">
                  <a:pos x="9" y="40"/>
                </a:cxn>
                <a:cxn ang="0">
                  <a:pos x="19" y="59"/>
                </a:cxn>
                <a:cxn ang="0">
                  <a:pos x="29" y="79"/>
                </a:cxn>
                <a:cxn ang="0">
                  <a:pos x="29" y="98"/>
                </a:cxn>
                <a:cxn ang="0">
                  <a:pos x="39" y="108"/>
                </a:cxn>
                <a:cxn ang="0">
                  <a:pos x="48" y="108"/>
                </a:cxn>
                <a:cxn ang="0">
                  <a:pos x="58" y="118"/>
                </a:cxn>
                <a:cxn ang="0">
                  <a:pos x="68" y="137"/>
                </a:cxn>
              </a:cxnLst>
              <a:rect l="0" t="0" r="r" b="b"/>
              <a:pathLst>
                <a:path w="175" h="137">
                  <a:moveTo>
                    <a:pt x="68" y="137"/>
                  </a:moveTo>
                  <a:lnTo>
                    <a:pt x="97" y="127"/>
                  </a:lnTo>
                  <a:lnTo>
                    <a:pt x="107" y="127"/>
                  </a:lnTo>
                  <a:lnTo>
                    <a:pt x="146" y="127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36" y="88"/>
                  </a:lnTo>
                  <a:lnTo>
                    <a:pt x="136" y="79"/>
                  </a:lnTo>
                  <a:lnTo>
                    <a:pt x="156" y="79"/>
                  </a:lnTo>
                  <a:lnTo>
                    <a:pt x="175" y="79"/>
                  </a:lnTo>
                  <a:lnTo>
                    <a:pt x="175" y="59"/>
                  </a:lnTo>
                  <a:lnTo>
                    <a:pt x="165" y="49"/>
                  </a:lnTo>
                  <a:lnTo>
                    <a:pt x="156" y="49"/>
                  </a:lnTo>
                  <a:lnTo>
                    <a:pt x="146" y="30"/>
                  </a:lnTo>
                  <a:lnTo>
                    <a:pt x="146" y="10"/>
                  </a:lnTo>
                  <a:lnTo>
                    <a:pt x="126" y="10"/>
                  </a:lnTo>
                  <a:lnTo>
                    <a:pt x="126" y="30"/>
                  </a:lnTo>
                  <a:lnTo>
                    <a:pt x="97" y="30"/>
                  </a:lnTo>
                  <a:lnTo>
                    <a:pt x="87" y="40"/>
                  </a:lnTo>
                  <a:lnTo>
                    <a:pt x="78" y="3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48" y="0"/>
                  </a:lnTo>
                  <a:lnTo>
                    <a:pt x="29" y="0"/>
                  </a:lnTo>
                  <a:lnTo>
                    <a:pt x="0" y="20"/>
                  </a:lnTo>
                  <a:lnTo>
                    <a:pt x="9" y="40"/>
                  </a:lnTo>
                  <a:lnTo>
                    <a:pt x="19" y="59"/>
                  </a:lnTo>
                  <a:lnTo>
                    <a:pt x="29" y="79"/>
                  </a:lnTo>
                  <a:lnTo>
                    <a:pt x="29" y="98"/>
                  </a:lnTo>
                  <a:lnTo>
                    <a:pt x="39" y="108"/>
                  </a:lnTo>
                  <a:lnTo>
                    <a:pt x="48" y="108"/>
                  </a:lnTo>
                  <a:lnTo>
                    <a:pt x="58" y="118"/>
                  </a:lnTo>
                  <a:lnTo>
                    <a:pt x="68" y="13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7" name="Freeform 75"/>
            <p:cNvSpPr>
              <a:spLocks/>
            </p:cNvSpPr>
            <p:nvPr/>
          </p:nvSpPr>
          <p:spPr bwMode="auto">
            <a:xfrm>
              <a:off x="2741" y="2068"/>
              <a:ext cx="217" cy="322"/>
            </a:xfrm>
            <a:custGeom>
              <a:avLst/>
              <a:gdLst>
                <a:gd name="T0" fmla="*/ 58 w 215"/>
                <a:gd name="T1" fmla="*/ 157 h 322"/>
                <a:gd name="T2" fmla="*/ 68 w 215"/>
                <a:gd name="T3" fmla="*/ 157 h 322"/>
                <a:gd name="T4" fmla="*/ 88 w 215"/>
                <a:gd name="T5" fmla="*/ 137 h 322"/>
                <a:gd name="T6" fmla="*/ 97 w 215"/>
                <a:gd name="T7" fmla="*/ 127 h 322"/>
                <a:gd name="T8" fmla="*/ 97 w 215"/>
                <a:gd name="T9" fmla="*/ 108 h 322"/>
                <a:gd name="T10" fmla="*/ 78 w 215"/>
                <a:gd name="T11" fmla="*/ 108 h 322"/>
                <a:gd name="T12" fmla="*/ 58 w 215"/>
                <a:gd name="T13" fmla="*/ 78 h 322"/>
                <a:gd name="T14" fmla="*/ 49 w 215"/>
                <a:gd name="T15" fmla="*/ 69 h 322"/>
                <a:gd name="T16" fmla="*/ 68 w 215"/>
                <a:gd name="T17" fmla="*/ 59 h 322"/>
                <a:gd name="T18" fmla="*/ 68 w 215"/>
                <a:gd name="T19" fmla="*/ 20 h 322"/>
                <a:gd name="T20" fmla="*/ 78 w 215"/>
                <a:gd name="T21" fmla="*/ 0 h 322"/>
                <a:gd name="T22" fmla="*/ 97 w 215"/>
                <a:gd name="T23" fmla="*/ 10 h 322"/>
                <a:gd name="T24" fmla="*/ 107 w 215"/>
                <a:gd name="T25" fmla="*/ 10 h 322"/>
                <a:gd name="T26" fmla="*/ 117 w 215"/>
                <a:gd name="T27" fmla="*/ 20 h 322"/>
                <a:gd name="T28" fmla="*/ 136 w 215"/>
                <a:gd name="T29" fmla="*/ 10 h 322"/>
                <a:gd name="T30" fmla="*/ 166 w 215"/>
                <a:gd name="T31" fmla="*/ 30 h 322"/>
                <a:gd name="T32" fmla="*/ 156 w 215"/>
                <a:gd name="T33" fmla="*/ 49 h 322"/>
                <a:gd name="T34" fmla="*/ 166 w 215"/>
                <a:gd name="T35" fmla="*/ 69 h 322"/>
                <a:gd name="T36" fmla="*/ 185 w 215"/>
                <a:gd name="T37" fmla="*/ 59 h 322"/>
                <a:gd name="T38" fmla="*/ 215 w 215"/>
                <a:gd name="T39" fmla="*/ 108 h 322"/>
                <a:gd name="T40" fmla="*/ 215 w 215"/>
                <a:gd name="T41" fmla="*/ 127 h 322"/>
                <a:gd name="T42" fmla="*/ 205 w 215"/>
                <a:gd name="T43" fmla="*/ 127 h 322"/>
                <a:gd name="T44" fmla="*/ 195 w 215"/>
                <a:gd name="T45" fmla="*/ 137 h 322"/>
                <a:gd name="T46" fmla="*/ 185 w 215"/>
                <a:gd name="T47" fmla="*/ 147 h 322"/>
                <a:gd name="T48" fmla="*/ 195 w 215"/>
                <a:gd name="T49" fmla="*/ 157 h 322"/>
                <a:gd name="T50" fmla="*/ 185 w 215"/>
                <a:gd name="T51" fmla="*/ 187 h 322"/>
                <a:gd name="T52" fmla="*/ 185 w 215"/>
                <a:gd name="T53" fmla="*/ 197 h 322"/>
                <a:gd name="T54" fmla="*/ 185 w 215"/>
                <a:gd name="T55" fmla="*/ 207 h 322"/>
                <a:gd name="T56" fmla="*/ 176 w 215"/>
                <a:gd name="T57" fmla="*/ 216 h 322"/>
                <a:gd name="T58" fmla="*/ 166 w 215"/>
                <a:gd name="T59" fmla="*/ 207 h 322"/>
                <a:gd name="T60" fmla="*/ 166 w 215"/>
                <a:gd name="T61" fmla="*/ 216 h 322"/>
                <a:gd name="T62" fmla="*/ 156 w 215"/>
                <a:gd name="T63" fmla="*/ 226 h 322"/>
                <a:gd name="T64" fmla="*/ 156 w 215"/>
                <a:gd name="T65" fmla="*/ 236 h 322"/>
                <a:gd name="T66" fmla="*/ 146 w 215"/>
                <a:gd name="T67" fmla="*/ 246 h 322"/>
                <a:gd name="T68" fmla="*/ 136 w 215"/>
                <a:gd name="T69" fmla="*/ 246 h 322"/>
                <a:gd name="T70" fmla="*/ 136 w 215"/>
                <a:gd name="T71" fmla="*/ 255 h 322"/>
                <a:gd name="T72" fmla="*/ 136 w 215"/>
                <a:gd name="T73" fmla="*/ 265 h 322"/>
                <a:gd name="T74" fmla="*/ 127 w 215"/>
                <a:gd name="T75" fmla="*/ 275 h 322"/>
                <a:gd name="T76" fmla="*/ 127 w 215"/>
                <a:gd name="T77" fmla="*/ 285 h 322"/>
                <a:gd name="T78" fmla="*/ 146 w 215"/>
                <a:gd name="T79" fmla="*/ 304 h 322"/>
                <a:gd name="T80" fmla="*/ 146 w 215"/>
                <a:gd name="T81" fmla="*/ 314 h 322"/>
                <a:gd name="T82" fmla="*/ 146 w 215"/>
                <a:gd name="T83" fmla="*/ 324 h 322"/>
                <a:gd name="T84" fmla="*/ 136 w 215"/>
                <a:gd name="T85" fmla="*/ 333 h 322"/>
                <a:gd name="T86" fmla="*/ 127 w 215"/>
                <a:gd name="T87" fmla="*/ 324 h 322"/>
                <a:gd name="T88" fmla="*/ 107 w 215"/>
                <a:gd name="T89" fmla="*/ 324 h 322"/>
                <a:gd name="T90" fmla="*/ 78 w 215"/>
                <a:gd name="T91" fmla="*/ 324 h 322"/>
                <a:gd name="T92" fmla="*/ 58 w 215"/>
                <a:gd name="T93" fmla="*/ 294 h 322"/>
                <a:gd name="T94" fmla="*/ 49 w 215"/>
                <a:gd name="T95" fmla="*/ 304 h 322"/>
                <a:gd name="T96" fmla="*/ 49 w 215"/>
                <a:gd name="T97" fmla="*/ 314 h 322"/>
                <a:gd name="T98" fmla="*/ 19 w 215"/>
                <a:gd name="T99" fmla="*/ 314 h 322"/>
                <a:gd name="T100" fmla="*/ 10 w 215"/>
                <a:gd name="T101" fmla="*/ 304 h 322"/>
                <a:gd name="T102" fmla="*/ 0 w 215"/>
                <a:gd name="T103" fmla="*/ 275 h 322"/>
                <a:gd name="T104" fmla="*/ 0 w 215"/>
                <a:gd name="T105" fmla="*/ 255 h 322"/>
                <a:gd name="T106" fmla="*/ 10 w 215"/>
                <a:gd name="T107" fmla="*/ 236 h 322"/>
                <a:gd name="T108" fmla="*/ 19 w 215"/>
                <a:gd name="T109" fmla="*/ 226 h 322"/>
                <a:gd name="T110" fmla="*/ 10 w 215"/>
                <a:gd name="T111" fmla="*/ 216 h 322"/>
                <a:gd name="T112" fmla="*/ 10 w 215"/>
                <a:gd name="T113" fmla="*/ 207 h 322"/>
                <a:gd name="T114" fmla="*/ 19 w 215"/>
                <a:gd name="T115" fmla="*/ 197 h 322"/>
                <a:gd name="T116" fmla="*/ 58 w 215"/>
                <a:gd name="T117" fmla="*/ 157 h 3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5"/>
                <a:gd name="T178" fmla="*/ 0 h 322"/>
                <a:gd name="T179" fmla="*/ 215 w 215"/>
                <a:gd name="T180" fmla="*/ 322 h 3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5" h="322">
                  <a:moveTo>
                    <a:pt x="58" y="157"/>
                  </a:moveTo>
                  <a:lnTo>
                    <a:pt x="68" y="157"/>
                  </a:lnTo>
                  <a:lnTo>
                    <a:pt x="88" y="137"/>
                  </a:lnTo>
                  <a:lnTo>
                    <a:pt x="97" y="127"/>
                  </a:lnTo>
                  <a:lnTo>
                    <a:pt x="97" y="108"/>
                  </a:lnTo>
                  <a:lnTo>
                    <a:pt x="78" y="108"/>
                  </a:lnTo>
                  <a:lnTo>
                    <a:pt x="58" y="78"/>
                  </a:lnTo>
                  <a:lnTo>
                    <a:pt x="49" y="69"/>
                  </a:lnTo>
                  <a:lnTo>
                    <a:pt x="68" y="59"/>
                  </a:lnTo>
                  <a:lnTo>
                    <a:pt x="68" y="2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10"/>
                  </a:lnTo>
                  <a:lnTo>
                    <a:pt x="117" y="20"/>
                  </a:lnTo>
                  <a:lnTo>
                    <a:pt x="136" y="10"/>
                  </a:lnTo>
                  <a:lnTo>
                    <a:pt x="166" y="30"/>
                  </a:lnTo>
                  <a:lnTo>
                    <a:pt x="156" y="49"/>
                  </a:lnTo>
                  <a:lnTo>
                    <a:pt x="166" y="69"/>
                  </a:lnTo>
                  <a:lnTo>
                    <a:pt x="185" y="59"/>
                  </a:lnTo>
                  <a:lnTo>
                    <a:pt x="215" y="108"/>
                  </a:lnTo>
                  <a:lnTo>
                    <a:pt x="215" y="127"/>
                  </a:lnTo>
                  <a:lnTo>
                    <a:pt x="205" y="127"/>
                  </a:lnTo>
                  <a:lnTo>
                    <a:pt x="195" y="137"/>
                  </a:lnTo>
                  <a:lnTo>
                    <a:pt x="185" y="147"/>
                  </a:lnTo>
                  <a:lnTo>
                    <a:pt x="195" y="157"/>
                  </a:lnTo>
                  <a:lnTo>
                    <a:pt x="185" y="176"/>
                  </a:lnTo>
                  <a:lnTo>
                    <a:pt x="185" y="186"/>
                  </a:lnTo>
                  <a:lnTo>
                    <a:pt x="185" y="196"/>
                  </a:lnTo>
                  <a:lnTo>
                    <a:pt x="176" y="205"/>
                  </a:lnTo>
                  <a:lnTo>
                    <a:pt x="166" y="196"/>
                  </a:lnTo>
                  <a:lnTo>
                    <a:pt x="166" y="205"/>
                  </a:lnTo>
                  <a:lnTo>
                    <a:pt x="156" y="215"/>
                  </a:lnTo>
                  <a:lnTo>
                    <a:pt x="156" y="225"/>
                  </a:lnTo>
                  <a:lnTo>
                    <a:pt x="146" y="235"/>
                  </a:lnTo>
                  <a:lnTo>
                    <a:pt x="136" y="235"/>
                  </a:lnTo>
                  <a:lnTo>
                    <a:pt x="136" y="244"/>
                  </a:lnTo>
                  <a:lnTo>
                    <a:pt x="136" y="254"/>
                  </a:lnTo>
                  <a:lnTo>
                    <a:pt x="127" y="264"/>
                  </a:lnTo>
                  <a:lnTo>
                    <a:pt x="127" y="274"/>
                  </a:lnTo>
                  <a:lnTo>
                    <a:pt x="146" y="293"/>
                  </a:lnTo>
                  <a:lnTo>
                    <a:pt x="146" y="303"/>
                  </a:lnTo>
                  <a:lnTo>
                    <a:pt x="146" y="313"/>
                  </a:lnTo>
                  <a:lnTo>
                    <a:pt x="136" y="322"/>
                  </a:lnTo>
                  <a:lnTo>
                    <a:pt x="127" y="313"/>
                  </a:lnTo>
                  <a:lnTo>
                    <a:pt x="107" y="313"/>
                  </a:lnTo>
                  <a:lnTo>
                    <a:pt x="78" y="313"/>
                  </a:lnTo>
                  <a:lnTo>
                    <a:pt x="58" y="283"/>
                  </a:lnTo>
                  <a:lnTo>
                    <a:pt x="49" y="293"/>
                  </a:lnTo>
                  <a:lnTo>
                    <a:pt x="49" y="303"/>
                  </a:lnTo>
                  <a:lnTo>
                    <a:pt x="19" y="303"/>
                  </a:lnTo>
                  <a:lnTo>
                    <a:pt x="10" y="293"/>
                  </a:lnTo>
                  <a:lnTo>
                    <a:pt x="0" y="264"/>
                  </a:lnTo>
                  <a:lnTo>
                    <a:pt x="0" y="244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10" y="205"/>
                  </a:lnTo>
                  <a:lnTo>
                    <a:pt x="10" y="196"/>
                  </a:lnTo>
                  <a:lnTo>
                    <a:pt x="19" y="186"/>
                  </a:lnTo>
                  <a:lnTo>
                    <a:pt x="58" y="157"/>
                  </a:lnTo>
                  <a:close/>
                </a:path>
              </a:pathLst>
            </a:custGeom>
            <a:solidFill>
              <a:srgbClr val="F21C0A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8" name="Freeform 74"/>
            <p:cNvSpPr>
              <a:spLocks/>
            </p:cNvSpPr>
            <p:nvPr/>
          </p:nvSpPr>
          <p:spPr bwMode="auto">
            <a:xfrm>
              <a:off x="4156" y="3845"/>
              <a:ext cx="428" cy="389"/>
            </a:xfrm>
            <a:custGeom>
              <a:avLst/>
              <a:gdLst>
                <a:gd name="T0" fmla="*/ 282 w 429"/>
                <a:gd name="T1" fmla="*/ 29 h 390"/>
                <a:gd name="T2" fmla="*/ 311 w 429"/>
                <a:gd name="T3" fmla="*/ 20 h 390"/>
                <a:gd name="T4" fmla="*/ 340 w 429"/>
                <a:gd name="T5" fmla="*/ 49 h 390"/>
                <a:gd name="T6" fmla="*/ 321 w 429"/>
                <a:gd name="T7" fmla="*/ 68 h 390"/>
                <a:gd name="T8" fmla="*/ 301 w 429"/>
                <a:gd name="T9" fmla="*/ 78 h 390"/>
                <a:gd name="T10" fmla="*/ 301 w 429"/>
                <a:gd name="T11" fmla="*/ 98 h 390"/>
                <a:gd name="T12" fmla="*/ 301 w 429"/>
                <a:gd name="T13" fmla="*/ 117 h 390"/>
                <a:gd name="T14" fmla="*/ 321 w 429"/>
                <a:gd name="T15" fmla="*/ 147 h 390"/>
                <a:gd name="T16" fmla="*/ 360 w 429"/>
                <a:gd name="T17" fmla="*/ 147 h 390"/>
                <a:gd name="T18" fmla="*/ 360 w 429"/>
                <a:gd name="T19" fmla="*/ 166 h 390"/>
                <a:gd name="T20" fmla="*/ 360 w 429"/>
                <a:gd name="T21" fmla="*/ 195 h 390"/>
                <a:gd name="T22" fmla="*/ 389 w 429"/>
                <a:gd name="T23" fmla="*/ 223 h 390"/>
                <a:gd name="T24" fmla="*/ 418 w 429"/>
                <a:gd name="T25" fmla="*/ 272 h 390"/>
                <a:gd name="T26" fmla="*/ 399 w 429"/>
                <a:gd name="T27" fmla="*/ 262 h 390"/>
                <a:gd name="T28" fmla="*/ 389 w 429"/>
                <a:gd name="T29" fmla="*/ 272 h 390"/>
                <a:gd name="T30" fmla="*/ 360 w 429"/>
                <a:gd name="T31" fmla="*/ 282 h 390"/>
                <a:gd name="T32" fmla="*/ 379 w 429"/>
                <a:gd name="T33" fmla="*/ 292 h 390"/>
                <a:gd name="T34" fmla="*/ 389 w 429"/>
                <a:gd name="T35" fmla="*/ 311 h 390"/>
                <a:gd name="T36" fmla="*/ 389 w 429"/>
                <a:gd name="T37" fmla="*/ 321 h 390"/>
                <a:gd name="T38" fmla="*/ 399 w 429"/>
                <a:gd name="T39" fmla="*/ 331 h 390"/>
                <a:gd name="T40" fmla="*/ 389 w 429"/>
                <a:gd name="T41" fmla="*/ 350 h 390"/>
                <a:gd name="T42" fmla="*/ 340 w 429"/>
                <a:gd name="T43" fmla="*/ 360 h 390"/>
                <a:gd name="T44" fmla="*/ 282 w 429"/>
                <a:gd name="T45" fmla="*/ 360 h 390"/>
                <a:gd name="T46" fmla="*/ 262 w 429"/>
                <a:gd name="T47" fmla="*/ 379 h 390"/>
                <a:gd name="T48" fmla="*/ 223 w 429"/>
                <a:gd name="T49" fmla="*/ 379 h 390"/>
                <a:gd name="T50" fmla="*/ 205 w 429"/>
                <a:gd name="T51" fmla="*/ 379 h 390"/>
                <a:gd name="T52" fmla="*/ 186 w 429"/>
                <a:gd name="T53" fmla="*/ 360 h 390"/>
                <a:gd name="T54" fmla="*/ 176 w 429"/>
                <a:gd name="T55" fmla="*/ 321 h 390"/>
                <a:gd name="T56" fmla="*/ 176 w 429"/>
                <a:gd name="T57" fmla="*/ 311 h 390"/>
                <a:gd name="T58" fmla="*/ 176 w 429"/>
                <a:gd name="T59" fmla="*/ 301 h 390"/>
                <a:gd name="T60" fmla="*/ 147 w 429"/>
                <a:gd name="T61" fmla="*/ 311 h 390"/>
                <a:gd name="T62" fmla="*/ 108 w 429"/>
                <a:gd name="T63" fmla="*/ 311 h 390"/>
                <a:gd name="T64" fmla="*/ 78 w 429"/>
                <a:gd name="T65" fmla="*/ 301 h 390"/>
                <a:gd name="T66" fmla="*/ 59 w 429"/>
                <a:gd name="T67" fmla="*/ 292 h 390"/>
                <a:gd name="T68" fmla="*/ 49 w 429"/>
                <a:gd name="T69" fmla="*/ 262 h 390"/>
                <a:gd name="T70" fmla="*/ 49 w 429"/>
                <a:gd name="T71" fmla="*/ 243 h 390"/>
                <a:gd name="T72" fmla="*/ 30 w 429"/>
                <a:gd name="T73" fmla="*/ 214 h 390"/>
                <a:gd name="T74" fmla="*/ 10 w 429"/>
                <a:gd name="T75" fmla="*/ 204 h 390"/>
                <a:gd name="T76" fmla="*/ 10 w 429"/>
                <a:gd name="T77" fmla="*/ 176 h 390"/>
                <a:gd name="T78" fmla="*/ 10 w 429"/>
                <a:gd name="T79" fmla="*/ 166 h 390"/>
                <a:gd name="T80" fmla="*/ 30 w 429"/>
                <a:gd name="T81" fmla="*/ 156 h 390"/>
                <a:gd name="T82" fmla="*/ 30 w 429"/>
                <a:gd name="T83" fmla="*/ 137 h 390"/>
                <a:gd name="T84" fmla="*/ 10 w 429"/>
                <a:gd name="T85" fmla="*/ 107 h 390"/>
                <a:gd name="T86" fmla="*/ 39 w 429"/>
                <a:gd name="T87" fmla="*/ 107 h 390"/>
                <a:gd name="T88" fmla="*/ 98 w 429"/>
                <a:gd name="T89" fmla="*/ 88 h 390"/>
                <a:gd name="T90" fmla="*/ 147 w 429"/>
                <a:gd name="T91" fmla="*/ 78 h 390"/>
                <a:gd name="T92" fmla="*/ 166 w 429"/>
                <a:gd name="T93" fmla="*/ 49 h 390"/>
                <a:gd name="T94" fmla="*/ 195 w 429"/>
                <a:gd name="T95" fmla="*/ 39 h 390"/>
                <a:gd name="T96" fmla="*/ 214 w 429"/>
                <a:gd name="T97" fmla="*/ 29 h 390"/>
                <a:gd name="T98" fmla="*/ 223 w 429"/>
                <a:gd name="T99" fmla="*/ 20 h 390"/>
                <a:gd name="T100" fmla="*/ 243 w 429"/>
                <a:gd name="T101" fmla="*/ 0 h 390"/>
                <a:gd name="T102" fmla="*/ 262 w 429"/>
                <a:gd name="T103" fmla="*/ 10 h 3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29"/>
                <a:gd name="T157" fmla="*/ 0 h 390"/>
                <a:gd name="T158" fmla="*/ 429 w 429"/>
                <a:gd name="T159" fmla="*/ 390 h 3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29" h="390">
                  <a:moveTo>
                    <a:pt x="273" y="10"/>
                  </a:moveTo>
                  <a:lnTo>
                    <a:pt x="293" y="29"/>
                  </a:lnTo>
                  <a:lnTo>
                    <a:pt x="312" y="20"/>
                  </a:lnTo>
                  <a:lnTo>
                    <a:pt x="322" y="20"/>
                  </a:lnTo>
                  <a:lnTo>
                    <a:pt x="342" y="39"/>
                  </a:lnTo>
                  <a:lnTo>
                    <a:pt x="351" y="49"/>
                  </a:lnTo>
                  <a:lnTo>
                    <a:pt x="342" y="68"/>
                  </a:lnTo>
                  <a:lnTo>
                    <a:pt x="332" y="68"/>
                  </a:lnTo>
                  <a:lnTo>
                    <a:pt x="322" y="68"/>
                  </a:lnTo>
                  <a:lnTo>
                    <a:pt x="312" y="78"/>
                  </a:lnTo>
                  <a:lnTo>
                    <a:pt x="303" y="88"/>
                  </a:lnTo>
                  <a:lnTo>
                    <a:pt x="312" y="98"/>
                  </a:lnTo>
                  <a:lnTo>
                    <a:pt x="322" y="107"/>
                  </a:lnTo>
                  <a:lnTo>
                    <a:pt x="312" y="117"/>
                  </a:lnTo>
                  <a:lnTo>
                    <a:pt x="312" y="127"/>
                  </a:lnTo>
                  <a:lnTo>
                    <a:pt x="332" y="147"/>
                  </a:lnTo>
                  <a:lnTo>
                    <a:pt x="351" y="137"/>
                  </a:lnTo>
                  <a:lnTo>
                    <a:pt x="371" y="147"/>
                  </a:lnTo>
                  <a:lnTo>
                    <a:pt x="371" y="156"/>
                  </a:lnTo>
                  <a:lnTo>
                    <a:pt x="371" y="166"/>
                  </a:lnTo>
                  <a:lnTo>
                    <a:pt x="361" y="186"/>
                  </a:lnTo>
                  <a:lnTo>
                    <a:pt x="371" y="205"/>
                  </a:lnTo>
                  <a:lnTo>
                    <a:pt x="381" y="215"/>
                  </a:lnTo>
                  <a:lnTo>
                    <a:pt x="400" y="234"/>
                  </a:lnTo>
                  <a:lnTo>
                    <a:pt x="420" y="264"/>
                  </a:lnTo>
                  <a:lnTo>
                    <a:pt x="429" y="283"/>
                  </a:lnTo>
                  <a:lnTo>
                    <a:pt x="420" y="283"/>
                  </a:lnTo>
                  <a:lnTo>
                    <a:pt x="410" y="273"/>
                  </a:lnTo>
                  <a:lnTo>
                    <a:pt x="400" y="273"/>
                  </a:lnTo>
                  <a:lnTo>
                    <a:pt x="400" y="283"/>
                  </a:lnTo>
                  <a:lnTo>
                    <a:pt x="390" y="283"/>
                  </a:lnTo>
                  <a:lnTo>
                    <a:pt x="371" y="293"/>
                  </a:lnTo>
                  <a:lnTo>
                    <a:pt x="371" y="303"/>
                  </a:lnTo>
                  <a:lnTo>
                    <a:pt x="390" y="303"/>
                  </a:lnTo>
                  <a:lnTo>
                    <a:pt x="400" y="312"/>
                  </a:lnTo>
                  <a:lnTo>
                    <a:pt x="400" y="322"/>
                  </a:lnTo>
                  <a:lnTo>
                    <a:pt x="400" y="332"/>
                  </a:lnTo>
                  <a:lnTo>
                    <a:pt x="410" y="342"/>
                  </a:lnTo>
                  <a:lnTo>
                    <a:pt x="410" y="351"/>
                  </a:lnTo>
                  <a:lnTo>
                    <a:pt x="400" y="361"/>
                  </a:lnTo>
                  <a:lnTo>
                    <a:pt x="381" y="361"/>
                  </a:lnTo>
                  <a:lnTo>
                    <a:pt x="351" y="371"/>
                  </a:lnTo>
                  <a:lnTo>
                    <a:pt x="312" y="371"/>
                  </a:lnTo>
                  <a:lnTo>
                    <a:pt x="293" y="371"/>
                  </a:lnTo>
                  <a:lnTo>
                    <a:pt x="283" y="371"/>
                  </a:lnTo>
                  <a:lnTo>
                    <a:pt x="273" y="390"/>
                  </a:lnTo>
                  <a:lnTo>
                    <a:pt x="254" y="390"/>
                  </a:lnTo>
                  <a:lnTo>
                    <a:pt x="234" y="390"/>
                  </a:lnTo>
                  <a:lnTo>
                    <a:pt x="205" y="390"/>
                  </a:lnTo>
                  <a:lnTo>
                    <a:pt x="195" y="371"/>
                  </a:lnTo>
                  <a:lnTo>
                    <a:pt x="186" y="371"/>
                  </a:lnTo>
                  <a:lnTo>
                    <a:pt x="186" y="351"/>
                  </a:lnTo>
                  <a:lnTo>
                    <a:pt x="176" y="332"/>
                  </a:lnTo>
                  <a:lnTo>
                    <a:pt x="166" y="332"/>
                  </a:lnTo>
                  <a:lnTo>
                    <a:pt x="176" y="322"/>
                  </a:lnTo>
                  <a:lnTo>
                    <a:pt x="186" y="312"/>
                  </a:lnTo>
                  <a:lnTo>
                    <a:pt x="176" y="312"/>
                  </a:lnTo>
                  <a:lnTo>
                    <a:pt x="156" y="322"/>
                  </a:lnTo>
                  <a:lnTo>
                    <a:pt x="147" y="322"/>
                  </a:lnTo>
                  <a:lnTo>
                    <a:pt x="127" y="332"/>
                  </a:lnTo>
                  <a:lnTo>
                    <a:pt x="108" y="322"/>
                  </a:lnTo>
                  <a:lnTo>
                    <a:pt x="98" y="312"/>
                  </a:lnTo>
                  <a:lnTo>
                    <a:pt x="78" y="312"/>
                  </a:lnTo>
                  <a:lnTo>
                    <a:pt x="69" y="312"/>
                  </a:lnTo>
                  <a:lnTo>
                    <a:pt x="59" y="303"/>
                  </a:lnTo>
                  <a:lnTo>
                    <a:pt x="59" y="283"/>
                  </a:lnTo>
                  <a:lnTo>
                    <a:pt x="49" y="273"/>
                  </a:lnTo>
                  <a:lnTo>
                    <a:pt x="49" y="264"/>
                  </a:lnTo>
                  <a:lnTo>
                    <a:pt x="49" y="254"/>
                  </a:lnTo>
                  <a:lnTo>
                    <a:pt x="39" y="244"/>
                  </a:lnTo>
                  <a:lnTo>
                    <a:pt x="30" y="225"/>
                  </a:lnTo>
                  <a:lnTo>
                    <a:pt x="10" y="225"/>
                  </a:lnTo>
                  <a:lnTo>
                    <a:pt x="10" y="215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166"/>
                  </a:lnTo>
                  <a:lnTo>
                    <a:pt x="10" y="166"/>
                  </a:lnTo>
                  <a:lnTo>
                    <a:pt x="20" y="156"/>
                  </a:lnTo>
                  <a:lnTo>
                    <a:pt x="30" y="156"/>
                  </a:lnTo>
                  <a:lnTo>
                    <a:pt x="30" y="137"/>
                  </a:lnTo>
                  <a:lnTo>
                    <a:pt x="10" y="127"/>
                  </a:lnTo>
                  <a:lnTo>
                    <a:pt x="10" y="107"/>
                  </a:lnTo>
                  <a:lnTo>
                    <a:pt x="39" y="107"/>
                  </a:lnTo>
                  <a:lnTo>
                    <a:pt x="69" y="98"/>
                  </a:lnTo>
                  <a:lnTo>
                    <a:pt x="98" y="88"/>
                  </a:lnTo>
                  <a:lnTo>
                    <a:pt x="117" y="78"/>
                  </a:lnTo>
                  <a:lnTo>
                    <a:pt x="147" y="78"/>
                  </a:lnTo>
                  <a:lnTo>
                    <a:pt x="166" y="59"/>
                  </a:lnTo>
                  <a:lnTo>
                    <a:pt x="166" y="49"/>
                  </a:lnTo>
                  <a:lnTo>
                    <a:pt x="176" y="39"/>
                  </a:lnTo>
                  <a:lnTo>
                    <a:pt x="195" y="39"/>
                  </a:lnTo>
                  <a:lnTo>
                    <a:pt x="205" y="39"/>
                  </a:lnTo>
                  <a:lnTo>
                    <a:pt x="215" y="29"/>
                  </a:lnTo>
                  <a:lnTo>
                    <a:pt x="234" y="29"/>
                  </a:lnTo>
                  <a:lnTo>
                    <a:pt x="234" y="20"/>
                  </a:lnTo>
                  <a:lnTo>
                    <a:pt x="234" y="0"/>
                  </a:lnTo>
                  <a:lnTo>
                    <a:pt x="254" y="0"/>
                  </a:lnTo>
                  <a:lnTo>
                    <a:pt x="273" y="10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9" name="Freeform 73"/>
            <p:cNvSpPr>
              <a:spLocks/>
            </p:cNvSpPr>
            <p:nvPr/>
          </p:nvSpPr>
          <p:spPr bwMode="auto">
            <a:xfrm>
              <a:off x="3239" y="1943"/>
              <a:ext cx="1317" cy="1025"/>
            </a:xfrm>
            <a:custGeom>
              <a:avLst/>
              <a:gdLst>
                <a:gd name="T0" fmla="*/ 673 w 1317"/>
                <a:gd name="T1" fmla="*/ 996 h 1024"/>
                <a:gd name="T2" fmla="*/ 732 w 1317"/>
                <a:gd name="T3" fmla="*/ 957 h 1024"/>
                <a:gd name="T4" fmla="*/ 771 w 1317"/>
                <a:gd name="T5" fmla="*/ 918 h 1024"/>
                <a:gd name="T6" fmla="*/ 810 w 1317"/>
                <a:gd name="T7" fmla="*/ 869 h 1024"/>
                <a:gd name="T8" fmla="*/ 849 w 1317"/>
                <a:gd name="T9" fmla="*/ 850 h 1024"/>
                <a:gd name="T10" fmla="*/ 888 w 1317"/>
                <a:gd name="T11" fmla="*/ 869 h 1024"/>
                <a:gd name="T12" fmla="*/ 976 w 1317"/>
                <a:gd name="T13" fmla="*/ 918 h 1024"/>
                <a:gd name="T14" fmla="*/ 1025 w 1317"/>
                <a:gd name="T15" fmla="*/ 908 h 1024"/>
                <a:gd name="T16" fmla="*/ 1064 w 1317"/>
                <a:gd name="T17" fmla="*/ 947 h 1024"/>
                <a:gd name="T18" fmla="*/ 1103 w 1317"/>
                <a:gd name="T19" fmla="*/ 947 h 1024"/>
                <a:gd name="T20" fmla="*/ 1181 w 1317"/>
                <a:gd name="T21" fmla="*/ 937 h 1024"/>
                <a:gd name="T22" fmla="*/ 1249 w 1317"/>
                <a:gd name="T23" fmla="*/ 947 h 1024"/>
                <a:gd name="T24" fmla="*/ 1317 w 1317"/>
                <a:gd name="T25" fmla="*/ 889 h 1024"/>
                <a:gd name="T26" fmla="*/ 1259 w 1317"/>
                <a:gd name="T27" fmla="*/ 840 h 1024"/>
                <a:gd name="T28" fmla="*/ 1249 w 1317"/>
                <a:gd name="T29" fmla="*/ 762 h 1024"/>
                <a:gd name="T30" fmla="*/ 1190 w 1317"/>
                <a:gd name="T31" fmla="*/ 733 h 1024"/>
                <a:gd name="T32" fmla="*/ 1142 w 1317"/>
                <a:gd name="T33" fmla="*/ 723 h 1024"/>
                <a:gd name="T34" fmla="*/ 1103 w 1317"/>
                <a:gd name="T35" fmla="*/ 664 h 1024"/>
                <a:gd name="T36" fmla="*/ 1054 w 1317"/>
                <a:gd name="T37" fmla="*/ 684 h 1024"/>
                <a:gd name="T38" fmla="*/ 1005 w 1317"/>
                <a:gd name="T39" fmla="*/ 694 h 1024"/>
                <a:gd name="T40" fmla="*/ 927 w 1317"/>
                <a:gd name="T41" fmla="*/ 674 h 1024"/>
                <a:gd name="T42" fmla="*/ 898 w 1317"/>
                <a:gd name="T43" fmla="*/ 606 h 1024"/>
                <a:gd name="T44" fmla="*/ 820 w 1317"/>
                <a:gd name="T45" fmla="*/ 567 h 1024"/>
                <a:gd name="T46" fmla="*/ 742 w 1317"/>
                <a:gd name="T47" fmla="*/ 528 h 1024"/>
                <a:gd name="T48" fmla="*/ 703 w 1317"/>
                <a:gd name="T49" fmla="*/ 487 h 1024"/>
                <a:gd name="T50" fmla="*/ 654 w 1317"/>
                <a:gd name="T51" fmla="*/ 468 h 1024"/>
                <a:gd name="T52" fmla="*/ 654 w 1317"/>
                <a:gd name="T53" fmla="*/ 429 h 1024"/>
                <a:gd name="T54" fmla="*/ 664 w 1317"/>
                <a:gd name="T55" fmla="*/ 351 h 1024"/>
                <a:gd name="T56" fmla="*/ 634 w 1317"/>
                <a:gd name="T57" fmla="*/ 331 h 1024"/>
                <a:gd name="T58" fmla="*/ 586 w 1317"/>
                <a:gd name="T59" fmla="*/ 292 h 1024"/>
                <a:gd name="T60" fmla="*/ 547 w 1317"/>
                <a:gd name="T61" fmla="*/ 292 h 1024"/>
                <a:gd name="T62" fmla="*/ 478 w 1317"/>
                <a:gd name="T63" fmla="*/ 263 h 1024"/>
                <a:gd name="T64" fmla="*/ 478 w 1317"/>
                <a:gd name="T65" fmla="*/ 224 h 1024"/>
                <a:gd name="T66" fmla="*/ 400 w 1317"/>
                <a:gd name="T67" fmla="*/ 185 h 1024"/>
                <a:gd name="T68" fmla="*/ 342 w 1317"/>
                <a:gd name="T69" fmla="*/ 165 h 1024"/>
                <a:gd name="T70" fmla="*/ 303 w 1317"/>
                <a:gd name="T71" fmla="*/ 126 h 1024"/>
                <a:gd name="T72" fmla="*/ 361 w 1317"/>
                <a:gd name="T73" fmla="*/ 58 h 1024"/>
                <a:gd name="T74" fmla="*/ 371 w 1317"/>
                <a:gd name="T75" fmla="*/ 0 h 1024"/>
                <a:gd name="T76" fmla="*/ 283 w 1317"/>
                <a:gd name="T77" fmla="*/ 29 h 1024"/>
                <a:gd name="T78" fmla="*/ 215 w 1317"/>
                <a:gd name="T79" fmla="*/ 9 h 1024"/>
                <a:gd name="T80" fmla="*/ 186 w 1317"/>
                <a:gd name="T81" fmla="*/ 58 h 1024"/>
                <a:gd name="T82" fmla="*/ 137 w 1317"/>
                <a:gd name="T83" fmla="*/ 126 h 1024"/>
                <a:gd name="T84" fmla="*/ 49 w 1317"/>
                <a:gd name="T85" fmla="*/ 224 h 1024"/>
                <a:gd name="T86" fmla="*/ 0 w 1317"/>
                <a:gd name="T87" fmla="*/ 292 h 1024"/>
                <a:gd name="T88" fmla="*/ 10 w 1317"/>
                <a:gd name="T89" fmla="*/ 331 h 1024"/>
                <a:gd name="T90" fmla="*/ 108 w 1317"/>
                <a:gd name="T91" fmla="*/ 458 h 1024"/>
                <a:gd name="T92" fmla="*/ 78 w 1317"/>
                <a:gd name="T93" fmla="*/ 567 h 1024"/>
                <a:gd name="T94" fmla="*/ 78 w 1317"/>
                <a:gd name="T95" fmla="*/ 694 h 1024"/>
                <a:gd name="T96" fmla="*/ 108 w 1317"/>
                <a:gd name="T97" fmla="*/ 801 h 1024"/>
                <a:gd name="T98" fmla="*/ 186 w 1317"/>
                <a:gd name="T99" fmla="*/ 801 h 1024"/>
                <a:gd name="T100" fmla="*/ 254 w 1317"/>
                <a:gd name="T101" fmla="*/ 811 h 1024"/>
                <a:gd name="T102" fmla="*/ 313 w 1317"/>
                <a:gd name="T103" fmla="*/ 801 h 1024"/>
                <a:gd name="T104" fmla="*/ 361 w 1317"/>
                <a:gd name="T105" fmla="*/ 762 h 1024"/>
                <a:gd name="T106" fmla="*/ 410 w 1317"/>
                <a:gd name="T107" fmla="*/ 791 h 1024"/>
                <a:gd name="T108" fmla="*/ 498 w 1317"/>
                <a:gd name="T109" fmla="*/ 879 h 1024"/>
                <a:gd name="T110" fmla="*/ 517 w 1317"/>
                <a:gd name="T111" fmla="*/ 937 h 1024"/>
                <a:gd name="T112" fmla="*/ 537 w 1317"/>
                <a:gd name="T113" fmla="*/ 986 h 10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17"/>
                <a:gd name="T172" fmla="*/ 0 h 1024"/>
                <a:gd name="T173" fmla="*/ 1317 w 1317"/>
                <a:gd name="T174" fmla="*/ 1024 h 10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17" h="1024">
                  <a:moveTo>
                    <a:pt x="625" y="1024"/>
                  </a:moveTo>
                  <a:lnTo>
                    <a:pt x="654" y="1014"/>
                  </a:lnTo>
                  <a:lnTo>
                    <a:pt x="673" y="1005"/>
                  </a:lnTo>
                  <a:lnTo>
                    <a:pt x="673" y="985"/>
                  </a:lnTo>
                  <a:lnTo>
                    <a:pt x="683" y="975"/>
                  </a:lnTo>
                  <a:lnTo>
                    <a:pt x="703" y="966"/>
                  </a:lnTo>
                  <a:lnTo>
                    <a:pt x="703" y="956"/>
                  </a:lnTo>
                  <a:lnTo>
                    <a:pt x="732" y="946"/>
                  </a:lnTo>
                  <a:lnTo>
                    <a:pt x="751" y="946"/>
                  </a:lnTo>
                  <a:lnTo>
                    <a:pt x="761" y="946"/>
                  </a:lnTo>
                  <a:lnTo>
                    <a:pt x="771" y="936"/>
                  </a:lnTo>
                  <a:lnTo>
                    <a:pt x="771" y="907"/>
                  </a:lnTo>
                  <a:lnTo>
                    <a:pt x="790" y="887"/>
                  </a:lnTo>
                  <a:lnTo>
                    <a:pt x="790" y="868"/>
                  </a:lnTo>
                  <a:lnTo>
                    <a:pt x="800" y="858"/>
                  </a:lnTo>
                  <a:lnTo>
                    <a:pt x="810" y="858"/>
                  </a:lnTo>
                  <a:lnTo>
                    <a:pt x="810" y="839"/>
                  </a:lnTo>
                  <a:lnTo>
                    <a:pt x="830" y="829"/>
                  </a:lnTo>
                  <a:lnTo>
                    <a:pt x="830" y="839"/>
                  </a:lnTo>
                  <a:lnTo>
                    <a:pt x="849" y="839"/>
                  </a:lnTo>
                  <a:lnTo>
                    <a:pt x="859" y="848"/>
                  </a:lnTo>
                  <a:lnTo>
                    <a:pt x="859" y="858"/>
                  </a:lnTo>
                  <a:lnTo>
                    <a:pt x="869" y="848"/>
                  </a:lnTo>
                  <a:lnTo>
                    <a:pt x="888" y="858"/>
                  </a:lnTo>
                  <a:lnTo>
                    <a:pt x="917" y="868"/>
                  </a:lnTo>
                  <a:lnTo>
                    <a:pt x="927" y="887"/>
                  </a:lnTo>
                  <a:lnTo>
                    <a:pt x="956" y="907"/>
                  </a:lnTo>
                  <a:lnTo>
                    <a:pt x="976" y="907"/>
                  </a:lnTo>
                  <a:lnTo>
                    <a:pt x="986" y="907"/>
                  </a:lnTo>
                  <a:lnTo>
                    <a:pt x="1005" y="897"/>
                  </a:lnTo>
                  <a:lnTo>
                    <a:pt x="1015" y="897"/>
                  </a:lnTo>
                  <a:lnTo>
                    <a:pt x="1025" y="897"/>
                  </a:lnTo>
                  <a:lnTo>
                    <a:pt x="1025" y="926"/>
                  </a:lnTo>
                  <a:lnTo>
                    <a:pt x="1034" y="926"/>
                  </a:lnTo>
                  <a:lnTo>
                    <a:pt x="1054" y="926"/>
                  </a:lnTo>
                  <a:lnTo>
                    <a:pt x="1064" y="936"/>
                  </a:lnTo>
                  <a:lnTo>
                    <a:pt x="1073" y="946"/>
                  </a:lnTo>
                  <a:lnTo>
                    <a:pt x="1093" y="946"/>
                  </a:lnTo>
                  <a:lnTo>
                    <a:pt x="1103" y="946"/>
                  </a:lnTo>
                  <a:lnTo>
                    <a:pt x="1103" y="936"/>
                  </a:lnTo>
                  <a:lnTo>
                    <a:pt x="1122" y="926"/>
                  </a:lnTo>
                  <a:lnTo>
                    <a:pt x="1142" y="926"/>
                  </a:lnTo>
                  <a:lnTo>
                    <a:pt x="1161" y="926"/>
                  </a:lnTo>
                  <a:lnTo>
                    <a:pt x="1181" y="926"/>
                  </a:lnTo>
                  <a:lnTo>
                    <a:pt x="1190" y="936"/>
                  </a:lnTo>
                  <a:lnTo>
                    <a:pt x="1210" y="946"/>
                  </a:lnTo>
                  <a:lnTo>
                    <a:pt x="1249" y="936"/>
                  </a:lnTo>
                  <a:lnTo>
                    <a:pt x="1307" y="926"/>
                  </a:lnTo>
                  <a:lnTo>
                    <a:pt x="1307" y="907"/>
                  </a:lnTo>
                  <a:lnTo>
                    <a:pt x="1317" y="897"/>
                  </a:lnTo>
                  <a:lnTo>
                    <a:pt x="1317" y="878"/>
                  </a:lnTo>
                  <a:lnTo>
                    <a:pt x="1307" y="878"/>
                  </a:lnTo>
                  <a:lnTo>
                    <a:pt x="1288" y="868"/>
                  </a:lnTo>
                  <a:lnTo>
                    <a:pt x="1268" y="848"/>
                  </a:lnTo>
                  <a:lnTo>
                    <a:pt x="1259" y="829"/>
                  </a:lnTo>
                  <a:lnTo>
                    <a:pt x="1288" y="790"/>
                  </a:lnTo>
                  <a:lnTo>
                    <a:pt x="1278" y="780"/>
                  </a:lnTo>
                  <a:lnTo>
                    <a:pt x="1259" y="761"/>
                  </a:lnTo>
                  <a:lnTo>
                    <a:pt x="1249" y="751"/>
                  </a:lnTo>
                  <a:lnTo>
                    <a:pt x="1239" y="761"/>
                  </a:lnTo>
                  <a:lnTo>
                    <a:pt x="1220" y="751"/>
                  </a:lnTo>
                  <a:lnTo>
                    <a:pt x="1200" y="731"/>
                  </a:lnTo>
                  <a:lnTo>
                    <a:pt x="1190" y="722"/>
                  </a:lnTo>
                  <a:lnTo>
                    <a:pt x="1181" y="722"/>
                  </a:lnTo>
                  <a:lnTo>
                    <a:pt x="1171" y="712"/>
                  </a:lnTo>
                  <a:lnTo>
                    <a:pt x="1161" y="712"/>
                  </a:lnTo>
                  <a:lnTo>
                    <a:pt x="1142" y="712"/>
                  </a:lnTo>
                  <a:lnTo>
                    <a:pt x="1132" y="702"/>
                  </a:lnTo>
                  <a:lnTo>
                    <a:pt x="1122" y="692"/>
                  </a:lnTo>
                  <a:lnTo>
                    <a:pt x="1112" y="673"/>
                  </a:lnTo>
                  <a:lnTo>
                    <a:pt x="1103" y="653"/>
                  </a:lnTo>
                  <a:lnTo>
                    <a:pt x="1083" y="663"/>
                  </a:lnTo>
                  <a:lnTo>
                    <a:pt x="1064" y="663"/>
                  </a:lnTo>
                  <a:lnTo>
                    <a:pt x="1054" y="673"/>
                  </a:lnTo>
                  <a:lnTo>
                    <a:pt x="1044" y="683"/>
                  </a:lnTo>
                  <a:lnTo>
                    <a:pt x="1034" y="692"/>
                  </a:lnTo>
                  <a:lnTo>
                    <a:pt x="1025" y="692"/>
                  </a:lnTo>
                  <a:lnTo>
                    <a:pt x="1005" y="683"/>
                  </a:lnTo>
                  <a:lnTo>
                    <a:pt x="995" y="673"/>
                  </a:lnTo>
                  <a:lnTo>
                    <a:pt x="976" y="673"/>
                  </a:lnTo>
                  <a:lnTo>
                    <a:pt x="947" y="673"/>
                  </a:lnTo>
                  <a:lnTo>
                    <a:pt x="927" y="663"/>
                  </a:lnTo>
                  <a:lnTo>
                    <a:pt x="908" y="644"/>
                  </a:lnTo>
                  <a:lnTo>
                    <a:pt x="908" y="634"/>
                  </a:lnTo>
                  <a:lnTo>
                    <a:pt x="898" y="605"/>
                  </a:lnTo>
                  <a:lnTo>
                    <a:pt x="898" y="595"/>
                  </a:lnTo>
                  <a:lnTo>
                    <a:pt x="869" y="585"/>
                  </a:lnTo>
                  <a:lnTo>
                    <a:pt x="859" y="565"/>
                  </a:lnTo>
                  <a:lnTo>
                    <a:pt x="849" y="556"/>
                  </a:lnTo>
                  <a:lnTo>
                    <a:pt x="820" y="556"/>
                  </a:lnTo>
                  <a:lnTo>
                    <a:pt x="800" y="546"/>
                  </a:lnTo>
                  <a:lnTo>
                    <a:pt x="781" y="536"/>
                  </a:lnTo>
                  <a:lnTo>
                    <a:pt x="771" y="517"/>
                  </a:lnTo>
                  <a:lnTo>
                    <a:pt x="742" y="517"/>
                  </a:lnTo>
                  <a:lnTo>
                    <a:pt x="732" y="507"/>
                  </a:lnTo>
                  <a:lnTo>
                    <a:pt x="732" y="487"/>
                  </a:lnTo>
                  <a:lnTo>
                    <a:pt x="722" y="478"/>
                  </a:lnTo>
                  <a:lnTo>
                    <a:pt x="703" y="487"/>
                  </a:lnTo>
                  <a:lnTo>
                    <a:pt x="693" y="487"/>
                  </a:lnTo>
                  <a:lnTo>
                    <a:pt x="673" y="478"/>
                  </a:lnTo>
                  <a:lnTo>
                    <a:pt x="654" y="478"/>
                  </a:lnTo>
                  <a:lnTo>
                    <a:pt x="654" y="468"/>
                  </a:lnTo>
                  <a:lnTo>
                    <a:pt x="654" y="458"/>
                  </a:lnTo>
                  <a:lnTo>
                    <a:pt x="664" y="448"/>
                  </a:lnTo>
                  <a:lnTo>
                    <a:pt x="664" y="439"/>
                  </a:lnTo>
                  <a:lnTo>
                    <a:pt x="654" y="429"/>
                  </a:lnTo>
                  <a:lnTo>
                    <a:pt x="654" y="400"/>
                  </a:lnTo>
                  <a:lnTo>
                    <a:pt x="654" y="370"/>
                  </a:lnTo>
                  <a:lnTo>
                    <a:pt x="654" y="361"/>
                  </a:lnTo>
                  <a:lnTo>
                    <a:pt x="664" y="351"/>
                  </a:lnTo>
                  <a:lnTo>
                    <a:pt x="664" y="341"/>
                  </a:lnTo>
                  <a:lnTo>
                    <a:pt x="654" y="341"/>
                  </a:lnTo>
                  <a:lnTo>
                    <a:pt x="644" y="322"/>
                  </a:lnTo>
                  <a:lnTo>
                    <a:pt x="634" y="331"/>
                  </a:lnTo>
                  <a:lnTo>
                    <a:pt x="625" y="322"/>
                  </a:lnTo>
                  <a:lnTo>
                    <a:pt x="605" y="292"/>
                  </a:lnTo>
                  <a:lnTo>
                    <a:pt x="595" y="292"/>
                  </a:lnTo>
                  <a:lnTo>
                    <a:pt x="586" y="292"/>
                  </a:lnTo>
                  <a:lnTo>
                    <a:pt x="566" y="302"/>
                  </a:lnTo>
                  <a:lnTo>
                    <a:pt x="556" y="292"/>
                  </a:lnTo>
                  <a:lnTo>
                    <a:pt x="547" y="292"/>
                  </a:lnTo>
                  <a:lnTo>
                    <a:pt x="517" y="292"/>
                  </a:lnTo>
                  <a:lnTo>
                    <a:pt x="498" y="292"/>
                  </a:lnTo>
                  <a:lnTo>
                    <a:pt x="478" y="283"/>
                  </a:lnTo>
                  <a:lnTo>
                    <a:pt x="478" y="263"/>
                  </a:lnTo>
                  <a:lnTo>
                    <a:pt x="488" y="244"/>
                  </a:lnTo>
                  <a:lnTo>
                    <a:pt x="498" y="234"/>
                  </a:lnTo>
                  <a:lnTo>
                    <a:pt x="498" y="224"/>
                  </a:lnTo>
                  <a:lnTo>
                    <a:pt x="478" y="224"/>
                  </a:lnTo>
                  <a:lnTo>
                    <a:pt x="459" y="204"/>
                  </a:lnTo>
                  <a:lnTo>
                    <a:pt x="439" y="204"/>
                  </a:lnTo>
                  <a:lnTo>
                    <a:pt x="430" y="195"/>
                  </a:lnTo>
                  <a:lnTo>
                    <a:pt x="400" y="185"/>
                  </a:lnTo>
                  <a:lnTo>
                    <a:pt x="361" y="185"/>
                  </a:lnTo>
                  <a:lnTo>
                    <a:pt x="352" y="185"/>
                  </a:lnTo>
                  <a:lnTo>
                    <a:pt x="342" y="185"/>
                  </a:lnTo>
                  <a:lnTo>
                    <a:pt x="342" y="165"/>
                  </a:lnTo>
                  <a:lnTo>
                    <a:pt x="332" y="146"/>
                  </a:lnTo>
                  <a:lnTo>
                    <a:pt x="322" y="146"/>
                  </a:lnTo>
                  <a:lnTo>
                    <a:pt x="303" y="136"/>
                  </a:lnTo>
                  <a:lnTo>
                    <a:pt x="303" y="126"/>
                  </a:lnTo>
                  <a:lnTo>
                    <a:pt x="322" y="117"/>
                  </a:lnTo>
                  <a:lnTo>
                    <a:pt x="342" y="97"/>
                  </a:lnTo>
                  <a:lnTo>
                    <a:pt x="352" y="78"/>
                  </a:lnTo>
                  <a:lnTo>
                    <a:pt x="361" y="58"/>
                  </a:lnTo>
                  <a:lnTo>
                    <a:pt x="352" y="48"/>
                  </a:lnTo>
                  <a:lnTo>
                    <a:pt x="361" y="29"/>
                  </a:lnTo>
                  <a:lnTo>
                    <a:pt x="361" y="19"/>
                  </a:lnTo>
                  <a:lnTo>
                    <a:pt x="371" y="0"/>
                  </a:lnTo>
                  <a:lnTo>
                    <a:pt x="342" y="0"/>
                  </a:lnTo>
                  <a:lnTo>
                    <a:pt x="313" y="9"/>
                  </a:lnTo>
                  <a:lnTo>
                    <a:pt x="293" y="29"/>
                  </a:lnTo>
                  <a:lnTo>
                    <a:pt x="283" y="29"/>
                  </a:lnTo>
                  <a:lnTo>
                    <a:pt x="254" y="29"/>
                  </a:lnTo>
                  <a:lnTo>
                    <a:pt x="244" y="19"/>
                  </a:lnTo>
                  <a:lnTo>
                    <a:pt x="235" y="9"/>
                  </a:lnTo>
                  <a:lnTo>
                    <a:pt x="215" y="9"/>
                  </a:lnTo>
                  <a:lnTo>
                    <a:pt x="195" y="19"/>
                  </a:lnTo>
                  <a:lnTo>
                    <a:pt x="195" y="39"/>
                  </a:lnTo>
                  <a:lnTo>
                    <a:pt x="195" y="4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66" y="97"/>
                  </a:lnTo>
                  <a:lnTo>
                    <a:pt x="147" y="107"/>
                  </a:lnTo>
                  <a:lnTo>
                    <a:pt x="137" y="126"/>
                  </a:lnTo>
                  <a:lnTo>
                    <a:pt x="88" y="156"/>
                  </a:lnTo>
                  <a:lnTo>
                    <a:pt x="69" y="175"/>
                  </a:lnTo>
                  <a:lnTo>
                    <a:pt x="69" y="204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39" y="244"/>
                  </a:lnTo>
                  <a:lnTo>
                    <a:pt x="20" y="263"/>
                  </a:lnTo>
                  <a:lnTo>
                    <a:pt x="0" y="292"/>
                  </a:lnTo>
                  <a:lnTo>
                    <a:pt x="10" y="292"/>
                  </a:lnTo>
                  <a:lnTo>
                    <a:pt x="10" y="312"/>
                  </a:lnTo>
                  <a:lnTo>
                    <a:pt x="10" y="331"/>
                  </a:lnTo>
                  <a:lnTo>
                    <a:pt x="39" y="341"/>
                  </a:lnTo>
                  <a:lnTo>
                    <a:pt x="78" y="380"/>
                  </a:lnTo>
                  <a:lnTo>
                    <a:pt x="98" y="429"/>
                  </a:lnTo>
                  <a:lnTo>
                    <a:pt x="108" y="458"/>
                  </a:lnTo>
                  <a:lnTo>
                    <a:pt x="108" y="478"/>
                  </a:lnTo>
                  <a:lnTo>
                    <a:pt x="88" y="507"/>
                  </a:lnTo>
                  <a:lnTo>
                    <a:pt x="88" y="517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69" y="624"/>
                  </a:lnTo>
                  <a:lnTo>
                    <a:pt x="59" y="653"/>
                  </a:lnTo>
                  <a:lnTo>
                    <a:pt x="78" y="683"/>
                  </a:lnTo>
                  <a:lnTo>
                    <a:pt x="108" y="702"/>
                  </a:lnTo>
                  <a:lnTo>
                    <a:pt x="108" y="712"/>
                  </a:lnTo>
                  <a:lnTo>
                    <a:pt x="108" y="751"/>
                  </a:lnTo>
                  <a:lnTo>
                    <a:pt x="108" y="790"/>
                  </a:lnTo>
                  <a:lnTo>
                    <a:pt x="147" y="819"/>
                  </a:lnTo>
                  <a:lnTo>
                    <a:pt x="166" y="819"/>
                  </a:lnTo>
                  <a:lnTo>
                    <a:pt x="166" y="800"/>
                  </a:lnTo>
                  <a:lnTo>
                    <a:pt x="186" y="790"/>
                  </a:lnTo>
                  <a:lnTo>
                    <a:pt x="195" y="790"/>
                  </a:lnTo>
                  <a:lnTo>
                    <a:pt x="215" y="800"/>
                  </a:lnTo>
                  <a:lnTo>
                    <a:pt x="235" y="800"/>
                  </a:lnTo>
                  <a:lnTo>
                    <a:pt x="254" y="800"/>
                  </a:lnTo>
                  <a:lnTo>
                    <a:pt x="264" y="809"/>
                  </a:lnTo>
                  <a:lnTo>
                    <a:pt x="293" y="809"/>
                  </a:lnTo>
                  <a:lnTo>
                    <a:pt x="293" y="790"/>
                  </a:lnTo>
                  <a:lnTo>
                    <a:pt x="313" y="790"/>
                  </a:lnTo>
                  <a:lnTo>
                    <a:pt x="342" y="770"/>
                  </a:lnTo>
                  <a:lnTo>
                    <a:pt x="352" y="761"/>
                  </a:lnTo>
                  <a:lnTo>
                    <a:pt x="352" y="751"/>
                  </a:lnTo>
                  <a:lnTo>
                    <a:pt x="361" y="751"/>
                  </a:lnTo>
                  <a:lnTo>
                    <a:pt x="381" y="751"/>
                  </a:lnTo>
                  <a:lnTo>
                    <a:pt x="381" y="770"/>
                  </a:lnTo>
                  <a:lnTo>
                    <a:pt x="400" y="770"/>
                  </a:lnTo>
                  <a:lnTo>
                    <a:pt x="410" y="780"/>
                  </a:lnTo>
                  <a:lnTo>
                    <a:pt x="430" y="790"/>
                  </a:lnTo>
                  <a:lnTo>
                    <a:pt x="449" y="809"/>
                  </a:lnTo>
                  <a:lnTo>
                    <a:pt x="469" y="819"/>
                  </a:lnTo>
                  <a:lnTo>
                    <a:pt x="498" y="868"/>
                  </a:lnTo>
                  <a:lnTo>
                    <a:pt x="498" y="887"/>
                  </a:lnTo>
                  <a:lnTo>
                    <a:pt x="498" y="907"/>
                  </a:lnTo>
                  <a:lnTo>
                    <a:pt x="498" y="926"/>
                  </a:lnTo>
                  <a:lnTo>
                    <a:pt x="517" y="926"/>
                  </a:lnTo>
                  <a:lnTo>
                    <a:pt x="508" y="936"/>
                  </a:lnTo>
                  <a:lnTo>
                    <a:pt x="517" y="956"/>
                  </a:lnTo>
                  <a:lnTo>
                    <a:pt x="537" y="975"/>
                  </a:lnTo>
                  <a:lnTo>
                    <a:pt x="556" y="985"/>
                  </a:lnTo>
                  <a:lnTo>
                    <a:pt x="586" y="1005"/>
                  </a:lnTo>
                  <a:lnTo>
                    <a:pt x="625" y="1024"/>
                  </a:lnTo>
                  <a:close/>
                </a:path>
              </a:pathLst>
            </a:custGeom>
            <a:solidFill>
              <a:srgbClr val="F21C0A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0" name="Freeform 72"/>
            <p:cNvSpPr>
              <a:spLocks/>
            </p:cNvSpPr>
            <p:nvPr/>
          </p:nvSpPr>
          <p:spPr bwMode="auto">
            <a:xfrm>
              <a:off x="1970" y="1394"/>
              <a:ext cx="653" cy="595"/>
            </a:xfrm>
            <a:custGeom>
              <a:avLst/>
              <a:gdLst/>
              <a:ahLst/>
              <a:cxnLst>
                <a:cxn ang="0">
                  <a:pos x="400" y="527"/>
                </a:cxn>
                <a:cxn ang="0">
                  <a:pos x="371" y="469"/>
                </a:cxn>
                <a:cxn ang="0">
                  <a:pos x="332" y="439"/>
                </a:cxn>
                <a:cxn ang="0">
                  <a:pos x="312" y="400"/>
                </a:cxn>
                <a:cxn ang="0">
                  <a:pos x="283" y="420"/>
                </a:cxn>
                <a:cxn ang="0">
                  <a:pos x="215" y="410"/>
                </a:cxn>
                <a:cxn ang="0">
                  <a:pos x="186" y="390"/>
                </a:cxn>
                <a:cxn ang="0">
                  <a:pos x="186" y="332"/>
                </a:cxn>
                <a:cxn ang="0">
                  <a:pos x="156" y="312"/>
                </a:cxn>
                <a:cxn ang="0">
                  <a:pos x="117" y="283"/>
                </a:cxn>
                <a:cxn ang="0">
                  <a:pos x="78" y="273"/>
                </a:cxn>
                <a:cxn ang="0">
                  <a:pos x="69" y="254"/>
                </a:cxn>
                <a:cxn ang="0">
                  <a:pos x="59" y="205"/>
                </a:cxn>
                <a:cxn ang="0">
                  <a:pos x="20" y="205"/>
                </a:cxn>
                <a:cxn ang="0">
                  <a:pos x="20" y="137"/>
                </a:cxn>
                <a:cxn ang="0">
                  <a:pos x="10" y="108"/>
                </a:cxn>
                <a:cxn ang="0">
                  <a:pos x="30" y="88"/>
                </a:cxn>
                <a:cxn ang="0">
                  <a:pos x="88" y="88"/>
                </a:cxn>
                <a:cxn ang="0">
                  <a:pos x="127" y="39"/>
                </a:cxn>
                <a:cxn ang="0">
                  <a:pos x="195" y="0"/>
                </a:cxn>
                <a:cxn ang="0">
                  <a:pos x="244" y="10"/>
                </a:cxn>
                <a:cxn ang="0">
                  <a:pos x="312" y="10"/>
                </a:cxn>
                <a:cxn ang="0">
                  <a:pos x="342" y="29"/>
                </a:cxn>
                <a:cxn ang="0">
                  <a:pos x="351" y="59"/>
                </a:cxn>
                <a:cxn ang="0">
                  <a:pos x="342" y="108"/>
                </a:cxn>
                <a:cxn ang="0">
                  <a:pos x="322" y="166"/>
                </a:cxn>
                <a:cxn ang="0">
                  <a:pos x="351" y="225"/>
                </a:cxn>
                <a:cxn ang="0">
                  <a:pos x="391" y="244"/>
                </a:cxn>
                <a:cxn ang="0">
                  <a:pos x="430" y="273"/>
                </a:cxn>
                <a:cxn ang="0">
                  <a:pos x="449" y="303"/>
                </a:cxn>
                <a:cxn ang="0">
                  <a:pos x="478" y="332"/>
                </a:cxn>
                <a:cxn ang="0">
                  <a:pos x="537" y="361"/>
                </a:cxn>
                <a:cxn ang="0">
                  <a:pos x="556" y="390"/>
                </a:cxn>
                <a:cxn ang="0">
                  <a:pos x="595" y="400"/>
                </a:cxn>
                <a:cxn ang="0">
                  <a:pos x="615" y="430"/>
                </a:cxn>
                <a:cxn ang="0">
                  <a:pos x="644" y="459"/>
                </a:cxn>
                <a:cxn ang="0">
                  <a:pos x="644" y="508"/>
                </a:cxn>
                <a:cxn ang="0">
                  <a:pos x="605" y="517"/>
                </a:cxn>
                <a:cxn ang="0">
                  <a:pos x="566" y="508"/>
                </a:cxn>
                <a:cxn ang="0">
                  <a:pos x="566" y="537"/>
                </a:cxn>
                <a:cxn ang="0">
                  <a:pos x="566" y="576"/>
                </a:cxn>
                <a:cxn ang="0">
                  <a:pos x="527" y="576"/>
                </a:cxn>
                <a:cxn ang="0">
                  <a:pos x="488" y="586"/>
                </a:cxn>
                <a:cxn ang="0">
                  <a:pos x="430" y="576"/>
                </a:cxn>
              </a:cxnLst>
              <a:rect l="0" t="0" r="r" b="b"/>
              <a:pathLst>
                <a:path w="654" h="595">
                  <a:moveTo>
                    <a:pt x="430" y="556"/>
                  </a:moveTo>
                  <a:lnTo>
                    <a:pt x="410" y="547"/>
                  </a:lnTo>
                  <a:lnTo>
                    <a:pt x="400" y="527"/>
                  </a:lnTo>
                  <a:lnTo>
                    <a:pt x="381" y="498"/>
                  </a:lnTo>
                  <a:lnTo>
                    <a:pt x="371" y="488"/>
                  </a:lnTo>
                  <a:lnTo>
                    <a:pt x="371" y="469"/>
                  </a:lnTo>
                  <a:lnTo>
                    <a:pt x="361" y="449"/>
                  </a:lnTo>
                  <a:lnTo>
                    <a:pt x="351" y="439"/>
                  </a:lnTo>
                  <a:lnTo>
                    <a:pt x="332" y="439"/>
                  </a:lnTo>
                  <a:lnTo>
                    <a:pt x="332" y="420"/>
                  </a:lnTo>
                  <a:lnTo>
                    <a:pt x="322" y="420"/>
                  </a:lnTo>
                  <a:lnTo>
                    <a:pt x="312" y="400"/>
                  </a:lnTo>
                  <a:lnTo>
                    <a:pt x="303" y="390"/>
                  </a:lnTo>
                  <a:lnTo>
                    <a:pt x="303" y="410"/>
                  </a:lnTo>
                  <a:lnTo>
                    <a:pt x="283" y="420"/>
                  </a:lnTo>
                  <a:lnTo>
                    <a:pt x="244" y="390"/>
                  </a:lnTo>
                  <a:lnTo>
                    <a:pt x="225" y="400"/>
                  </a:lnTo>
                  <a:lnTo>
                    <a:pt x="215" y="410"/>
                  </a:lnTo>
                  <a:lnTo>
                    <a:pt x="195" y="410"/>
                  </a:lnTo>
                  <a:lnTo>
                    <a:pt x="195" y="400"/>
                  </a:lnTo>
                  <a:lnTo>
                    <a:pt x="186" y="390"/>
                  </a:lnTo>
                  <a:lnTo>
                    <a:pt x="176" y="381"/>
                  </a:lnTo>
                  <a:lnTo>
                    <a:pt x="186" y="351"/>
                  </a:lnTo>
                  <a:lnTo>
                    <a:pt x="186" y="332"/>
                  </a:lnTo>
                  <a:lnTo>
                    <a:pt x="176" y="312"/>
                  </a:lnTo>
                  <a:lnTo>
                    <a:pt x="166" y="303"/>
                  </a:lnTo>
                  <a:lnTo>
                    <a:pt x="156" y="312"/>
                  </a:lnTo>
                  <a:lnTo>
                    <a:pt x="147" y="303"/>
                  </a:lnTo>
                  <a:lnTo>
                    <a:pt x="137" y="293"/>
                  </a:lnTo>
                  <a:lnTo>
                    <a:pt x="117" y="283"/>
                  </a:lnTo>
                  <a:lnTo>
                    <a:pt x="98" y="273"/>
                  </a:lnTo>
                  <a:lnTo>
                    <a:pt x="88" y="264"/>
                  </a:lnTo>
                  <a:lnTo>
                    <a:pt x="78" y="273"/>
                  </a:lnTo>
                  <a:lnTo>
                    <a:pt x="69" y="273"/>
                  </a:lnTo>
                  <a:lnTo>
                    <a:pt x="59" y="264"/>
                  </a:lnTo>
                  <a:lnTo>
                    <a:pt x="69" y="254"/>
                  </a:lnTo>
                  <a:lnTo>
                    <a:pt x="69" y="244"/>
                  </a:lnTo>
                  <a:lnTo>
                    <a:pt x="78" y="225"/>
                  </a:lnTo>
                  <a:lnTo>
                    <a:pt x="59" y="205"/>
                  </a:lnTo>
                  <a:lnTo>
                    <a:pt x="39" y="205"/>
                  </a:lnTo>
                  <a:lnTo>
                    <a:pt x="30" y="205"/>
                  </a:lnTo>
                  <a:lnTo>
                    <a:pt x="20" y="205"/>
                  </a:lnTo>
                  <a:lnTo>
                    <a:pt x="30" y="176"/>
                  </a:lnTo>
                  <a:lnTo>
                    <a:pt x="30" y="147"/>
                  </a:lnTo>
                  <a:lnTo>
                    <a:pt x="20" y="137"/>
                  </a:lnTo>
                  <a:lnTo>
                    <a:pt x="0" y="12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0" y="98"/>
                  </a:lnTo>
                  <a:lnTo>
                    <a:pt x="20" y="88"/>
                  </a:lnTo>
                  <a:lnTo>
                    <a:pt x="30" y="88"/>
                  </a:lnTo>
                  <a:lnTo>
                    <a:pt x="49" y="88"/>
                  </a:lnTo>
                  <a:lnTo>
                    <a:pt x="69" y="108"/>
                  </a:lnTo>
                  <a:lnTo>
                    <a:pt x="88" y="88"/>
                  </a:lnTo>
                  <a:lnTo>
                    <a:pt x="108" y="69"/>
                  </a:lnTo>
                  <a:lnTo>
                    <a:pt x="127" y="49"/>
                  </a:lnTo>
                  <a:lnTo>
                    <a:pt x="127" y="39"/>
                  </a:lnTo>
                  <a:lnTo>
                    <a:pt x="166" y="29"/>
                  </a:lnTo>
                  <a:lnTo>
                    <a:pt x="186" y="10"/>
                  </a:lnTo>
                  <a:lnTo>
                    <a:pt x="195" y="0"/>
                  </a:lnTo>
                  <a:lnTo>
                    <a:pt x="205" y="0"/>
                  </a:lnTo>
                  <a:lnTo>
                    <a:pt x="225" y="0"/>
                  </a:lnTo>
                  <a:lnTo>
                    <a:pt x="244" y="10"/>
                  </a:lnTo>
                  <a:lnTo>
                    <a:pt x="254" y="10"/>
                  </a:lnTo>
                  <a:lnTo>
                    <a:pt x="254" y="0"/>
                  </a:lnTo>
                  <a:lnTo>
                    <a:pt x="312" y="10"/>
                  </a:lnTo>
                  <a:lnTo>
                    <a:pt x="322" y="10"/>
                  </a:lnTo>
                  <a:lnTo>
                    <a:pt x="322" y="29"/>
                  </a:lnTo>
                  <a:lnTo>
                    <a:pt x="342" y="29"/>
                  </a:lnTo>
                  <a:lnTo>
                    <a:pt x="342" y="39"/>
                  </a:lnTo>
                  <a:lnTo>
                    <a:pt x="342" y="49"/>
                  </a:lnTo>
                  <a:lnTo>
                    <a:pt x="351" y="59"/>
                  </a:lnTo>
                  <a:lnTo>
                    <a:pt x="351" y="69"/>
                  </a:lnTo>
                  <a:lnTo>
                    <a:pt x="342" y="88"/>
                  </a:lnTo>
                  <a:lnTo>
                    <a:pt x="342" y="108"/>
                  </a:lnTo>
                  <a:lnTo>
                    <a:pt x="322" y="117"/>
                  </a:lnTo>
                  <a:lnTo>
                    <a:pt x="322" y="147"/>
                  </a:lnTo>
                  <a:lnTo>
                    <a:pt x="322" y="166"/>
                  </a:lnTo>
                  <a:lnTo>
                    <a:pt x="332" y="186"/>
                  </a:lnTo>
                  <a:lnTo>
                    <a:pt x="342" y="195"/>
                  </a:lnTo>
                  <a:lnTo>
                    <a:pt x="351" y="225"/>
                  </a:lnTo>
                  <a:lnTo>
                    <a:pt x="371" y="225"/>
                  </a:lnTo>
                  <a:lnTo>
                    <a:pt x="381" y="234"/>
                  </a:lnTo>
                  <a:lnTo>
                    <a:pt x="391" y="244"/>
                  </a:lnTo>
                  <a:lnTo>
                    <a:pt x="400" y="273"/>
                  </a:lnTo>
                  <a:lnTo>
                    <a:pt x="410" y="273"/>
                  </a:lnTo>
                  <a:lnTo>
                    <a:pt x="430" y="273"/>
                  </a:lnTo>
                  <a:lnTo>
                    <a:pt x="449" y="283"/>
                  </a:lnTo>
                  <a:lnTo>
                    <a:pt x="459" y="293"/>
                  </a:lnTo>
                  <a:lnTo>
                    <a:pt x="449" y="303"/>
                  </a:lnTo>
                  <a:lnTo>
                    <a:pt x="459" y="312"/>
                  </a:lnTo>
                  <a:lnTo>
                    <a:pt x="469" y="322"/>
                  </a:lnTo>
                  <a:lnTo>
                    <a:pt x="478" y="332"/>
                  </a:lnTo>
                  <a:lnTo>
                    <a:pt x="508" y="361"/>
                  </a:lnTo>
                  <a:lnTo>
                    <a:pt x="527" y="361"/>
                  </a:lnTo>
                  <a:lnTo>
                    <a:pt x="537" y="361"/>
                  </a:lnTo>
                  <a:lnTo>
                    <a:pt x="556" y="371"/>
                  </a:lnTo>
                  <a:lnTo>
                    <a:pt x="547" y="381"/>
                  </a:lnTo>
                  <a:lnTo>
                    <a:pt x="556" y="390"/>
                  </a:lnTo>
                  <a:lnTo>
                    <a:pt x="566" y="410"/>
                  </a:lnTo>
                  <a:lnTo>
                    <a:pt x="576" y="420"/>
                  </a:lnTo>
                  <a:lnTo>
                    <a:pt x="595" y="400"/>
                  </a:lnTo>
                  <a:lnTo>
                    <a:pt x="615" y="400"/>
                  </a:lnTo>
                  <a:lnTo>
                    <a:pt x="625" y="420"/>
                  </a:lnTo>
                  <a:lnTo>
                    <a:pt x="615" y="430"/>
                  </a:lnTo>
                  <a:lnTo>
                    <a:pt x="625" y="449"/>
                  </a:lnTo>
                  <a:lnTo>
                    <a:pt x="634" y="459"/>
                  </a:lnTo>
                  <a:lnTo>
                    <a:pt x="644" y="459"/>
                  </a:lnTo>
                  <a:lnTo>
                    <a:pt x="654" y="469"/>
                  </a:lnTo>
                  <a:lnTo>
                    <a:pt x="654" y="488"/>
                  </a:lnTo>
                  <a:lnTo>
                    <a:pt x="644" y="508"/>
                  </a:lnTo>
                  <a:lnTo>
                    <a:pt x="634" y="517"/>
                  </a:lnTo>
                  <a:lnTo>
                    <a:pt x="625" y="517"/>
                  </a:lnTo>
                  <a:lnTo>
                    <a:pt x="605" y="517"/>
                  </a:lnTo>
                  <a:lnTo>
                    <a:pt x="586" y="527"/>
                  </a:lnTo>
                  <a:lnTo>
                    <a:pt x="576" y="517"/>
                  </a:lnTo>
                  <a:lnTo>
                    <a:pt x="566" y="508"/>
                  </a:lnTo>
                  <a:lnTo>
                    <a:pt x="556" y="517"/>
                  </a:lnTo>
                  <a:lnTo>
                    <a:pt x="547" y="527"/>
                  </a:lnTo>
                  <a:lnTo>
                    <a:pt x="566" y="537"/>
                  </a:lnTo>
                  <a:lnTo>
                    <a:pt x="576" y="547"/>
                  </a:lnTo>
                  <a:lnTo>
                    <a:pt x="566" y="556"/>
                  </a:lnTo>
                  <a:lnTo>
                    <a:pt x="566" y="576"/>
                  </a:lnTo>
                  <a:lnTo>
                    <a:pt x="556" y="586"/>
                  </a:lnTo>
                  <a:lnTo>
                    <a:pt x="547" y="595"/>
                  </a:lnTo>
                  <a:lnTo>
                    <a:pt x="527" y="576"/>
                  </a:lnTo>
                  <a:lnTo>
                    <a:pt x="517" y="566"/>
                  </a:lnTo>
                  <a:lnTo>
                    <a:pt x="508" y="566"/>
                  </a:lnTo>
                  <a:lnTo>
                    <a:pt x="488" y="586"/>
                  </a:lnTo>
                  <a:lnTo>
                    <a:pt x="469" y="576"/>
                  </a:lnTo>
                  <a:lnTo>
                    <a:pt x="449" y="586"/>
                  </a:lnTo>
                  <a:lnTo>
                    <a:pt x="430" y="576"/>
                  </a:lnTo>
                  <a:lnTo>
                    <a:pt x="430" y="55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1" name="Freeform 71"/>
            <p:cNvSpPr>
              <a:spLocks/>
            </p:cNvSpPr>
            <p:nvPr/>
          </p:nvSpPr>
          <p:spPr bwMode="auto">
            <a:xfrm>
              <a:off x="3540" y="1377"/>
              <a:ext cx="1092" cy="1345"/>
            </a:xfrm>
            <a:custGeom>
              <a:avLst/>
              <a:gdLst/>
              <a:ahLst/>
              <a:cxnLst>
                <a:cxn ang="0">
                  <a:pos x="0" y="702"/>
                </a:cxn>
                <a:cxn ang="0">
                  <a:pos x="156" y="770"/>
                </a:cxn>
                <a:cxn ang="0">
                  <a:pos x="253" y="858"/>
                </a:cxn>
                <a:cxn ang="0">
                  <a:pos x="361" y="907"/>
                </a:cxn>
                <a:cxn ang="0">
                  <a:pos x="351" y="1034"/>
                </a:cxn>
                <a:cxn ang="0">
                  <a:pos x="497" y="1112"/>
                </a:cxn>
                <a:cxn ang="0">
                  <a:pos x="644" y="1229"/>
                </a:cxn>
                <a:cxn ang="0">
                  <a:pos x="800" y="1219"/>
                </a:cxn>
                <a:cxn ang="0">
                  <a:pos x="897" y="1297"/>
                </a:cxn>
                <a:cxn ang="0">
                  <a:pos x="1043" y="1297"/>
                </a:cxn>
                <a:cxn ang="0">
                  <a:pos x="1043" y="1190"/>
                </a:cxn>
                <a:cxn ang="0">
                  <a:pos x="1063" y="1073"/>
                </a:cxn>
                <a:cxn ang="0">
                  <a:pos x="1043" y="966"/>
                </a:cxn>
                <a:cxn ang="0">
                  <a:pos x="1014" y="888"/>
                </a:cxn>
                <a:cxn ang="0">
                  <a:pos x="1004" y="741"/>
                </a:cxn>
                <a:cxn ang="0">
                  <a:pos x="1063" y="634"/>
                </a:cxn>
                <a:cxn ang="0">
                  <a:pos x="1043" y="546"/>
                </a:cxn>
                <a:cxn ang="0">
                  <a:pos x="956" y="458"/>
                </a:cxn>
                <a:cxn ang="0">
                  <a:pos x="1063" y="351"/>
                </a:cxn>
                <a:cxn ang="0">
                  <a:pos x="1073" y="234"/>
                </a:cxn>
                <a:cxn ang="0">
                  <a:pos x="995" y="205"/>
                </a:cxn>
                <a:cxn ang="0">
                  <a:pos x="965" y="195"/>
                </a:cxn>
                <a:cxn ang="0">
                  <a:pos x="975" y="292"/>
                </a:cxn>
                <a:cxn ang="0">
                  <a:pos x="985" y="341"/>
                </a:cxn>
                <a:cxn ang="0">
                  <a:pos x="887" y="253"/>
                </a:cxn>
                <a:cxn ang="0">
                  <a:pos x="936" y="156"/>
                </a:cxn>
                <a:cxn ang="0">
                  <a:pos x="917" y="127"/>
                </a:cxn>
                <a:cxn ang="0">
                  <a:pos x="809" y="205"/>
                </a:cxn>
                <a:cxn ang="0">
                  <a:pos x="780" y="341"/>
                </a:cxn>
                <a:cxn ang="0">
                  <a:pos x="722" y="468"/>
                </a:cxn>
                <a:cxn ang="0">
                  <a:pos x="839" y="517"/>
                </a:cxn>
                <a:cxn ang="0">
                  <a:pos x="848" y="624"/>
                </a:cxn>
                <a:cxn ang="0">
                  <a:pos x="858" y="692"/>
                </a:cxn>
                <a:cxn ang="0">
                  <a:pos x="800" y="663"/>
                </a:cxn>
                <a:cxn ang="0">
                  <a:pos x="829" y="566"/>
                </a:cxn>
                <a:cxn ang="0">
                  <a:pos x="712" y="546"/>
                </a:cxn>
                <a:cxn ang="0">
                  <a:pos x="605" y="692"/>
                </a:cxn>
                <a:cxn ang="0">
                  <a:pos x="478" y="712"/>
                </a:cxn>
                <a:cxn ang="0">
                  <a:pos x="429" y="644"/>
                </a:cxn>
                <a:cxn ang="0">
                  <a:pos x="458" y="644"/>
                </a:cxn>
                <a:cxn ang="0">
                  <a:pos x="517" y="683"/>
                </a:cxn>
                <a:cxn ang="0">
                  <a:pos x="575" y="634"/>
                </a:cxn>
                <a:cxn ang="0">
                  <a:pos x="634" y="595"/>
                </a:cxn>
                <a:cxn ang="0">
                  <a:pos x="683" y="497"/>
                </a:cxn>
                <a:cxn ang="0">
                  <a:pos x="702" y="390"/>
                </a:cxn>
                <a:cxn ang="0">
                  <a:pos x="761" y="283"/>
                </a:cxn>
                <a:cxn ang="0">
                  <a:pos x="800" y="156"/>
                </a:cxn>
                <a:cxn ang="0">
                  <a:pos x="848" y="58"/>
                </a:cxn>
                <a:cxn ang="0">
                  <a:pos x="761" y="19"/>
                </a:cxn>
                <a:cxn ang="0">
                  <a:pos x="683" y="78"/>
                </a:cxn>
                <a:cxn ang="0">
                  <a:pos x="556" y="156"/>
                </a:cxn>
                <a:cxn ang="0">
                  <a:pos x="546" y="234"/>
                </a:cxn>
                <a:cxn ang="0">
                  <a:pos x="487" y="302"/>
                </a:cxn>
                <a:cxn ang="0">
                  <a:pos x="507" y="341"/>
                </a:cxn>
                <a:cxn ang="0">
                  <a:pos x="468" y="468"/>
                </a:cxn>
                <a:cxn ang="0">
                  <a:pos x="429" y="361"/>
                </a:cxn>
                <a:cxn ang="0">
                  <a:pos x="361" y="302"/>
                </a:cxn>
                <a:cxn ang="0">
                  <a:pos x="361" y="458"/>
                </a:cxn>
                <a:cxn ang="0">
                  <a:pos x="234" y="517"/>
                </a:cxn>
              </a:cxnLst>
              <a:rect l="0" t="0" r="r" b="b"/>
              <a:pathLst>
                <a:path w="1092" h="1346">
                  <a:moveTo>
                    <a:pt x="68" y="566"/>
                  </a:moveTo>
                  <a:lnTo>
                    <a:pt x="58" y="585"/>
                  </a:lnTo>
                  <a:lnTo>
                    <a:pt x="58" y="595"/>
                  </a:lnTo>
                  <a:lnTo>
                    <a:pt x="49" y="614"/>
                  </a:lnTo>
                  <a:lnTo>
                    <a:pt x="58" y="624"/>
                  </a:lnTo>
                  <a:lnTo>
                    <a:pt x="49" y="634"/>
                  </a:lnTo>
                  <a:lnTo>
                    <a:pt x="39" y="663"/>
                  </a:lnTo>
                  <a:lnTo>
                    <a:pt x="19" y="683"/>
                  </a:lnTo>
                  <a:lnTo>
                    <a:pt x="0" y="692"/>
                  </a:lnTo>
                  <a:lnTo>
                    <a:pt x="0" y="702"/>
                  </a:lnTo>
                  <a:lnTo>
                    <a:pt x="19" y="712"/>
                  </a:lnTo>
                  <a:lnTo>
                    <a:pt x="29" y="712"/>
                  </a:lnTo>
                  <a:lnTo>
                    <a:pt x="39" y="731"/>
                  </a:lnTo>
                  <a:lnTo>
                    <a:pt x="39" y="741"/>
                  </a:lnTo>
                  <a:lnTo>
                    <a:pt x="49" y="751"/>
                  </a:lnTo>
                  <a:lnTo>
                    <a:pt x="58" y="741"/>
                  </a:lnTo>
                  <a:lnTo>
                    <a:pt x="97" y="751"/>
                  </a:lnTo>
                  <a:lnTo>
                    <a:pt x="127" y="761"/>
                  </a:lnTo>
                  <a:lnTo>
                    <a:pt x="136" y="761"/>
                  </a:lnTo>
                  <a:lnTo>
                    <a:pt x="156" y="770"/>
                  </a:lnTo>
                  <a:lnTo>
                    <a:pt x="175" y="780"/>
                  </a:lnTo>
                  <a:lnTo>
                    <a:pt x="195" y="790"/>
                  </a:lnTo>
                  <a:lnTo>
                    <a:pt x="195" y="800"/>
                  </a:lnTo>
                  <a:lnTo>
                    <a:pt x="185" y="810"/>
                  </a:lnTo>
                  <a:lnTo>
                    <a:pt x="175" y="819"/>
                  </a:lnTo>
                  <a:lnTo>
                    <a:pt x="175" y="839"/>
                  </a:lnTo>
                  <a:lnTo>
                    <a:pt x="195" y="858"/>
                  </a:lnTo>
                  <a:lnTo>
                    <a:pt x="214" y="858"/>
                  </a:lnTo>
                  <a:lnTo>
                    <a:pt x="244" y="858"/>
                  </a:lnTo>
                  <a:lnTo>
                    <a:pt x="253" y="858"/>
                  </a:lnTo>
                  <a:lnTo>
                    <a:pt x="263" y="868"/>
                  </a:lnTo>
                  <a:lnTo>
                    <a:pt x="283" y="858"/>
                  </a:lnTo>
                  <a:lnTo>
                    <a:pt x="292" y="858"/>
                  </a:lnTo>
                  <a:lnTo>
                    <a:pt x="302" y="858"/>
                  </a:lnTo>
                  <a:lnTo>
                    <a:pt x="322" y="888"/>
                  </a:lnTo>
                  <a:lnTo>
                    <a:pt x="331" y="888"/>
                  </a:lnTo>
                  <a:lnTo>
                    <a:pt x="341" y="888"/>
                  </a:lnTo>
                  <a:lnTo>
                    <a:pt x="341" y="897"/>
                  </a:lnTo>
                  <a:lnTo>
                    <a:pt x="361" y="907"/>
                  </a:lnTo>
                  <a:lnTo>
                    <a:pt x="361" y="917"/>
                  </a:lnTo>
                  <a:lnTo>
                    <a:pt x="351" y="927"/>
                  </a:lnTo>
                  <a:lnTo>
                    <a:pt x="341" y="936"/>
                  </a:lnTo>
                  <a:lnTo>
                    <a:pt x="341" y="966"/>
                  </a:lnTo>
                  <a:lnTo>
                    <a:pt x="341" y="995"/>
                  </a:lnTo>
                  <a:lnTo>
                    <a:pt x="361" y="1005"/>
                  </a:lnTo>
                  <a:lnTo>
                    <a:pt x="361" y="1014"/>
                  </a:lnTo>
                  <a:lnTo>
                    <a:pt x="351" y="1014"/>
                  </a:lnTo>
                  <a:lnTo>
                    <a:pt x="351" y="1024"/>
                  </a:lnTo>
                  <a:lnTo>
                    <a:pt x="351" y="1034"/>
                  </a:lnTo>
                  <a:lnTo>
                    <a:pt x="370" y="1044"/>
                  </a:lnTo>
                  <a:lnTo>
                    <a:pt x="390" y="1053"/>
                  </a:lnTo>
                  <a:lnTo>
                    <a:pt x="400" y="1053"/>
                  </a:lnTo>
                  <a:lnTo>
                    <a:pt x="419" y="1044"/>
                  </a:lnTo>
                  <a:lnTo>
                    <a:pt x="429" y="1053"/>
                  </a:lnTo>
                  <a:lnTo>
                    <a:pt x="429" y="1073"/>
                  </a:lnTo>
                  <a:lnTo>
                    <a:pt x="439" y="1083"/>
                  </a:lnTo>
                  <a:lnTo>
                    <a:pt x="468" y="1083"/>
                  </a:lnTo>
                  <a:lnTo>
                    <a:pt x="478" y="1092"/>
                  </a:lnTo>
                  <a:lnTo>
                    <a:pt x="497" y="1112"/>
                  </a:lnTo>
                  <a:lnTo>
                    <a:pt x="517" y="1122"/>
                  </a:lnTo>
                  <a:lnTo>
                    <a:pt x="546" y="1122"/>
                  </a:lnTo>
                  <a:lnTo>
                    <a:pt x="556" y="1131"/>
                  </a:lnTo>
                  <a:lnTo>
                    <a:pt x="566" y="1151"/>
                  </a:lnTo>
                  <a:lnTo>
                    <a:pt x="595" y="1151"/>
                  </a:lnTo>
                  <a:lnTo>
                    <a:pt x="595" y="1171"/>
                  </a:lnTo>
                  <a:lnTo>
                    <a:pt x="605" y="1200"/>
                  </a:lnTo>
                  <a:lnTo>
                    <a:pt x="605" y="1210"/>
                  </a:lnTo>
                  <a:lnTo>
                    <a:pt x="624" y="1219"/>
                  </a:lnTo>
                  <a:lnTo>
                    <a:pt x="644" y="1229"/>
                  </a:lnTo>
                  <a:lnTo>
                    <a:pt x="673" y="1229"/>
                  </a:lnTo>
                  <a:lnTo>
                    <a:pt x="692" y="1229"/>
                  </a:lnTo>
                  <a:lnTo>
                    <a:pt x="702" y="1249"/>
                  </a:lnTo>
                  <a:lnTo>
                    <a:pt x="722" y="1258"/>
                  </a:lnTo>
                  <a:lnTo>
                    <a:pt x="731" y="1258"/>
                  </a:lnTo>
                  <a:lnTo>
                    <a:pt x="741" y="1249"/>
                  </a:lnTo>
                  <a:lnTo>
                    <a:pt x="751" y="1239"/>
                  </a:lnTo>
                  <a:lnTo>
                    <a:pt x="761" y="1229"/>
                  </a:lnTo>
                  <a:lnTo>
                    <a:pt x="780" y="1219"/>
                  </a:lnTo>
                  <a:lnTo>
                    <a:pt x="800" y="1219"/>
                  </a:lnTo>
                  <a:lnTo>
                    <a:pt x="809" y="1229"/>
                  </a:lnTo>
                  <a:lnTo>
                    <a:pt x="819" y="1258"/>
                  </a:lnTo>
                  <a:lnTo>
                    <a:pt x="829" y="1268"/>
                  </a:lnTo>
                  <a:lnTo>
                    <a:pt x="839" y="1268"/>
                  </a:lnTo>
                  <a:lnTo>
                    <a:pt x="858" y="1268"/>
                  </a:lnTo>
                  <a:lnTo>
                    <a:pt x="868" y="1278"/>
                  </a:lnTo>
                  <a:lnTo>
                    <a:pt x="878" y="1278"/>
                  </a:lnTo>
                  <a:lnTo>
                    <a:pt x="887" y="1278"/>
                  </a:lnTo>
                  <a:lnTo>
                    <a:pt x="897" y="1297"/>
                  </a:lnTo>
                  <a:lnTo>
                    <a:pt x="917" y="1317"/>
                  </a:lnTo>
                  <a:lnTo>
                    <a:pt x="936" y="1327"/>
                  </a:lnTo>
                  <a:lnTo>
                    <a:pt x="946" y="1317"/>
                  </a:lnTo>
                  <a:lnTo>
                    <a:pt x="956" y="1327"/>
                  </a:lnTo>
                  <a:lnTo>
                    <a:pt x="975" y="1346"/>
                  </a:lnTo>
                  <a:lnTo>
                    <a:pt x="985" y="1346"/>
                  </a:lnTo>
                  <a:lnTo>
                    <a:pt x="1004" y="1327"/>
                  </a:lnTo>
                  <a:lnTo>
                    <a:pt x="1004" y="1317"/>
                  </a:lnTo>
                  <a:lnTo>
                    <a:pt x="1024" y="1297"/>
                  </a:lnTo>
                  <a:lnTo>
                    <a:pt x="1043" y="1297"/>
                  </a:lnTo>
                  <a:lnTo>
                    <a:pt x="1053" y="1288"/>
                  </a:lnTo>
                  <a:lnTo>
                    <a:pt x="1043" y="1278"/>
                  </a:lnTo>
                  <a:lnTo>
                    <a:pt x="1053" y="1268"/>
                  </a:lnTo>
                  <a:lnTo>
                    <a:pt x="1053" y="1258"/>
                  </a:lnTo>
                  <a:lnTo>
                    <a:pt x="1043" y="1249"/>
                  </a:lnTo>
                  <a:lnTo>
                    <a:pt x="1043" y="1239"/>
                  </a:lnTo>
                  <a:lnTo>
                    <a:pt x="1034" y="1219"/>
                  </a:lnTo>
                  <a:lnTo>
                    <a:pt x="1034" y="1210"/>
                  </a:lnTo>
                  <a:lnTo>
                    <a:pt x="1043" y="1190"/>
                  </a:lnTo>
                  <a:lnTo>
                    <a:pt x="1063" y="1180"/>
                  </a:lnTo>
                  <a:lnTo>
                    <a:pt x="1083" y="1171"/>
                  </a:lnTo>
                  <a:lnTo>
                    <a:pt x="1092" y="1161"/>
                  </a:lnTo>
                  <a:lnTo>
                    <a:pt x="1092" y="1131"/>
                  </a:lnTo>
                  <a:lnTo>
                    <a:pt x="1092" y="1102"/>
                  </a:lnTo>
                  <a:lnTo>
                    <a:pt x="1092" y="1083"/>
                  </a:lnTo>
                  <a:lnTo>
                    <a:pt x="1083" y="1083"/>
                  </a:lnTo>
                  <a:lnTo>
                    <a:pt x="1063" y="1083"/>
                  </a:lnTo>
                  <a:lnTo>
                    <a:pt x="1053" y="1083"/>
                  </a:lnTo>
                  <a:lnTo>
                    <a:pt x="1063" y="1073"/>
                  </a:lnTo>
                  <a:lnTo>
                    <a:pt x="1053" y="1063"/>
                  </a:lnTo>
                  <a:lnTo>
                    <a:pt x="1034" y="1053"/>
                  </a:lnTo>
                  <a:lnTo>
                    <a:pt x="1024" y="1044"/>
                  </a:lnTo>
                  <a:lnTo>
                    <a:pt x="1034" y="1034"/>
                  </a:lnTo>
                  <a:lnTo>
                    <a:pt x="1043" y="1024"/>
                  </a:lnTo>
                  <a:lnTo>
                    <a:pt x="1043" y="1005"/>
                  </a:lnTo>
                  <a:lnTo>
                    <a:pt x="1043" y="995"/>
                  </a:lnTo>
                  <a:lnTo>
                    <a:pt x="1053" y="975"/>
                  </a:lnTo>
                  <a:lnTo>
                    <a:pt x="1043" y="966"/>
                  </a:lnTo>
                  <a:lnTo>
                    <a:pt x="1034" y="966"/>
                  </a:lnTo>
                  <a:lnTo>
                    <a:pt x="1024" y="966"/>
                  </a:lnTo>
                  <a:lnTo>
                    <a:pt x="1014" y="956"/>
                  </a:lnTo>
                  <a:lnTo>
                    <a:pt x="1014" y="936"/>
                  </a:lnTo>
                  <a:lnTo>
                    <a:pt x="1004" y="936"/>
                  </a:lnTo>
                  <a:lnTo>
                    <a:pt x="1004" y="917"/>
                  </a:lnTo>
                  <a:lnTo>
                    <a:pt x="1024" y="917"/>
                  </a:lnTo>
                  <a:lnTo>
                    <a:pt x="1024" y="907"/>
                  </a:lnTo>
                  <a:lnTo>
                    <a:pt x="1014" y="888"/>
                  </a:lnTo>
                  <a:lnTo>
                    <a:pt x="1004" y="878"/>
                  </a:lnTo>
                  <a:lnTo>
                    <a:pt x="1014" y="858"/>
                  </a:lnTo>
                  <a:lnTo>
                    <a:pt x="1024" y="849"/>
                  </a:lnTo>
                  <a:lnTo>
                    <a:pt x="1024" y="839"/>
                  </a:lnTo>
                  <a:lnTo>
                    <a:pt x="1004" y="810"/>
                  </a:lnTo>
                  <a:lnTo>
                    <a:pt x="995" y="790"/>
                  </a:lnTo>
                  <a:lnTo>
                    <a:pt x="995" y="780"/>
                  </a:lnTo>
                  <a:lnTo>
                    <a:pt x="1004" y="761"/>
                  </a:lnTo>
                  <a:lnTo>
                    <a:pt x="1004" y="741"/>
                  </a:lnTo>
                  <a:lnTo>
                    <a:pt x="1004" y="722"/>
                  </a:lnTo>
                  <a:lnTo>
                    <a:pt x="1004" y="702"/>
                  </a:lnTo>
                  <a:lnTo>
                    <a:pt x="1024" y="702"/>
                  </a:lnTo>
                  <a:lnTo>
                    <a:pt x="1034" y="702"/>
                  </a:lnTo>
                  <a:lnTo>
                    <a:pt x="1063" y="692"/>
                  </a:lnTo>
                  <a:lnTo>
                    <a:pt x="1053" y="663"/>
                  </a:lnTo>
                  <a:lnTo>
                    <a:pt x="1053" y="644"/>
                  </a:lnTo>
                  <a:lnTo>
                    <a:pt x="1053" y="634"/>
                  </a:lnTo>
                  <a:lnTo>
                    <a:pt x="1063" y="634"/>
                  </a:lnTo>
                  <a:lnTo>
                    <a:pt x="1073" y="634"/>
                  </a:lnTo>
                  <a:lnTo>
                    <a:pt x="1063" y="624"/>
                  </a:lnTo>
                  <a:lnTo>
                    <a:pt x="1053" y="614"/>
                  </a:lnTo>
                  <a:lnTo>
                    <a:pt x="1063" y="605"/>
                  </a:lnTo>
                  <a:lnTo>
                    <a:pt x="1063" y="585"/>
                  </a:lnTo>
                  <a:lnTo>
                    <a:pt x="1063" y="575"/>
                  </a:lnTo>
                  <a:lnTo>
                    <a:pt x="1053" y="566"/>
                  </a:lnTo>
                  <a:lnTo>
                    <a:pt x="1063" y="546"/>
                  </a:lnTo>
                  <a:lnTo>
                    <a:pt x="1053" y="536"/>
                  </a:lnTo>
                  <a:lnTo>
                    <a:pt x="1043" y="546"/>
                  </a:lnTo>
                  <a:lnTo>
                    <a:pt x="1034" y="556"/>
                  </a:lnTo>
                  <a:lnTo>
                    <a:pt x="1024" y="556"/>
                  </a:lnTo>
                  <a:lnTo>
                    <a:pt x="1004" y="546"/>
                  </a:lnTo>
                  <a:lnTo>
                    <a:pt x="985" y="527"/>
                  </a:lnTo>
                  <a:lnTo>
                    <a:pt x="975" y="527"/>
                  </a:lnTo>
                  <a:lnTo>
                    <a:pt x="975" y="517"/>
                  </a:lnTo>
                  <a:lnTo>
                    <a:pt x="975" y="497"/>
                  </a:lnTo>
                  <a:lnTo>
                    <a:pt x="965" y="488"/>
                  </a:lnTo>
                  <a:lnTo>
                    <a:pt x="956" y="478"/>
                  </a:lnTo>
                  <a:lnTo>
                    <a:pt x="956" y="458"/>
                  </a:lnTo>
                  <a:lnTo>
                    <a:pt x="965" y="449"/>
                  </a:lnTo>
                  <a:lnTo>
                    <a:pt x="985" y="439"/>
                  </a:lnTo>
                  <a:lnTo>
                    <a:pt x="995" y="439"/>
                  </a:lnTo>
                  <a:lnTo>
                    <a:pt x="1004" y="429"/>
                  </a:lnTo>
                  <a:lnTo>
                    <a:pt x="1014" y="429"/>
                  </a:lnTo>
                  <a:lnTo>
                    <a:pt x="1043" y="419"/>
                  </a:lnTo>
                  <a:lnTo>
                    <a:pt x="1053" y="409"/>
                  </a:lnTo>
                  <a:lnTo>
                    <a:pt x="1053" y="370"/>
                  </a:lnTo>
                  <a:lnTo>
                    <a:pt x="1063" y="351"/>
                  </a:lnTo>
                  <a:lnTo>
                    <a:pt x="1053" y="341"/>
                  </a:lnTo>
                  <a:lnTo>
                    <a:pt x="1043" y="331"/>
                  </a:lnTo>
                  <a:lnTo>
                    <a:pt x="1024" y="302"/>
                  </a:lnTo>
                  <a:lnTo>
                    <a:pt x="1024" y="283"/>
                  </a:lnTo>
                  <a:lnTo>
                    <a:pt x="1034" y="273"/>
                  </a:lnTo>
                  <a:lnTo>
                    <a:pt x="1043" y="273"/>
                  </a:lnTo>
                  <a:lnTo>
                    <a:pt x="1053" y="273"/>
                  </a:lnTo>
                  <a:lnTo>
                    <a:pt x="1083" y="244"/>
                  </a:lnTo>
                  <a:lnTo>
                    <a:pt x="1073" y="234"/>
                  </a:lnTo>
                  <a:lnTo>
                    <a:pt x="1053" y="224"/>
                  </a:lnTo>
                  <a:lnTo>
                    <a:pt x="1043" y="214"/>
                  </a:lnTo>
                  <a:lnTo>
                    <a:pt x="1034" y="195"/>
                  </a:lnTo>
                  <a:lnTo>
                    <a:pt x="1043" y="195"/>
                  </a:lnTo>
                  <a:lnTo>
                    <a:pt x="1043" y="185"/>
                  </a:lnTo>
                  <a:lnTo>
                    <a:pt x="1014" y="185"/>
                  </a:lnTo>
                  <a:lnTo>
                    <a:pt x="1004" y="195"/>
                  </a:lnTo>
                  <a:lnTo>
                    <a:pt x="995" y="195"/>
                  </a:lnTo>
                  <a:lnTo>
                    <a:pt x="995" y="205"/>
                  </a:lnTo>
                  <a:lnTo>
                    <a:pt x="1004" y="205"/>
                  </a:lnTo>
                  <a:lnTo>
                    <a:pt x="1014" y="214"/>
                  </a:lnTo>
                  <a:lnTo>
                    <a:pt x="1014" y="234"/>
                  </a:lnTo>
                  <a:lnTo>
                    <a:pt x="1004" y="234"/>
                  </a:lnTo>
                  <a:lnTo>
                    <a:pt x="985" y="234"/>
                  </a:lnTo>
                  <a:lnTo>
                    <a:pt x="985" y="214"/>
                  </a:lnTo>
                  <a:lnTo>
                    <a:pt x="975" y="214"/>
                  </a:lnTo>
                  <a:lnTo>
                    <a:pt x="975" y="195"/>
                  </a:lnTo>
                  <a:lnTo>
                    <a:pt x="965" y="195"/>
                  </a:lnTo>
                  <a:lnTo>
                    <a:pt x="956" y="195"/>
                  </a:lnTo>
                  <a:lnTo>
                    <a:pt x="936" y="195"/>
                  </a:lnTo>
                  <a:lnTo>
                    <a:pt x="926" y="205"/>
                  </a:lnTo>
                  <a:lnTo>
                    <a:pt x="926" y="224"/>
                  </a:lnTo>
                  <a:lnTo>
                    <a:pt x="926" y="244"/>
                  </a:lnTo>
                  <a:lnTo>
                    <a:pt x="936" y="263"/>
                  </a:lnTo>
                  <a:lnTo>
                    <a:pt x="946" y="273"/>
                  </a:lnTo>
                  <a:lnTo>
                    <a:pt x="956" y="292"/>
                  </a:lnTo>
                  <a:lnTo>
                    <a:pt x="965" y="292"/>
                  </a:lnTo>
                  <a:lnTo>
                    <a:pt x="975" y="292"/>
                  </a:lnTo>
                  <a:lnTo>
                    <a:pt x="985" y="302"/>
                  </a:lnTo>
                  <a:lnTo>
                    <a:pt x="985" y="312"/>
                  </a:lnTo>
                  <a:lnTo>
                    <a:pt x="975" y="322"/>
                  </a:lnTo>
                  <a:lnTo>
                    <a:pt x="985" y="331"/>
                  </a:lnTo>
                  <a:lnTo>
                    <a:pt x="995" y="331"/>
                  </a:lnTo>
                  <a:lnTo>
                    <a:pt x="1004" y="331"/>
                  </a:lnTo>
                  <a:lnTo>
                    <a:pt x="1004" y="341"/>
                  </a:lnTo>
                  <a:lnTo>
                    <a:pt x="1004" y="351"/>
                  </a:lnTo>
                  <a:lnTo>
                    <a:pt x="985" y="341"/>
                  </a:lnTo>
                  <a:lnTo>
                    <a:pt x="975" y="341"/>
                  </a:lnTo>
                  <a:lnTo>
                    <a:pt x="965" y="331"/>
                  </a:lnTo>
                  <a:lnTo>
                    <a:pt x="965" y="312"/>
                  </a:lnTo>
                  <a:lnTo>
                    <a:pt x="956" y="302"/>
                  </a:lnTo>
                  <a:lnTo>
                    <a:pt x="946" y="292"/>
                  </a:lnTo>
                  <a:lnTo>
                    <a:pt x="936" y="292"/>
                  </a:lnTo>
                  <a:lnTo>
                    <a:pt x="926" y="292"/>
                  </a:lnTo>
                  <a:lnTo>
                    <a:pt x="917" y="283"/>
                  </a:lnTo>
                  <a:lnTo>
                    <a:pt x="897" y="273"/>
                  </a:lnTo>
                  <a:lnTo>
                    <a:pt x="887" y="253"/>
                  </a:lnTo>
                  <a:lnTo>
                    <a:pt x="887" y="244"/>
                  </a:lnTo>
                  <a:lnTo>
                    <a:pt x="897" y="234"/>
                  </a:lnTo>
                  <a:lnTo>
                    <a:pt x="897" y="214"/>
                  </a:lnTo>
                  <a:lnTo>
                    <a:pt x="897" y="195"/>
                  </a:lnTo>
                  <a:lnTo>
                    <a:pt x="907" y="185"/>
                  </a:lnTo>
                  <a:lnTo>
                    <a:pt x="917" y="175"/>
                  </a:lnTo>
                  <a:lnTo>
                    <a:pt x="926" y="166"/>
                  </a:lnTo>
                  <a:lnTo>
                    <a:pt x="936" y="156"/>
                  </a:lnTo>
                  <a:lnTo>
                    <a:pt x="936" y="146"/>
                  </a:lnTo>
                  <a:lnTo>
                    <a:pt x="936" y="136"/>
                  </a:lnTo>
                  <a:lnTo>
                    <a:pt x="946" y="127"/>
                  </a:lnTo>
                  <a:lnTo>
                    <a:pt x="946" y="117"/>
                  </a:lnTo>
                  <a:lnTo>
                    <a:pt x="946" y="97"/>
                  </a:lnTo>
                  <a:lnTo>
                    <a:pt x="936" y="88"/>
                  </a:lnTo>
                  <a:lnTo>
                    <a:pt x="926" y="97"/>
                  </a:lnTo>
                  <a:lnTo>
                    <a:pt x="926" y="107"/>
                  </a:lnTo>
                  <a:lnTo>
                    <a:pt x="917" y="127"/>
                  </a:lnTo>
                  <a:lnTo>
                    <a:pt x="917" y="146"/>
                  </a:lnTo>
                  <a:lnTo>
                    <a:pt x="907" y="156"/>
                  </a:lnTo>
                  <a:lnTo>
                    <a:pt x="897" y="175"/>
                  </a:lnTo>
                  <a:lnTo>
                    <a:pt x="878" y="175"/>
                  </a:lnTo>
                  <a:lnTo>
                    <a:pt x="858" y="175"/>
                  </a:lnTo>
                  <a:lnTo>
                    <a:pt x="848" y="175"/>
                  </a:lnTo>
                  <a:lnTo>
                    <a:pt x="839" y="185"/>
                  </a:lnTo>
                  <a:lnTo>
                    <a:pt x="829" y="195"/>
                  </a:lnTo>
                  <a:lnTo>
                    <a:pt x="809" y="205"/>
                  </a:lnTo>
                  <a:lnTo>
                    <a:pt x="800" y="205"/>
                  </a:lnTo>
                  <a:lnTo>
                    <a:pt x="800" y="214"/>
                  </a:lnTo>
                  <a:lnTo>
                    <a:pt x="800" y="224"/>
                  </a:lnTo>
                  <a:lnTo>
                    <a:pt x="809" y="234"/>
                  </a:lnTo>
                  <a:lnTo>
                    <a:pt x="809" y="263"/>
                  </a:lnTo>
                  <a:lnTo>
                    <a:pt x="800" y="283"/>
                  </a:lnTo>
                  <a:lnTo>
                    <a:pt x="809" y="312"/>
                  </a:lnTo>
                  <a:lnTo>
                    <a:pt x="809" y="331"/>
                  </a:lnTo>
                  <a:lnTo>
                    <a:pt x="800" y="331"/>
                  </a:lnTo>
                  <a:lnTo>
                    <a:pt x="780" y="341"/>
                  </a:lnTo>
                  <a:lnTo>
                    <a:pt x="770" y="351"/>
                  </a:lnTo>
                  <a:lnTo>
                    <a:pt x="761" y="361"/>
                  </a:lnTo>
                  <a:lnTo>
                    <a:pt x="761" y="370"/>
                  </a:lnTo>
                  <a:lnTo>
                    <a:pt x="741" y="390"/>
                  </a:lnTo>
                  <a:lnTo>
                    <a:pt x="741" y="409"/>
                  </a:lnTo>
                  <a:lnTo>
                    <a:pt x="741" y="429"/>
                  </a:lnTo>
                  <a:lnTo>
                    <a:pt x="741" y="439"/>
                  </a:lnTo>
                  <a:lnTo>
                    <a:pt x="731" y="449"/>
                  </a:lnTo>
                  <a:lnTo>
                    <a:pt x="722" y="458"/>
                  </a:lnTo>
                  <a:lnTo>
                    <a:pt x="722" y="468"/>
                  </a:lnTo>
                  <a:lnTo>
                    <a:pt x="731" y="468"/>
                  </a:lnTo>
                  <a:lnTo>
                    <a:pt x="741" y="468"/>
                  </a:lnTo>
                  <a:lnTo>
                    <a:pt x="751" y="478"/>
                  </a:lnTo>
                  <a:lnTo>
                    <a:pt x="751" y="488"/>
                  </a:lnTo>
                  <a:lnTo>
                    <a:pt x="770" y="488"/>
                  </a:lnTo>
                  <a:lnTo>
                    <a:pt x="790" y="488"/>
                  </a:lnTo>
                  <a:lnTo>
                    <a:pt x="800" y="488"/>
                  </a:lnTo>
                  <a:lnTo>
                    <a:pt x="809" y="488"/>
                  </a:lnTo>
                  <a:lnTo>
                    <a:pt x="829" y="497"/>
                  </a:lnTo>
                  <a:lnTo>
                    <a:pt x="839" y="517"/>
                  </a:lnTo>
                  <a:lnTo>
                    <a:pt x="848" y="527"/>
                  </a:lnTo>
                  <a:lnTo>
                    <a:pt x="848" y="536"/>
                  </a:lnTo>
                  <a:lnTo>
                    <a:pt x="858" y="546"/>
                  </a:lnTo>
                  <a:lnTo>
                    <a:pt x="858" y="556"/>
                  </a:lnTo>
                  <a:lnTo>
                    <a:pt x="858" y="575"/>
                  </a:lnTo>
                  <a:lnTo>
                    <a:pt x="858" y="585"/>
                  </a:lnTo>
                  <a:lnTo>
                    <a:pt x="868" y="605"/>
                  </a:lnTo>
                  <a:lnTo>
                    <a:pt x="858" y="614"/>
                  </a:lnTo>
                  <a:lnTo>
                    <a:pt x="858" y="624"/>
                  </a:lnTo>
                  <a:lnTo>
                    <a:pt x="848" y="624"/>
                  </a:lnTo>
                  <a:lnTo>
                    <a:pt x="839" y="624"/>
                  </a:lnTo>
                  <a:lnTo>
                    <a:pt x="829" y="634"/>
                  </a:lnTo>
                  <a:lnTo>
                    <a:pt x="819" y="644"/>
                  </a:lnTo>
                  <a:lnTo>
                    <a:pt x="819" y="663"/>
                  </a:lnTo>
                  <a:lnTo>
                    <a:pt x="819" y="673"/>
                  </a:lnTo>
                  <a:lnTo>
                    <a:pt x="829" y="673"/>
                  </a:lnTo>
                  <a:lnTo>
                    <a:pt x="829" y="683"/>
                  </a:lnTo>
                  <a:lnTo>
                    <a:pt x="848" y="692"/>
                  </a:lnTo>
                  <a:lnTo>
                    <a:pt x="858" y="692"/>
                  </a:lnTo>
                  <a:lnTo>
                    <a:pt x="868" y="702"/>
                  </a:lnTo>
                  <a:lnTo>
                    <a:pt x="868" y="712"/>
                  </a:lnTo>
                  <a:lnTo>
                    <a:pt x="858" y="702"/>
                  </a:lnTo>
                  <a:lnTo>
                    <a:pt x="848" y="702"/>
                  </a:lnTo>
                  <a:lnTo>
                    <a:pt x="829" y="692"/>
                  </a:lnTo>
                  <a:lnTo>
                    <a:pt x="819" y="702"/>
                  </a:lnTo>
                  <a:lnTo>
                    <a:pt x="819" y="692"/>
                  </a:lnTo>
                  <a:lnTo>
                    <a:pt x="809" y="683"/>
                  </a:lnTo>
                  <a:lnTo>
                    <a:pt x="800" y="663"/>
                  </a:lnTo>
                  <a:lnTo>
                    <a:pt x="809" y="653"/>
                  </a:lnTo>
                  <a:lnTo>
                    <a:pt x="809" y="634"/>
                  </a:lnTo>
                  <a:lnTo>
                    <a:pt x="819" y="624"/>
                  </a:lnTo>
                  <a:lnTo>
                    <a:pt x="829" y="614"/>
                  </a:lnTo>
                  <a:lnTo>
                    <a:pt x="819" y="605"/>
                  </a:lnTo>
                  <a:lnTo>
                    <a:pt x="839" y="595"/>
                  </a:lnTo>
                  <a:lnTo>
                    <a:pt x="839" y="585"/>
                  </a:lnTo>
                  <a:lnTo>
                    <a:pt x="839" y="575"/>
                  </a:lnTo>
                  <a:lnTo>
                    <a:pt x="829" y="566"/>
                  </a:lnTo>
                  <a:lnTo>
                    <a:pt x="829" y="546"/>
                  </a:lnTo>
                  <a:lnTo>
                    <a:pt x="829" y="527"/>
                  </a:lnTo>
                  <a:lnTo>
                    <a:pt x="819" y="517"/>
                  </a:lnTo>
                  <a:lnTo>
                    <a:pt x="800" y="517"/>
                  </a:lnTo>
                  <a:lnTo>
                    <a:pt x="761" y="507"/>
                  </a:lnTo>
                  <a:lnTo>
                    <a:pt x="741" y="517"/>
                  </a:lnTo>
                  <a:lnTo>
                    <a:pt x="731" y="527"/>
                  </a:lnTo>
                  <a:lnTo>
                    <a:pt x="731" y="536"/>
                  </a:lnTo>
                  <a:lnTo>
                    <a:pt x="712" y="546"/>
                  </a:lnTo>
                  <a:lnTo>
                    <a:pt x="712" y="566"/>
                  </a:lnTo>
                  <a:lnTo>
                    <a:pt x="712" y="575"/>
                  </a:lnTo>
                  <a:lnTo>
                    <a:pt x="712" y="605"/>
                  </a:lnTo>
                  <a:lnTo>
                    <a:pt x="702" y="614"/>
                  </a:lnTo>
                  <a:lnTo>
                    <a:pt x="692" y="634"/>
                  </a:lnTo>
                  <a:lnTo>
                    <a:pt x="673" y="634"/>
                  </a:lnTo>
                  <a:lnTo>
                    <a:pt x="653" y="644"/>
                  </a:lnTo>
                  <a:lnTo>
                    <a:pt x="644" y="673"/>
                  </a:lnTo>
                  <a:lnTo>
                    <a:pt x="634" y="683"/>
                  </a:lnTo>
                  <a:lnTo>
                    <a:pt x="605" y="692"/>
                  </a:lnTo>
                  <a:lnTo>
                    <a:pt x="595" y="702"/>
                  </a:lnTo>
                  <a:lnTo>
                    <a:pt x="566" y="712"/>
                  </a:lnTo>
                  <a:lnTo>
                    <a:pt x="556" y="712"/>
                  </a:lnTo>
                  <a:lnTo>
                    <a:pt x="546" y="722"/>
                  </a:lnTo>
                  <a:lnTo>
                    <a:pt x="536" y="731"/>
                  </a:lnTo>
                  <a:lnTo>
                    <a:pt x="517" y="741"/>
                  </a:lnTo>
                  <a:lnTo>
                    <a:pt x="507" y="731"/>
                  </a:lnTo>
                  <a:lnTo>
                    <a:pt x="497" y="722"/>
                  </a:lnTo>
                  <a:lnTo>
                    <a:pt x="497" y="712"/>
                  </a:lnTo>
                  <a:lnTo>
                    <a:pt x="478" y="712"/>
                  </a:lnTo>
                  <a:lnTo>
                    <a:pt x="458" y="702"/>
                  </a:lnTo>
                  <a:lnTo>
                    <a:pt x="448" y="692"/>
                  </a:lnTo>
                  <a:lnTo>
                    <a:pt x="439" y="692"/>
                  </a:lnTo>
                  <a:lnTo>
                    <a:pt x="429" y="673"/>
                  </a:lnTo>
                  <a:lnTo>
                    <a:pt x="419" y="663"/>
                  </a:lnTo>
                  <a:lnTo>
                    <a:pt x="409" y="653"/>
                  </a:lnTo>
                  <a:lnTo>
                    <a:pt x="409" y="634"/>
                  </a:lnTo>
                  <a:lnTo>
                    <a:pt x="419" y="634"/>
                  </a:lnTo>
                  <a:lnTo>
                    <a:pt x="429" y="634"/>
                  </a:lnTo>
                  <a:lnTo>
                    <a:pt x="429" y="644"/>
                  </a:lnTo>
                  <a:lnTo>
                    <a:pt x="429" y="653"/>
                  </a:lnTo>
                  <a:lnTo>
                    <a:pt x="429" y="66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48" y="663"/>
                  </a:lnTo>
                  <a:lnTo>
                    <a:pt x="448" y="644"/>
                  </a:lnTo>
                  <a:lnTo>
                    <a:pt x="439" y="634"/>
                  </a:lnTo>
                  <a:lnTo>
                    <a:pt x="448" y="634"/>
                  </a:lnTo>
                  <a:lnTo>
                    <a:pt x="458" y="634"/>
                  </a:lnTo>
                  <a:lnTo>
                    <a:pt x="458" y="644"/>
                  </a:lnTo>
                  <a:lnTo>
                    <a:pt x="458" y="663"/>
                  </a:lnTo>
                  <a:lnTo>
                    <a:pt x="468" y="663"/>
                  </a:lnTo>
                  <a:lnTo>
                    <a:pt x="458" y="673"/>
                  </a:lnTo>
                  <a:lnTo>
                    <a:pt x="458" y="683"/>
                  </a:lnTo>
                  <a:lnTo>
                    <a:pt x="468" y="683"/>
                  </a:lnTo>
                  <a:lnTo>
                    <a:pt x="478" y="683"/>
                  </a:lnTo>
                  <a:lnTo>
                    <a:pt x="487" y="683"/>
                  </a:lnTo>
                  <a:lnTo>
                    <a:pt x="497" y="683"/>
                  </a:lnTo>
                  <a:lnTo>
                    <a:pt x="517" y="683"/>
                  </a:lnTo>
                  <a:lnTo>
                    <a:pt x="517" y="673"/>
                  </a:lnTo>
                  <a:lnTo>
                    <a:pt x="517" y="663"/>
                  </a:lnTo>
                  <a:lnTo>
                    <a:pt x="517" y="653"/>
                  </a:lnTo>
                  <a:lnTo>
                    <a:pt x="527" y="653"/>
                  </a:lnTo>
                  <a:lnTo>
                    <a:pt x="536" y="663"/>
                  </a:lnTo>
                  <a:lnTo>
                    <a:pt x="546" y="663"/>
                  </a:lnTo>
                  <a:lnTo>
                    <a:pt x="556" y="653"/>
                  </a:lnTo>
                  <a:lnTo>
                    <a:pt x="556" y="634"/>
                  </a:lnTo>
                  <a:lnTo>
                    <a:pt x="566" y="634"/>
                  </a:lnTo>
                  <a:lnTo>
                    <a:pt x="575" y="634"/>
                  </a:lnTo>
                  <a:lnTo>
                    <a:pt x="566" y="624"/>
                  </a:lnTo>
                  <a:lnTo>
                    <a:pt x="575" y="624"/>
                  </a:lnTo>
                  <a:lnTo>
                    <a:pt x="585" y="624"/>
                  </a:lnTo>
                  <a:lnTo>
                    <a:pt x="595" y="614"/>
                  </a:lnTo>
                  <a:lnTo>
                    <a:pt x="605" y="605"/>
                  </a:lnTo>
                  <a:lnTo>
                    <a:pt x="614" y="605"/>
                  </a:lnTo>
                  <a:lnTo>
                    <a:pt x="624" y="605"/>
                  </a:lnTo>
                  <a:lnTo>
                    <a:pt x="634" y="595"/>
                  </a:lnTo>
                  <a:lnTo>
                    <a:pt x="644" y="585"/>
                  </a:lnTo>
                  <a:lnTo>
                    <a:pt x="644" y="566"/>
                  </a:lnTo>
                  <a:lnTo>
                    <a:pt x="653" y="556"/>
                  </a:lnTo>
                  <a:lnTo>
                    <a:pt x="653" y="546"/>
                  </a:lnTo>
                  <a:lnTo>
                    <a:pt x="673" y="546"/>
                  </a:lnTo>
                  <a:lnTo>
                    <a:pt x="683" y="536"/>
                  </a:lnTo>
                  <a:lnTo>
                    <a:pt x="683" y="527"/>
                  </a:lnTo>
                  <a:lnTo>
                    <a:pt x="683" y="497"/>
                  </a:lnTo>
                  <a:lnTo>
                    <a:pt x="673" y="488"/>
                  </a:lnTo>
                  <a:lnTo>
                    <a:pt x="663" y="478"/>
                  </a:lnTo>
                  <a:lnTo>
                    <a:pt x="663" y="468"/>
                  </a:lnTo>
                  <a:lnTo>
                    <a:pt x="673" y="449"/>
                  </a:lnTo>
                  <a:lnTo>
                    <a:pt x="673" y="439"/>
                  </a:lnTo>
                  <a:lnTo>
                    <a:pt x="683" y="429"/>
                  </a:lnTo>
                  <a:lnTo>
                    <a:pt x="692" y="419"/>
                  </a:lnTo>
                  <a:lnTo>
                    <a:pt x="692" y="409"/>
                  </a:lnTo>
                  <a:lnTo>
                    <a:pt x="702" y="390"/>
                  </a:lnTo>
                  <a:lnTo>
                    <a:pt x="712" y="380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31" y="341"/>
                  </a:lnTo>
                  <a:lnTo>
                    <a:pt x="731" y="322"/>
                  </a:lnTo>
                  <a:lnTo>
                    <a:pt x="741" y="312"/>
                  </a:lnTo>
                  <a:lnTo>
                    <a:pt x="751" y="302"/>
                  </a:lnTo>
                  <a:lnTo>
                    <a:pt x="761" y="292"/>
                  </a:lnTo>
                  <a:lnTo>
                    <a:pt x="761" y="283"/>
                  </a:lnTo>
                  <a:lnTo>
                    <a:pt x="761" y="263"/>
                  </a:lnTo>
                  <a:lnTo>
                    <a:pt x="770" y="253"/>
                  </a:lnTo>
                  <a:lnTo>
                    <a:pt x="770" y="234"/>
                  </a:lnTo>
                  <a:lnTo>
                    <a:pt x="770" y="224"/>
                  </a:lnTo>
                  <a:lnTo>
                    <a:pt x="761" y="214"/>
                  </a:lnTo>
                  <a:lnTo>
                    <a:pt x="761" y="195"/>
                  </a:lnTo>
                  <a:lnTo>
                    <a:pt x="770" y="185"/>
                  </a:lnTo>
                  <a:lnTo>
                    <a:pt x="780" y="185"/>
                  </a:lnTo>
                  <a:lnTo>
                    <a:pt x="790" y="175"/>
                  </a:lnTo>
                  <a:lnTo>
                    <a:pt x="800" y="156"/>
                  </a:lnTo>
                  <a:lnTo>
                    <a:pt x="809" y="146"/>
                  </a:lnTo>
                  <a:lnTo>
                    <a:pt x="829" y="136"/>
                  </a:lnTo>
                  <a:lnTo>
                    <a:pt x="829" y="127"/>
                  </a:lnTo>
                  <a:lnTo>
                    <a:pt x="839" y="127"/>
                  </a:lnTo>
                  <a:lnTo>
                    <a:pt x="839" y="117"/>
                  </a:lnTo>
                  <a:lnTo>
                    <a:pt x="848" y="97"/>
                  </a:lnTo>
                  <a:lnTo>
                    <a:pt x="848" y="88"/>
                  </a:lnTo>
                  <a:lnTo>
                    <a:pt x="848" y="68"/>
                  </a:lnTo>
                  <a:lnTo>
                    <a:pt x="848" y="58"/>
                  </a:lnTo>
                  <a:lnTo>
                    <a:pt x="839" y="58"/>
                  </a:lnTo>
                  <a:lnTo>
                    <a:pt x="829" y="58"/>
                  </a:lnTo>
                  <a:lnTo>
                    <a:pt x="829" y="48"/>
                  </a:lnTo>
                  <a:lnTo>
                    <a:pt x="819" y="39"/>
                  </a:lnTo>
                  <a:lnTo>
                    <a:pt x="800" y="29"/>
                  </a:lnTo>
                  <a:lnTo>
                    <a:pt x="800" y="39"/>
                  </a:lnTo>
                  <a:lnTo>
                    <a:pt x="800" y="29"/>
                  </a:lnTo>
                  <a:lnTo>
                    <a:pt x="780" y="19"/>
                  </a:lnTo>
                  <a:lnTo>
                    <a:pt x="761" y="19"/>
                  </a:lnTo>
                  <a:lnTo>
                    <a:pt x="761" y="9"/>
                  </a:lnTo>
                  <a:lnTo>
                    <a:pt x="761" y="0"/>
                  </a:lnTo>
                  <a:lnTo>
                    <a:pt x="751" y="9"/>
                  </a:lnTo>
                  <a:lnTo>
                    <a:pt x="741" y="19"/>
                  </a:lnTo>
                  <a:lnTo>
                    <a:pt x="722" y="29"/>
                  </a:lnTo>
                  <a:lnTo>
                    <a:pt x="712" y="39"/>
                  </a:lnTo>
                  <a:lnTo>
                    <a:pt x="712" y="48"/>
                  </a:lnTo>
                  <a:lnTo>
                    <a:pt x="702" y="58"/>
                  </a:lnTo>
                  <a:lnTo>
                    <a:pt x="692" y="78"/>
                  </a:lnTo>
                  <a:lnTo>
                    <a:pt x="683" y="78"/>
                  </a:lnTo>
                  <a:lnTo>
                    <a:pt x="673" y="97"/>
                  </a:lnTo>
                  <a:lnTo>
                    <a:pt x="663" y="107"/>
                  </a:lnTo>
                  <a:lnTo>
                    <a:pt x="644" y="117"/>
                  </a:lnTo>
                  <a:lnTo>
                    <a:pt x="624" y="117"/>
                  </a:lnTo>
                  <a:lnTo>
                    <a:pt x="605" y="127"/>
                  </a:lnTo>
                  <a:lnTo>
                    <a:pt x="575" y="136"/>
                  </a:lnTo>
                  <a:lnTo>
                    <a:pt x="566" y="146"/>
                  </a:lnTo>
                  <a:lnTo>
                    <a:pt x="566" y="156"/>
                  </a:lnTo>
                  <a:lnTo>
                    <a:pt x="556" y="156"/>
                  </a:lnTo>
                  <a:lnTo>
                    <a:pt x="556" y="166"/>
                  </a:lnTo>
                  <a:lnTo>
                    <a:pt x="546" y="175"/>
                  </a:lnTo>
                  <a:lnTo>
                    <a:pt x="536" y="175"/>
                  </a:lnTo>
                  <a:lnTo>
                    <a:pt x="556" y="175"/>
                  </a:lnTo>
                  <a:lnTo>
                    <a:pt x="566" y="185"/>
                  </a:lnTo>
                  <a:lnTo>
                    <a:pt x="566" y="195"/>
                  </a:lnTo>
                  <a:lnTo>
                    <a:pt x="556" y="195"/>
                  </a:lnTo>
                  <a:lnTo>
                    <a:pt x="546" y="214"/>
                  </a:lnTo>
                  <a:lnTo>
                    <a:pt x="546" y="224"/>
                  </a:lnTo>
                  <a:lnTo>
                    <a:pt x="546" y="234"/>
                  </a:lnTo>
                  <a:lnTo>
                    <a:pt x="536" y="234"/>
                  </a:lnTo>
                  <a:lnTo>
                    <a:pt x="527" y="244"/>
                  </a:lnTo>
                  <a:lnTo>
                    <a:pt x="527" y="263"/>
                  </a:lnTo>
                  <a:lnTo>
                    <a:pt x="517" y="263"/>
                  </a:lnTo>
                  <a:lnTo>
                    <a:pt x="507" y="263"/>
                  </a:lnTo>
                  <a:lnTo>
                    <a:pt x="497" y="253"/>
                  </a:lnTo>
                  <a:lnTo>
                    <a:pt x="497" y="273"/>
                  </a:lnTo>
                  <a:lnTo>
                    <a:pt x="487" y="283"/>
                  </a:lnTo>
                  <a:lnTo>
                    <a:pt x="478" y="292"/>
                  </a:lnTo>
                  <a:lnTo>
                    <a:pt x="487" y="302"/>
                  </a:lnTo>
                  <a:lnTo>
                    <a:pt x="497" y="292"/>
                  </a:lnTo>
                  <a:lnTo>
                    <a:pt x="497" y="302"/>
                  </a:lnTo>
                  <a:lnTo>
                    <a:pt x="507" y="312"/>
                  </a:lnTo>
                  <a:lnTo>
                    <a:pt x="507" y="322"/>
                  </a:lnTo>
                  <a:lnTo>
                    <a:pt x="517" y="331"/>
                  </a:lnTo>
                  <a:lnTo>
                    <a:pt x="527" y="331"/>
                  </a:lnTo>
                  <a:lnTo>
                    <a:pt x="517" y="341"/>
                  </a:lnTo>
                  <a:lnTo>
                    <a:pt x="507" y="341"/>
                  </a:lnTo>
                  <a:lnTo>
                    <a:pt x="507" y="351"/>
                  </a:lnTo>
                  <a:lnTo>
                    <a:pt x="507" y="370"/>
                  </a:lnTo>
                  <a:lnTo>
                    <a:pt x="507" y="400"/>
                  </a:lnTo>
                  <a:lnTo>
                    <a:pt x="527" y="409"/>
                  </a:lnTo>
                  <a:lnTo>
                    <a:pt x="527" y="419"/>
                  </a:lnTo>
                  <a:lnTo>
                    <a:pt x="507" y="429"/>
                  </a:lnTo>
                  <a:lnTo>
                    <a:pt x="497" y="439"/>
                  </a:lnTo>
                  <a:lnTo>
                    <a:pt x="478" y="449"/>
                  </a:lnTo>
                  <a:lnTo>
                    <a:pt x="478" y="458"/>
                  </a:lnTo>
                  <a:lnTo>
                    <a:pt x="468" y="468"/>
                  </a:lnTo>
                  <a:lnTo>
                    <a:pt x="458" y="468"/>
                  </a:lnTo>
                  <a:lnTo>
                    <a:pt x="468" y="458"/>
                  </a:lnTo>
                  <a:lnTo>
                    <a:pt x="468" y="449"/>
                  </a:lnTo>
                  <a:lnTo>
                    <a:pt x="458" y="439"/>
                  </a:lnTo>
                  <a:lnTo>
                    <a:pt x="448" y="429"/>
                  </a:lnTo>
                  <a:lnTo>
                    <a:pt x="448" y="400"/>
                  </a:lnTo>
                  <a:lnTo>
                    <a:pt x="439" y="390"/>
                  </a:lnTo>
                  <a:lnTo>
                    <a:pt x="439" y="370"/>
                  </a:lnTo>
                  <a:lnTo>
                    <a:pt x="429" y="361"/>
                  </a:lnTo>
                  <a:lnTo>
                    <a:pt x="429" y="351"/>
                  </a:lnTo>
                  <a:lnTo>
                    <a:pt x="419" y="341"/>
                  </a:lnTo>
                  <a:lnTo>
                    <a:pt x="409" y="331"/>
                  </a:lnTo>
                  <a:lnTo>
                    <a:pt x="419" y="32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12"/>
                  </a:lnTo>
                  <a:lnTo>
                    <a:pt x="370" y="302"/>
                  </a:lnTo>
                  <a:lnTo>
                    <a:pt x="361" y="302"/>
                  </a:lnTo>
                  <a:lnTo>
                    <a:pt x="361" y="312"/>
                  </a:lnTo>
                  <a:lnTo>
                    <a:pt x="370" y="331"/>
                  </a:lnTo>
                  <a:lnTo>
                    <a:pt x="370" y="351"/>
                  </a:lnTo>
                  <a:lnTo>
                    <a:pt x="361" y="370"/>
                  </a:lnTo>
                  <a:lnTo>
                    <a:pt x="351" y="380"/>
                  </a:lnTo>
                  <a:lnTo>
                    <a:pt x="341" y="400"/>
                  </a:lnTo>
                  <a:lnTo>
                    <a:pt x="341" y="409"/>
                  </a:lnTo>
                  <a:lnTo>
                    <a:pt x="351" y="429"/>
                  </a:lnTo>
                  <a:lnTo>
                    <a:pt x="361" y="449"/>
                  </a:lnTo>
                  <a:lnTo>
                    <a:pt x="361" y="458"/>
                  </a:lnTo>
                  <a:lnTo>
                    <a:pt x="341" y="468"/>
                  </a:lnTo>
                  <a:lnTo>
                    <a:pt x="331" y="468"/>
                  </a:lnTo>
                  <a:lnTo>
                    <a:pt x="341" y="478"/>
                  </a:lnTo>
                  <a:lnTo>
                    <a:pt x="331" y="488"/>
                  </a:lnTo>
                  <a:lnTo>
                    <a:pt x="302" y="488"/>
                  </a:lnTo>
                  <a:lnTo>
                    <a:pt x="283" y="488"/>
                  </a:lnTo>
                  <a:lnTo>
                    <a:pt x="273" y="497"/>
                  </a:lnTo>
                  <a:lnTo>
                    <a:pt x="253" y="507"/>
                  </a:lnTo>
                  <a:lnTo>
                    <a:pt x="234" y="517"/>
                  </a:lnTo>
                  <a:lnTo>
                    <a:pt x="205" y="517"/>
                  </a:lnTo>
                  <a:lnTo>
                    <a:pt x="185" y="517"/>
                  </a:lnTo>
                  <a:lnTo>
                    <a:pt x="166" y="507"/>
                  </a:lnTo>
                  <a:lnTo>
                    <a:pt x="166" y="527"/>
                  </a:lnTo>
                  <a:lnTo>
                    <a:pt x="146" y="536"/>
                  </a:lnTo>
                  <a:lnTo>
                    <a:pt x="136" y="536"/>
                  </a:lnTo>
                  <a:lnTo>
                    <a:pt x="117" y="546"/>
                  </a:lnTo>
                  <a:lnTo>
                    <a:pt x="107" y="556"/>
                  </a:lnTo>
                  <a:lnTo>
                    <a:pt x="68" y="56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2" name="Freeform 70"/>
            <p:cNvSpPr>
              <a:spLocks/>
            </p:cNvSpPr>
            <p:nvPr/>
          </p:nvSpPr>
          <p:spPr bwMode="auto">
            <a:xfrm>
              <a:off x="6340" y="3854"/>
              <a:ext cx="253" cy="177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1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1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69 w 254"/>
                <a:gd name="T101" fmla="*/ 166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176"/>
                <a:gd name="T155" fmla="*/ 254 w 254"/>
                <a:gd name="T156" fmla="*/ 176 h 1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1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1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  <a:lnTo>
                    <a:pt x="69" y="16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10" name="Group 67"/>
            <p:cNvGrpSpPr>
              <a:grpSpLocks/>
            </p:cNvGrpSpPr>
            <p:nvPr/>
          </p:nvGrpSpPr>
          <p:grpSpPr bwMode="auto">
            <a:xfrm>
              <a:off x="6339" y="3854"/>
              <a:ext cx="254" cy="176"/>
              <a:chOff x="6340" y="3854"/>
              <a:chExt cx="254" cy="176"/>
            </a:xfrm>
          </p:grpSpPr>
          <p:sp>
            <p:nvSpPr>
              <p:cNvPr id="305" name="Freeform 69"/>
              <p:cNvSpPr>
                <a:spLocks/>
              </p:cNvSpPr>
              <p:nvPr/>
            </p:nvSpPr>
            <p:spPr bwMode="auto">
              <a:xfrm>
                <a:off x="6341" y="3854"/>
                <a:ext cx="253" cy="177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69 w 254"/>
                  <a:gd name="T101" fmla="*/ 166 h 1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54"/>
                  <a:gd name="T154" fmla="*/ 0 h 176"/>
                  <a:gd name="T155" fmla="*/ 254 w 254"/>
                  <a:gd name="T156" fmla="*/ 176 h 1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  <a:lnTo>
                      <a:pt x="69" y="166"/>
                    </a:lnTo>
                    <a:close/>
                  </a:path>
                </a:pathLst>
              </a:custGeom>
              <a:solidFill>
                <a:srgbClr val="1F497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6" name="Freeform 68"/>
              <p:cNvSpPr>
                <a:spLocks/>
              </p:cNvSpPr>
              <p:nvPr/>
            </p:nvSpPr>
            <p:spPr bwMode="auto">
              <a:xfrm>
                <a:off x="6341" y="3854"/>
                <a:ext cx="253" cy="177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4"/>
                  <a:gd name="T151" fmla="*/ 0 h 176"/>
                  <a:gd name="T152" fmla="*/ 254 w 254"/>
                  <a:gd name="T153" fmla="*/ 176 h 17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</a:path>
                </a:pathLst>
              </a:custGeom>
              <a:solidFill>
                <a:srgbClr val="DBDBDB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54" name="Freeform 66"/>
            <p:cNvSpPr>
              <a:spLocks/>
            </p:cNvSpPr>
            <p:nvPr/>
          </p:nvSpPr>
          <p:spPr bwMode="auto">
            <a:xfrm>
              <a:off x="5521" y="3767"/>
              <a:ext cx="273" cy="154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0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0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88 w 273"/>
                <a:gd name="T63" fmla="*/ 107 h 1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3"/>
                <a:gd name="T97" fmla="*/ 0 h 156"/>
                <a:gd name="T98" fmla="*/ 273 w 273"/>
                <a:gd name="T99" fmla="*/ 156 h 1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0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  <a:lnTo>
                    <a:pt x="88" y="107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12" name="Group 63"/>
            <p:cNvGrpSpPr>
              <a:grpSpLocks/>
            </p:cNvGrpSpPr>
            <p:nvPr/>
          </p:nvGrpSpPr>
          <p:grpSpPr bwMode="auto">
            <a:xfrm>
              <a:off x="5520" y="3766"/>
              <a:ext cx="273" cy="156"/>
              <a:chOff x="5521" y="3766"/>
              <a:chExt cx="273" cy="156"/>
            </a:xfrm>
          </p:grpSpPr>
          <p:sp>
            <p:nvSpPr>
              <p:cNvPr id="303" name="Freeform 65"/>
              <p:cNvSpPr>
                <a:spLocks/>
              </p:cNvSpPr>
              <p:nvPr/>
            </p:nvSpPr>
            <p:spPr bwMode="auto">
              <a:xfrm>
                <a:off x="5522" y="3767"/>
                <a:ext cx="273" cy="154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88 w 273"/>
                  <a:gd name="T63" fmla="*/ 107 h 15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3"/>
                  <a:gd name="T97" fmla="*/ 0 h 156"/>
                  <a:gd name="T98" fmla="*/ 273 w 273"/>
                  <a:gd name="T99" fmla="*/ 156 h 15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  <a:lnTo>
                      <a:pt x="88" y="107"/>
                    </a:lnTo>
                    <a:close/>
                  </a:path>
                </a:pathLst>
              </a:custGeom>
              <a:solidFill>
                <a:srgbClr val="1F497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4" name="Freeform 64"/>
              <p:cNvSpPr>
                <a:spLocks/>
              </p:cNvSpPr>
              <p:nvPr/>
            </p:nvSpPr>
            <p:spPr bwMode="auto">
              <a:xfrm>
                <a:off x="5522" y="3767"/>
                <a:ext cx="273" cy="154"/>
              </a:xfrm>
              <a:custGeom>
                <a:avLst/>
                <a:gdLst>
                  <a:gd name="T0" fmla="*/ 88 w 273"/>
                  <a:gd name="T1" fmla="*/ 118 h 156"/>
                  <a:gd name="T2" fmla="*/ 107 w 273"/>
                  <a:gd name="T3" fmla="*/ 138 h 156"/>
                  <a:gd name="T4" fmla="*/ 127 w 273"/>
                  <a:gd name="T5" fmla="*/ 109 h 156"/>
                  <a:gd name="T6" fmla="*/ 136 w 273"/>
                  <a:gd name="T7" fmla="*/ 109 h 156"/>
                  <a:gd name="T8" fmla="*/ 136 w 273"/>
                  <a:gd name="T9" fmla="*/ 149 h 156"/>
                  <a:gd name="T10" fmla="*/ 174 w 273"/>
                  <a:gd name="T11" fmla="*/ 178 h 156"/>
                  <a:gd name="T12" fmla="*/ 223 w 273"/>
                  <a:gd name="T13" fmla="*/ 149 h 156"/>
                  <a:gd name="T14" fmla="*/ 223 w 273"/>
                  <a:gd name="T15" fmla="*/ 109 h 156"/>
                  <a:gd name="T16" fmla="*/ 262 w 273"/>
                  <a:gd name="T17" fmla="*/ 79 h 156"/>
                  <a:gd name="T18" fmla="*/ 233 w 273"/>
                  <a:gd name="T19" fmla="*/ 70 h 156"/>
                  <a:gd name="T20" fmla="*/ 223 w 273"/>
                  <a:gd name="T21" fmla="*/ 29 h 156"/>
                  <a:gd name="T22" fmla="*/ 213 w 273"/>
                  <a:gd name="T23" fmla="*/ 29 h 156"/>
                  <a:gd name="T24" fmla="*/ 213 w 273"/>
                  <a:gd name="T25" fmla="*/ 60 h 156"/>
                  <a:gd name="T26" fmla="*/ 194 w 273"/>
                  <a:gd name="T27" fmla="*/ 60 h 156"/>
                  <a:gd name="T28" fmla="*/ 164 w 273"/>
                  <a:gd name="T29" fmla="*/ 79 h 156"/>
                  <a:gd name="T30" fmla="*/ 136 w 273"/>
                  <a:gd name="T31" fmla="*/ 60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60 h 156"/>
                  <a:gd name="T48" fmla="*/ 39 w 273"/>
                  <a:gd name="T49" fmla="*/ 79 h 156"/>
                  <a:gd name="T50" fmla="*/ 19 w 273"/>
                  <a:gd name="T51" fmla="*/ 79 h 156"/>
                  <a:gd name="T52" fmla="*/ 0 w 273"/>
                  <a:gd name="T53" fmla="*/ 89 h 156"/>
                  <a:gd name="T54" fmla="*/ 0 w 273"/>
                  <a:gd name="T55" fmla="*/ 109 h 156"/>
                  <a:gd name="T56" fmla="*/ 29 w 273"/>
                  <a:gd name="T57" fmla="*/ 118 h 156"/>
                  <a:gd name="T58" fmla="*/ 58 w 273"/>
                  <a:gd name="T59" fmla="*/ 109 h 156"/>
                  <a:gd name="T60" fmla="*/ 88 w 273"/>
                  <a:gd name="T61" fmla="*/ 89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3"/>
                  <a:gd name="T94" fmla="*/ 0 h 156"/>
                  <a:gd name="T95" fmla="*/ 273 w 273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</a:path>
                </a:pathLst>
              </a:custGeom>
              <a:solidFill>
                <a:srgbClr val="DBDBDB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56" name="Freeform 62"/>
            <p:cNvSpPr>
              <a:spLocks/>
            </p:cNvSpPr>
            <p:nvPr/>
          </p:nvSpPr>
          <p:spPr bwMode="auto">
            <a:xfrm>
              <a:off x="4511" y="1080"/>
              <a:ext cx="1345" cy="1153"/>
            </a:xfrm>
            <a:custGeom>
              <a:avLst/>
              <a:gdLst>
                <a:gd name="T0" fmla="*/ 1240 w 1346"/>
                <a:gd name="T1" fmla="*/ 537 h 1152"/>
                <a:gd name="T2" fmla="*/ 1357 w 1346"/>
                <a:gd name="T3" fmla="*/ 714 h 1152"/>
                <a:gd name="T4" fmla="*/ 1269 w 1346"/>
                <a:gd name="T5" fmla="*/ 841 h 1152"/>
                <a:gd name="T6" fmla="*/ 1162 w 1346"/>
                <a:gd name="T7" fmla="*/ 928 h 1152"/>
                <a:gd name="T8" fmla="*/ 986 w 1346"/>
                <a:gd name="T9" fmla="*/ 958 h 1152"/>
                <a:gd name="T10" fmla="*/ 879 w 1346"/>
                <a:gd name="T11" fmla="*/ 899 h 1152"/>
                <a:gd name="T12" fmla="*/ 663 w 1346"/>
                <a:gd name="T13" fmla="*/ 958 h 1152"/>
                <a:gd name="T14" fmla="*/ 546 w 1346"/>
                <a:gd name="T15" fmla="*/ 1065 h 1152"/>
                <a:gd name="T16" fmla="*/ 370 w 1346"/>
                <a:gd name="T17" fmla="*/ 1153 h 1152"/>
                <a:gd name="T18" fmla="*/ 205 w 1346"/>
                <a:gd name="T19" fmla="*/ 1075 h 1152"/>
                <a:gd name="T20" fmla="*/ 127 w 1346"/>
                <a:gd name="T21" fmla="*/ 1016 h 1152"/>
                <a:gd name="T22" fmla="*/ 107 w 1346"/>
                <a:gd name="T23" fmla="*/ 919 h 1152"/>
                <a:gd name="T24" fmla="*/ 48 w 1346"/>
                <a:gd name="T25" fmla="*/ 860 h 1152"/>
                <a:gd name="T26" fmla="*/ 29 w 1346"/>
                <a:gd name="T27" fmla="*/ 753 h 1152"/>
                <a:gd name="T28" fmla="*/ 97 w 1346"/>
                <a:gd name="T29" fmla="*/ 655 h 1152"/>
                <a:gd name="T30" fmla="*/ 117 w 1346"/>
                <a:gd name="T31" fmla="*/ 547 h 1152"/>
                <a:gd name="T32" fmla="*/ 136 w 1346"/>
                <a:gd name="T33" fmla="*/ 527 h 1152"/>
                <a:gd name="T34" fmla="*/ 224 w 1346"/>
                <a:gd name="T35" fmla="*/ 606 h 1152"/>
                <a:gd name="T36" fmla="*/ 185 w 1346"/>
                <a:gd name="T37" fmla="*/ 675 h 1152"/>
                <a:gd name="T38" fmla="*/ 205 w 1346"/>
                <a:gd name="T39" fmla="*/ 694 h 1152"/>
                <a:gd name="T40" fmla="*/ 166 w 1346"/>
                <a:gd name="T41" fmla="*/ 792 h 1152"/>
                <a:gd name="T42" fmla="*/ 205 w 1346"/>
                <a:gd name="T43" fmla="*/ 860 h 1152"/>
                <a:gd name="T44" fmla="*/ 205 w 1346"/>
                <a:gd name="T45" fmla="*/ 772 h 1152"/>
                <a:gd name="T46" fmla="*/ 244 w 1346"/>
                <a:gd name="T47" fmla="*/ 645 h 1152"/>
                <a:gd name="T48" fmla="*/ 175 w 1346"/>
                <a:gd name="T49" fmla="*/ 508 h 1152"/>
                <a:gd name="T50" fmla="*/ 195 w 1346"/>
                <a:gd name="T51" fmla="*/ 400 h 1152"/>
                <a:gd name="T52" fmla="*/ 370 w 1346"/>
                <a:gd name="T53" fmla="*/ 400 h 1152"/>
                <a:gd name="T54" fmla="*/ 419 w 1346"/>
                <a:gd name="T55" fmla="*/ 410 h 1152"/>
                <a:gd name="T56" fmla="*/ 419 w 1346"/>
                <a:gd name="T57" fmla="*/ 332 h 1152"/>
                <a:gd name="T58" fmla="*/ 409 w 1346"/>
                <a:gd name="T59" fmla="*/ 303 h 1152"/>
                <a:gd name="T60" fmla="*/ 448 w 1346"/>
                <a:gd name="T61" fmla="*/ 293 h 1152"/>
                <a:gd name="T62" fmla="*/ 478 w 1346"/>
                <a:gd name="T63" fmla="*/ 273 h 1152"/>
                <a:gd name="T64" fmla="*/ 575 w 1346"/>
                <a:gd name="T65" fmla="*/ 225 h 1152"/>
                <a:gd name="T66" fmla="*/ 684 w 1346"/>
                <a:gd name="T67" fmla="*/ 215 h 1152"/>
                <a:gd name="T68" fmla="*/ 663 w 1346"/>
                <a:gd name="T69" fmla="*/ 186 h 1152"/>
                <a:gd name="T70" fmla="*/ 733 w 1346"/>
                <a:gd name="T71" fmla="*/ 186 h 1152"/>
                <a:gd name="T72" fmla="*/ 772 w 1346"/>
                <a:gd name="T73" fmla="*/ 205 h 1152"/>
                <a:gd name="T74" fmla="*/ 850 w 1346"/>
                <a:gd name="T75" fmla="*/ 176 h 1152"/>
                <a:gd name="T76" fmla="*/ 859 w 1346"/>
                <a:gd name="T77" fmla="*/ 147 h 1152"/>
                <a:gd name="T78" fmla="*/ 918 w 1346"/>
                <a:gd name="T79" fmla="*/ 137 h 1152"/>
                <a:gd name="T80" fmla="*/ 908 w 1346"/>
                <a:gd name="T81" fmla="*/ 69 h 1152"/>
                <a:gd name="T82" fmla="*/ 976 w 1346"/>
                <a:gd name="T83" fmla="*/ 0 h 1152"/>
                <a:gd name="T84" fmla="*/ 1035 w 1346"/>
                <a:gd name="T85" fmla="*/ 39 h 1152"/>
                <a:gd name="T86" fmla="*/ 1035 w 1346"/>
                <a:gd name="T87" fmla="*/ 78 h 1152"/>
                <a:gd name="T88" fmla="*/ 1064 w 1346"/>
                <a:gd name="T89" fmla="*/ 137 h 1152"/>
                <a:gd name="T90" fmla="*/ 1142 w 1346"/>
                <a:gd name="T91" fmla="*/ 98 h 1152"/>
                <a:gd name="T92" fmla="*/ 1220 w 1346"/>
                <a:gd name="T93" fmla="*/ 108 h 1152"/>
                <a:gd name="T94" fmla="*/ 1269 w 1346"/>
                <a:gd name="T95" fmla="*/ 156 h 1152"/>
                <a:gd name="T96" fmla="*/ 1298 w 1346"/>
                <a:gd name="T97" fmla="*/ 166 h 1152"/>
                <a:gd name="T98" fmla="*/ 1269 w 1346"/>
                <a:gd name="T99" fmla="*/ 205 h 1152"/>
                <a:gd name="T100" fmla="*/ 1298 w 1346"/>
                <a:gd name="T101" fmla="*/ 273 h 1152"/>
                <a:gd name="T102" fmla="*/ 1210 w 1346"/>
                <a:gd name="T103" fmla="*/ 361 h 1152"/>
                <a:gd name="T104" fmla="*/ 1162 w 1346"/>
                <a:gd name="T105" fmla="*/ 449 h 1152"/>
                <a:gd name="T106" fmla="*/ 1084 w 1346"/>
                <a:gd name="T107" fmla="*/ 527 h 1152"/>
                <a:gd name="T108" fmla="*/ 1132 w 1346"/>
                <a:gd name="T109" fmla="*/ 508 h 1152"/>
                <a:gd name="T110" fmla="*/ 1210 w 1346"/>
                <a:gd name="T111" fmla="*/ 469 h 1152"/>
                <a:gd name="T112" fmla="*/ 1201 w 1346"/>
                <a:gd name="T113" fmla="*/ 430 h 115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46"/>
                <a:gd name="T172" fmla="*/ 0 h 1152"/>
                <a:gd name="T173" fmla="*/ 1346 w 1346"/>
                <a:gd name="T174" fmla="*/ 1152 h 115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46" h="1152">
                  <a:moveTo>
                    <a:pt x="1248" y="410"/>
                  </a:moveTo>
                  <a:lnTo>
                    <a:pt x="1238" y="420"/>
                  </a:lnTo>
                  <a:lnTo>
                    <a:pt x="1238" y="430"/>
                  </a:lnTo>
                  <a:lnTo>
                    <a:pt x="1238" y="439"/>
                  </a:lnTo>
                  <a:lnTo>
                    <a:pt x="1219" y="459"/>
                  </a:lnTo>
                  <a:lnTo>
                    <a:pt x="1209" y="469"/>
                  </a:lnTo>
                  <a:lnTo>
                    <a:pt x="1229" y="488"/>
                  </a:lnTo>
                  <a:lnTo>
                    <a:pt x="1238" y="508"/>
                  </a:lnTo>
                  <a:lnTo>
                    <a:pt x="1229" y="537"/>
                  </a:lnTo>
                  <a:lnTo>
                    <a:pt x="1258" y="556"/>
                  </a:lnTo>
                  <a:lnTo>
                    <a:pt x="1258" y="576"/>
                  </a:lnTo>
                  <a:lnTo>
                    <a:pt x="1268" y="576"/>
                  </a:lnTo>
                  <a:lnTo>
                    <a:pt x="1287" y="595"/>
                  </a:lnTo>
                  <a:lnTo>
                    <a:pt x="1317" y="625"/>
                  </a:lnTo>
                  <a:lnTo>
                    <a:pt x="1317" y="654"/>
                  </a:lnTo>
                  <a:lnTo>
                    <a:pt x="1317" y="673"/>
                  </a:lnTo>
                  <a:lnTo>
                    <a:pt x="1346" y="683"/>
                  </a:lnTo>
                  <a:lnTo>
                    <a:pt x="1346" y="703"/>
                  </a:lnTo>
                  <a:lnTo>
                    <a:pt x="1346" y="712"/>
                  </a:lnTo>
                  <a:lnTo>
                    <a:pt x="1326" y="712"/>
                  </a:lnTo>
                  <a:lnTo>
                    <a:pt x="1307" y="742"/>
                  </a:lnTo>
                  <a:lnTo>
                    <a:pt x="1278" y="771"/>
                  </a:lnTo>
                  <a:lnTo>
                    <a:pt x="1278" y="800"/>
                  </a:lnTo>
                  <a:lnTo>
                    <a:pt x="1258" y="800"/>
                  </a:lnTo>
                  <a:lnTo>
                    <a:pt x="1258" y="820"/>
                  </a:lnTo>
                  <a:lnTo>
                    <a:pt x="1248" y="830"/>
                  </a:lnTo>
                  <a:lnTo>
                    <a:pt x="1258" y="830"/>
                  </a:lnTo>
                  <a:lnTo>
                    <a:pt x="1258" y="849"/>
                  </a:lnTo>
                  <a:lnTo>
                    <a:pt x="1248" y="859"/>
                  </a:lnTo>
                  <a:lnTo>
                    <a:pt x="1238" y="878"/>
                  </a:lnTo>
                  <a:lnTo>
                    <a:pt x="1219" y="878"/>
                  </a:lnTo>
                  <a:lnTo>
                    <a:pt x="1209" y="878"/>
                  </a:lnTo>
                  <a:lnTo>
                    <a:pt x="1199" y="878"/>
                  </a:lnTo>
                  <a:lnTo>
                    <a:pt x="1190" y="888"/>
                  </a:lnTo>
                  <a:lnTo>
                    <a:pt x="1170" y="908"/>
                  </a:lnTo>
                  <a:lnTo>
                    <a:pt x="1151" y="917"/>
                  </a:lnTo>
                  <a:lnTo>
                    <a:pt x="1112" y="917"/>
                  </a:lnTo>
                  <a:lnTo>
                    <a:pt x="1102" y="947"/>
                  </a:lnTo>
                  <a:lnTo>
                    <a:pt x="1082" y="937"/>
                  </a:lnTo>
                  <a:lnTo>
                    <a:pt x="1082" y="927"/>
                  </a:lnTo>
                  <a:lnTo>
                    <a:pt x="1053" y="927"/>
                  </a:lnTo>
                  <a:lnTo>
                    <a:pt x="1053" y="937"/>
                  </a:lnTo>
                  <a:lnTo>
                    <a:pt x="1024" y="956"/>
                  </a:lnTo>
                  <a:lnTo>
                    <a:pt x="1004" y="947"/>
                  </a:lnTo>
                  <a:lnTo>
                    <a:pt x="975" y="947"/>
                  </a:lnTo>
                  <a:lnTo>
                    <a:pt x="956" y="937"/>
                  </a:lnTo>
                  <a:lnTo>
                    <a:pt x="956" y="927"/>
                  </a:lnTo>
                  <a:lnTo>
                    <a:pt x="946" y="917"/>
                  </a:lnTo>
                  <a:lnTo>
                    <a:pt x="926" y="927"/>
                  </a:lnTo>
                  <a:lnTo>
                    <a:pt x="897" y="917"/>
                  </a:lnTo>
                  <a:lnTo>
                    <a:pt x="878" y="927"/>
                  </a:lnTo>
                  <a:lnTo>
                    <a:pt x="868" y="927"/>
                  </a:lnTo>
                  <a:lnTo>
                    <a:pt x="878" y="908"/>
                  </a:lnTo>
                  <a:lnTo>
                    <a:pt x="868" y="888"/>
                  </a:lnTo>
                  <a:lnTo>
                    <a:pt x="848" y="878"/>
                  </a:lnTo>
                  <a:lnTo>
                    <a:pt x="819" y="898"/>
                  </a:lnTo>
                  <a:lnTo>
                    <a:pt x="780" y="888"/>
                  </a:lnTo>
                  <a:lnTo>
                    <a:pt x="770" y="898"/>
                  </a:lnTo>
                  <a:lnTo>
                    <a:pt x="751" y="898"/>
                  </a:lnTo>
                  <a:lnTo>
                    <a:pt x="741" y="908"/>
                  </a:lnTo>
                  <a:lnTo>
                    <a:pt x="722" y="908"/>
                  </a:lnTo>
                  <a:lnTo>
                    <a:pt x="692" y="937"/>
                  </a:lnTo>
                  <a:lnTo>
                    <a:pt x="663" y="947"/>
                  </a:lnTo>
                  <a:lnTo>
                    <a:pt x="653" y="956"/>
                  </a:lnTo>
                  <a:lnTo>
                    <a:pt x="643" y="966"/>
                  </a:lnTo>
                  <a:lnTo>
                    <a:pt x="643" y="995"/>
                  </a:lnTo>
                  <a:lnTo>
                    <a:pt x="624" y="1005"/>
                  </a:lnTo>
                  <a:lnTo>
                    <a:pt x="614" y="1025"/>
                  </a:lnTo>
                  <a:lnTo>
                    <a:pt x="604" y="1044"/>
                  </a:lnTo>
                  <a:lnTo>
                    <a:pt x="565" y="1044"/>
                  </a:lnTo>
                  <a:lnTo>
                    <a:pt x="556" y="1044"/>
                  </a:lnTo>
                  <a:lnTo>
                    <a:pt x="546" y="1054"/>
                  </a:lnTo>
                  <a:lnTo>
                    <a:pt x="546" y="1064"/>
                  </a:lnTo>
                  <a:lnTo>
                    <a:pt x="526" y="1083"/>
                  </a:lnTo>
                  <a:lnTo>
                    <a:pt x="517" y="1093"/>
                  </a:lnTo>
                  <a:lnTo>
                    <a:pt x="507" y="1103"/>
                  </a:lnTo>
                  <a:lnTo>
                    <a:pt x="497" y="1122"/>
                  </a:lnTo>
                  <a:lnTo>
                    <a:pt x="468" y="1142"/>
                  </a:lnTo>
                  <a:lnTo>
                    <a:pt x="419" y="1152"/>
                  </a:lnTo>
                  <a:lnTo>
                    <a:pt x="390" y="1142"/>
                  </a:lnTo>
                  <a:lnTo>
                    <a:pt x="370" y="1142"/>
                  </a:lnTo>
                  <a:lnTo>
                    <a:pt x="361" y="1142"/>
                  </a:lnTo>
                  <a:lnTo>
                    <a:pt x="322" y="1132"/>
                  </a:lnTo>
                  <a:lnTo>
                    <a:pt x="292" y="1122"/>
                  </a:lnTo>
                  <a:lnTo>
                    <a:pt x="263" y="1073"/>
                  </a:lnTo>
                  <a:lnTo>
                    <a:pt x="263" y="1044"/>
                  </a:lnTo>
                  <a:lnTo>
                    <a:pt x="234" y="1044"/>
                  </a:lnTo>
                  <a:lnTo>
                    <a:pt x="214" y="1044"/>
                  </a:lnTo>
                  <a:lnTo>
                    <a:pt x="214" y="1064"/>
                  </a:lnTo>
                  <a:lnTo>
                    <a:pt x="205" y="1064"/>
                  </a:lnTo>
                  <a:lnTo>
                    <a:pt x="205" y="1083"/>
                  </a:lnTo>
                  <a:lnTo>
                    <a:pt x="195" y="1083"/>
                  </a:lnTo>
                  <a:lnTo>
                    <a:pt x="166" y="1083"/>
                  </a:lnTo>
                  <a:lnTo>
                    <a:pt x="166" y="1113"/>
                  </a:lnTo>
                  <a:lnTo>
                    <a:pt x="156" y="1103"/>
                  </a:lnTo>
                  <a:lnTo>
                    <a:pt x="127" y="1044"/>
                  </a:lnTo>
                  <a:lnTo>
                    <a:pt x="127" y="1025"/>
                  </a:lnTo>
                  <a:lnTo>
                    <a:pt x="117" y="1015"/>
                  </a:lnTo>
                  <a:lnTo>
                    <a:pt x="127" y="1005"/>
                  </a:lnTo>
                  <a:lnTo>
                    <a:pt x="117" y="986"/>
                  </a:lnTo>
                  <a:lnTo>
                    <a:pt x="107" y="995"/>
                  </a:lnTo>
                  <a:lnTo>
                    <a:pt x="97" y="956"/>
                  </a:lnTo>
                  <a:lnTo>
                    <a:pt x="97" y="947"/>
                  </a:lnTo>
                  <a:lnTo>
                    <a:pt x="117" y="947"/>
                  </a:lnTo>
                  <a:lnTo>
                    <a:pt x="117" y="937"/>
                  </a:lnTo>
                  <a:lnTo>
                    <a:pt x="117" y="927"/>
                  </a:lnTo>
                  <a:lnTo>
                    <a:pt x="97" y="917"/>
                  </a:lnTo>
                  <a:lnTo>
                    <a:pt x="107" y="908"/>
                  </a:lnTo>
                  <a:lnTo>
                    <a:pt x="117" y="898"/>
                  </a:lnTo>
                  <a:lnTo>
                    <a:pt x="107" y="878"/>
                  </a:lnTo>
                  <a:lnTo>
                    <a:pt x="97" y="878"/>
                  </a:lnTo>
                  <a:lnTo>
                    <a:pt x="117" y="849"/>
                  </a:lnTo>
                  <a:lnTo>
                    <a:pt x="97" y="839"/>
                  </a:lnTo>
                  <a:lnTo>
                    <a:pt x="87" y="849"/>
                  </a:lnTo>
                  <a:lnTo>
                    <a:pt x="78" y="859"/>
                  </a:lnTo>
                  <a:lnTo>
                    <a:pt x="68" y="859"/>
                  </a:lnTo>
                  <a:lnTo>
                    <a:pt x="48" y="849"/>
                  </a:lnTo>
                  <a:lnTo>
                    <a:pt x="29" y="830"/>
                  </a:lnTo>
                  <a:lnTo>
                    <a:pt x="19" y="830"/>
                  </a:lnTo>
                  <a:lnTo>
                    <a:pt x="19" y="820"/>
                  </a:lnTo>
                  <a:lnTo>
                    <a:pt x="19" y="800"/>
                  </a:lnTo>
                  <a:lnTo>
                    <a:pt x="9" y="791"/>
                  </a:lnTo>
                  <a:lnTo>
                    <a:pt x="0" y="781"/>
                  </a:lnTo>
                  <a:lnTo>
                    <a:pt x="0" y="761"/>
                  </a:lnTo>
                  <a:lnTo>
                    <a:pt x="9" y="761"/>
                  </a:lnTo>
                  <a:lnTo>
                    <a:pt x="29" y="742"/>
                  </a:lnTo>
                  <a:lnTo>
                    <a:pt x="39" y="742"/>
                  </a:lnTo>
                  <a:lnTo>
                    <a:pt x="48" y="742"/>
                  </a:lnTo>
                  <a:lnTo>
                    <a:pt x="58" y="732"/>
                  </a:lnTo>
                  <a:lnTo>
                    <a:pt x="87" y="722"/>
                  </a:lnTo>
                  <a:lnTo>
                    <a:pt x="97" y="712"/>
                  </a:lnTo>
                  <a:lnTo>
                    <a:pt x="97" y="673"/>
                  </a:lnTo>
                  <a:lnTo>
                    <a:pt x="107" y="654"/>
                  </a:lnTo>
                  <a:lnTo>
                    <a:pt x="97" y="644"/>
                  </a:lnTo>
                  <a:lnTo>
                    <a:pt x="87" y="634"/>
                  </a:lnTo>
                  <a:lnTo>
                    <a:pt x="68" y="605"/>
                  </a:lnTo>
                  <a:lnTo>
                    <a:pt x="68" y="586"/>
                  </a:lnTo>
                  <a:lnTo>
                    <a:pt x="78" y="576"/>
                  </a:lnTo>
                  <a:lnTo>
                    <a:pt x="87" y="576"/>
                  </a:lnTo>
                  <a:lnTo>
                    <a:pt x="97" y="576"/>
                  </a:lnTo>
                  <a:lnTo>
                    <a:pt x="127" y="547"/>
                  </a:lnTo>
                  <a:lnTo>
                    <a:pt x="117" y="547"/>
                  </a:lnTo>
                  <a:lnTo>
                    <a:pt x="97" y="527"/>
                  </a:lnTo>
                  <a:lnTo>
                    <a:pt x="87" y="517"/>
                  </a:lnTo>
                  <a:lnTo>
                    <a:pt x="78" y="508"/>
                  </a:lnTo>
                  <a:lnTo>
                    <a:pt x="87" y="498"/>
                  </a:lnTo>
                  <a:lnTo>
                    <a:pt x="87" y="488"/>
                  </a:lnTo>
                  <a:lnTo>
                    <a:pt x="107" y="488"/>
                  </a:lnTo>
                  <a:lnTo>
                    <a:pt x="117" y="498"/>
                  </a:lnTo>
                  <a:lnTo>
                    <a:pt x="136" y="517"/>
                  </a:lnTo>
                  <a:lnTo>
                    <a:pt x="136" y="527"/>
                  </a:lnTo>
                  <a:lnTo>
                    <a:pt x="156" y="537"/>
                  </a:lnTo>
                  <a:lnTo>
                    <a:pt x="156" y="547"/>
                  </a:lnTo>
                  <a:lnTo>
                    <a:pt x="156" y="556"/>
                  </a:lnTo>
                  <a:lnTo>
                    <a:pt x="166" y="566"/>
                  </a:lnTo>
                  <a:lnTo>
                    <a:pt x="166" y="586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24" y="595"/>
                  </a:lnTo>
                  <a:lnTo>
                    <a:pt x="234" y="605"/>
                  </a:lnTo>
                  <a:lnTo>
                    <a:pt x="234" y="615"/>
                  </a:lnTo>
                  <a:lnTo>
                    <a:pt x="224" y="625"/>
                  </a:lnTo>
                  <a:lnTo>
                    <a:pt x="214" y="63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85" y="644"/>
                  </a:lnTo>
                  <a:lnTo>
                    <a:pt x="185" y="664"/>
                  </a:lnTo>
                  <a:lnTo>
                    <a:pt x="175" y="673"/>
                  </a:lnTo>
                  <a:lnTo>
                    <a:pt x="166" y="683"/>
                  </a:lnTo>
                  <a:lnTo>
                    <a:pt x="175" y="683"/>
                  </a:lnTo>
                  <a:lnTo>
                    <a:pt x="175" y="703"/>
                  </a:lnTo>
                  <a:lnTo>
                    <a:pt x="166" y="703"/>
                  </a:lnTo>
                  <a:lnTo>
                    <a:pt x="166" y="712"/>
                  </a:lnTo>
                  <a:lnTo>
                    <a:pt x="185" y="703"/>
                  </a:lnTo>
                  <a:lnTo>
                    <a:pt x="185" y="693"/>
                  </a:lnTo>
                  <a:lnTo>
                    <a:pt x="205" y="683"/>
                  </a:lnTo>
                  <a:lnTo>
                    <a:pt x="214" y="693"/>
                  </a:lnTo>
                  <a:lnTo>
                    <a:pt x="214" y="703"/>
                  </a:lnTo>
                  <a:lnTo>
                    <a:pt x="205" y="703"/>
                  </a:lnTo>
                  <a:lnTo>
                    <a:pt x="195" y="712"/>
                  </a:lnTo>
                  <a:lnTo>
                    <a:pt x="185" y="732"/>
                  </a:lnTo>
                  <a:lnTo>
                    <a:pt x="185" y="742"/>
                  </a:lnTo>
                  <a:lnTo>
                    <a:pt x="166" y="761"/>
                  </a:lnTo>
                  <a:lnTo>
                    <a:pt x="166" y="771"/>
                  </a:lnTo>
                  <a:lnTo>
                    <a:pt x="166" y="781"/>
                  </a:lnTo>
                  <a:lnTo>
                    <a:pt x="175" y="771"/>
                  </a:lnTo>
                  <a:lnTo>
                    <a:pt x="175" y="781"/>
                  </a:lnTo>
                  <a:lnTo>
                    <a:pt x="185" y="791"/>
                  </a:lnTo>
                  <a:lnTo>
                    <a:pt x="185" y="820"/>
                  </a:lnTo>
                  <a:lnTo>
                    <a:pt x="205" y="830"/>
                  </a:lnTo>
                  <a:lnTo>
                    <a:pt x="205" y="849"/>
                  </a:lnTo>
                  <a:lnTo>
                    <a:pt x="224" y="849"/>
                  </a:lnTo>
                  <a:lnTo>
                    <a:pt x="214" y="839"/>
                  </a:lnTo>
                  <a:lnTo>
                    <a:pt x="214" y="830"/>
                  </a:lnTo>
                  <a:lnTo>
                    <a:pt x="205" y="810"/>
                  </a:lnTo>
                  <a:lnTo>
                    <a:pt x="195" y="791"/>
                  </a:lnTo>
                  <a:lnTo>
                    <a:pt x="185" y="791"/>
                  </a:lnTo>
                  <a:lnTo>
                    <a:pt x="185" y="771"/>
                  </a:lnTo>
                  <a:lnTo>
                    <a:pt x="185" y="761"/>
                  </a:lnTo>
                  <a:lnTo>
                    <a:pt x="205" y="761"/>
                  </a:lnTo>
                  <a:lnTo>
                    <a:pt x="214" y="752"/>
                  </a:lnTo>
                  <a:lnTo>
                    <a:pt x="214" y="712"/>
                  </a:lnTo>
                  <a:lnTo>
                    <a:pt x="214" y="693"/>
                  </a:lnTo>
                  <a:lnTo>
                    <a:pt x="214" y="683"/>
                  </a:lnTo>
                  <a:lnTo>
                    <a:pt x="214" y="673"/>
                  </a:lnTo>
                  <a:lnTo>
                    <a:pt x="214" y="664"/>
                  </a:lnTo>
                  <a:lnTo>
                    <a:pt x="234" y="644"/>
                  </a:lnTo>
                  <a:lnTo>
                    <a:pt x="234" y="634"/>
                  </a:lnTo>
                  <a:lnTo>
                    <a:pt x="244" y="634"/>
                  </a:lnTo>
                  <a:lnTo>
                    <a:pt x="244" y="625"/>
                  </a:lnTo>
                  <a:lnTo>
                    <a:pt x="244" y="605"/>
                  </a:lnTo>
                  <a:lnTo>
                    <a:pt x="234" y="586"/>
                  </a:lnTo>
                  <a:lnTo>
                    <a:pt x="214" y="576"/>
                  </a:lnTo>
                  <a:lnTo>
                    <a:pt x="214" y="566"/>
                  </a:lnTo>
                  <a:lnTo>
                    <a:pt x="214" y="556"/>
                  </a:lnTo>
                  <a:lnTo>
                    <a:pt x="214" y="547"/>
                  </a:lnTo>
                  <a:lnTo>
                    <a:pt x="195" y="527"/>
                  </a:lnTo>
                  <a:lnTo>
                    <a:pt x="175" y="508"/>
                  </a:lnTo>
                  <a:lnTo>
                    <a:pt x="175" y="488"/>
                  </a:lnTo>
                  <a:lnTo>
                    <a:pt x="175" y="469"/>
                  </a:lnTo>
                  <a:lnTo>
                    <a:pt x="185" y="449"/>
                  </a:lnTo>
                  <a:lnTo>
                    <a:pt x="185" y="439"/>
                  </a:lnTo>
                  <a:lnTo>
                    <a:pt x="185" y="430"/>
                  </a:lnTo>
                  <a:lnTo>
                    <a:pt x="185" y="420"/>
                  </a:lnTo>
                  <a:lnTo>
                    <a:pt x="195" y="420"/>
                  </a:lnTo>
                  <a:lnTo>
                    <a:pt x="185" y="410"/>
                  </a:lnTo>
                  <a:lnTo>
                    <a:pt x="195" y="400"/>
                  </a:lnTo>
                  <a:lnTo>
                    <a:pt x="205" y="391"/>
                  </a:lnTo>
                  <a:lnTo>
                    <a:pt x="214" y="391"/>
                  </a:lnTo>
                  <a:lnTo>
                    <a:pt x="253" y="391"/>
                  </a:lnTo>
                  <a:lnTo>
                    <a:pt x="302" y="391"/>
                  </a:lnTo>
                  <a:lnTo>
                    <a:pt x="341" y="391"/>
                  </a:lnTo>
                  <a:lnTo>
                    <a:pt x="361" y="391"/>
                  </a:lnTo>
                  <a:lnTo>
                    <a:pt x="351" y="410"/>
                  </a:lnTo>
                  <a:lnTo>
                    <a:pt x="361" y="410"/>
                  </a:lnTo>
                  <a:lnTo>
                    <a:pt x="370" y="400"/>
                  </a:lnTo>
                  <a:lnTo>
                    <a:pt x="380" y="391"/>
                  </a:lnTo>
                  <a:lnTo>
                    <a:pt x="390" y="391"/>
                  </a:lnTo>
                  <a:lnTo>
                    <a:pt x="400" y="391"/>
                  </a:lnTo>
                  <a:lnTo>
                    <a:pt x="400" y="400"/>
                  </a:lnTo>
                  <a:lnTo>
                    <a:pt x="409" y="391"/>
                  </a:lnTo>
                  <a:lnTo>
                    <a:pt x="419" y="400"/>
                  </a:lnTo>
                  <a:lnTo>
                    <a:pt x="419" y="410"/>
                  </a:lnTo>
                  <a:lnTo>
                    <a:pt x="419" y="391"/>
                  </a:lnTo>
                  <a:lnTo>
                    <a:pt x="429" y="381"/>
                  </a:lnTo>
                  <a:lnTo>
                    <a:pt x="419" y="371"/>
                  </a:lnTo>
                  <a:lnTo>
                    <a:pt x="419" y="351"/>
                  </a:lnTo>
                  <a:lnTo>
                    <a:pt x="400" y="351"/>
                  </a:lnTo>
                  <a:lnTo>
                    <a:pt x="390" y="351"/>
                  </a:lnTo>
                  <a:lnTo>
                    <a:pt x="400" y="342"/>
                  </a:lnTo>
                  <a:lnTo>
                    <a:pt x="419" y="332"/>
                  </a:lnTo>
                  <a:lnTo>
                    <a:pt x="419" y="342"/>
                  </a:lnTo>
                  <a:lnTo>
                    <a:pt x="429" y="351"/>
                  </a:lnTo>
                  <a:lnTo>
                    <a:pt x="429" y="342"/>
                  </a:lnTo>
                  <a:lnTo>
                    <a:pt x="419" y="33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03"/>
                  </a:lnTo>
                  <a:lnTo>
                    <a:pt x="409" y="303"/>
                  </a:lnTo>
                  <a:lnTo>
                    <a:pt x="409" y="283"/>
                  </a:lnTo>
                  <a:lnTo>
                    <a:pt x="419" y="293"/>
                  </a:lnTo>
                  <a:lnTo>
                    <a:pt x="419" y="303"/>
                  </a:lnTo>
                  <a:lnTo>
                    <a:pt x="419" y="312"/>
                  </a:lnTo>
                  <a:lnTo>
                    <a:pt x="429" y="322"/>
                  </a:lnTo>
                  <a:lnTo>
                    <a:pt x="429" y="303"/>
                  </a:lnTo>
                  <a:lnTo>
                    <a:pt x="439" y="303"/>
                  </a:lnTo>
                  <a:lnTo>
                    <a:pt x="448" y="293"/>
                  </a:lnTo>
                  <a:lnTo>
                    <a:pt x="448" y="283"/>
                  </a:lnTo>
                  <a:lnTo>
                    <a:pt x="458" y="283"/>
                  </a:lnTo>
                  <a:lnTo>
                    <a:pt x="458" y="273"/>
                  </a:lnTo>
                  <a:lnTo>
                    <a:pt x="448" y="273"/>
                  </a:lnTo>
                  <a:lnTo>
                    <a:pt x="448" y="264"/>
                  </a:lnTo>
                  <a:lnTo>
                    <a:pt x="458" y="264"/>
                  </a:lnTo>
                  <a:lnTo>
                    <a:pt x="468" y="264"/>
                  </a:lnTo>
                  <a:lnTo>
                    <a:pt x="478" y="273"/>
                  </a:lnTo>
                  <a:lnTo>
                    <a:pt x="487" y="264"/>
                  </a:lnTo>
                  <a:lnTo>
                    <a:pt x="507" y="244"/>
                  </a:lnTo>
                  <a:lnTo>
                    <a:pt x="507" y="234"/>
                  </a:lnTo>
                  <a:lnTo>
                    <a:pt x="526" y="234"/>
                  </a:lnTo>
                  <a:lnTo>
                    <a:pt x="526" y="244"/>
                  </a:lnTo>
                  <a:lnTo>
                    <a:pt x="546" y="234"/>
                  </a:lnTo>
                  <a:lnTo>
                    <a:pt x="556" y="225"/>
                  </a:lnTo>
                  <a:lnTo>
                    <a:pt x="575" y="215"/>
                  </a:lnTo>
                  <a:lnTo>
                    <a:pt x="575" y="225"/>
                  </a:lnTo>
                  <a:lnTo>
                    <a:pt x="595" y="225"/>
                  </a:lnTo>
                  <a:lnTo>
                    <a:pt x="604" y="215"/>
                  </a:lnTo>
                  <a:lnTo>
                    <a:pt x="624" y="215"/>
                  </a:lnTo>
                  <a:lnTo>
                    <a:pt x="634" y="215"/>
                  </a:lnTo>
                  <a:lnTo>
                    <a:pt x="643" y="215"/>
                  </a:lnTo>
                  <a:lnTo>
                    <a:pt x="653" y="215"/>
                  </a:lnTo>
                  <a:lnTo>
                    <a:pt x="663" y="215"/>
                  </a:lnTo>
                  <a:lnTo>
                    <a:pt x="673" y="215"/>
                  </a:lnTo>
                  <a:lnTo>
                    <a:pt x="673" y="205"/>
                  </a:lnTo>
                  <a:lnTo>
                    <a:pt x="653" y="205"/>
                  </a:lnTo>
                  <a:lnTo>
                    <a:pt x="643" y="205"/>
                  </a:lnTo>
                  <a:lnTo>
                    <a:pt x="643" y="195"/>
                  </a:lnTo>
                  <a:lnTo>
                    <a:pt x="643" y="186"/>
                  </a:lnTo>
                  <a:lnTo>
                    <a:pt x="653" y="176"/>
                  </a:lnTo>
                  <a:lnTo>
                    <a:pt x="663" y="186"/>
                  </a:lnTo>
                  <a:lnTo>
                    <a:pt x="673" y="186"/>
                  </a:lnTo>
                  <a:lnTo>
                    <a:pt x="673" y="176"/>
                  </a:lnTo>
                  <a:lnTo>
                    <a:pt x="683" y="176"/>
                  </a:lnTo>
                  <a:lnTo>
                    <a:pt x="683" y="186"/>
                  </a:lnTo>
                  <a:lnTo>
                    <a:pt x="692" y="186"/>
                  </a:lnTo>
                  <a:lnTo>
                    <a:pt x="702" y="186"/>
                  </a:lnTo>
                  <a:lnTo>
                    <a:pt x="712" y="186"/>
                  </a:lnTo>
                  <a:lnTo>
                    <a:pt x="722" y="186"/>
                  </a:lnTo>
                  <a:lnTo>
                    <a:pt x="731" y="186"/>
                  </a:lnTo>
                  <a:lnTo>
                    <a:pt x="741" y="186"/>
                  </a:lnTo>
                  <a:lnTo>
                    <a:pt x="741" y="195"/>
                  </a:lnTo>
                  <a:lnTo>
                    <a:pt x="731" y="205"/>
                  </a:lnTo>
                  <a:lnTo>
                    <a:pt x="731" y="215"/>
                  </a:lnTo>
                  <a:lnTo>
                    <a:pt x="741" y="205"/>
                  </a:lnTo>
                  <a:lnTo>
                    <a:pt x="751" y="205"/>
                  </a:lnTo>
                  <a:lnTo>
                    <a:pt x="751" y="215"/>
                  </a:lnTo>
                  <a:lnTo>
                    <a:pt x="761" y="205"/>
                  </a:lnTo>
                  <a:lnTo>
                    <a:pt x="770" y="205"/>
                  </a:lnTo>
                  <a:lnTo>
                    <a:pt x="780" y="205"/>
                  </a:lnTo>
                  <a:lnTo>
                    <a:pt x="790" y="205"/>
                  </a:lnTo>
                  <a:lnTo>
                    <a:pt x="790" y="195"/>
                  </a:lnTo>
                  <a:lnTo>
                    <a:pt x="800" y="186"/>
                  </a:lnTo>
                  <a:lnTo>
                    <a:pt x="800" y="176"/>
                  </a:lnTo>
                  <a:lnTo>
                    <a:pt x="809" y="176"/>
                  </a:lnTo>
                  <a:lnTo>
                    <a:pt x="819" y="166"/>
                  </a:lnTo>
                  <a:lnTo>
                    <a:pt x="839" y="176"/>
                  </a:lnTo>
                  <a:lnTo>
                    <a:pt x="848" y="186"/>
                  </a:lnTo>
                  <a:lnTo>
                    <a:pt x="858" y="195"/>
                  </a:lnTo>
                  <a:lnTo>
                    <a:pt x="858" y="176"/>
                  </a:lnTo>
                  <a:lnTo>
                    <a:pt x="839" y="176"/>
                  </a:lnTo>
                  <a:lnTo>
                    <a:pt x="839" y="156"/>
                  </a:lnTo>
                  <a:lnTo>
                    <a:pt x="829" y="156"/>
                  </a:lnTo>
                  <a:lnTo>
                    <a:pt x="829" y="137"/>
                  </a:lnTo>
                  <a:lnTo>
                    <a:pt x="839" y="137"/>
                  </a:lnTo>
                  <a:lnTo>
                    <a:pt x="848" y="147"/>
                  </a:lnTo>
                  <a:lnTo>
                    <a:pt x="868" y="147"/>
                  </a:lnTo>
                  <a:lnTo>
                    <a:pt x="878" y="147"/>
                  </a:lnTo>
                  <a:lnTo>
                    <a:pt x="887" y="137"/>
                  </a:lnTo>
                  <a:lnTo>
                    <a:pt x="897" y="147"/>
                  </a:lnTo>
                  <a:lnTo>
                    <a:pt x="907" y="156"/>
                  </a:lnTo>
                  <a:lnTo>
                    <a:pt x="926" y="156"/>
                  </a:lnTo>
                  <a:lnTo>
                    <a:pt x="917" y="147"/>
                  </a:lnTo>
                  <a:lnTo>
                    <a:pt x="907" y="137"/>
                  </a:lnTo>
                  <a:lnTo>
                    <a:pt x="897" y="137"/>
                  </a:lnTo>
                  <a:lnTo>
                    <a:pt x="897" y="108"/>
                  </a:lnTo>
                  <a:lnTo>
                    <a:pt x="887" y="108"/>
                  </a:lnTo>
                  <a:lnTo>
                    <a:pt x="887" y="98"/>
                  </a:lnTo>
                  <a:lnTo>
                    <a:pt x="887" y="88"/>
                  </a:lnTo>
                  <a:lnTo>
                    <a:pt x="897" y="88"/>
                  </a:lnTo>
                  <a:lnTo>
                    <a:pt x="897" y="78"/>
                  </a:lnTo>
                  <a:lnTo>
                    <a:pt x="897" y="69"/>
                  </a:lnTo>
                  <a:lnTo>
                    <a:pt x="907" y="59"/>
                  </a:lnTo>
                  <a:lnTo>
                    <a:pt x="917" y="39"/>
                  </a:lnTo>
                  <a:lnTo>
                    <a:pt x="926" y="49"/>
                  </a:lnTo>
                  <a:lnTo>
                    <a:pt x="926" y="30"/>
                  </a:lnTo>
                  <a:lnTo>
                    <a:pt x="936" y="20"/>
                  </a:lnTo>
                  <a:lnTo>
                    <a:pt x="946" y="10"/>
                  </a:lnTo>
                  <a:lnTo>
                    <a:pt x="956" y="10"/>
                  </a:lnTo>
                  <a:lnTo>
                    <a:pt x="965" y="10"/>
                  </a:lnTo>
                  <a:lnTo>
                    <a:pt x="965" y="0"/>
                  </a:lnTo>
                  <a:lnTo>
                    <a:pt x="975" y="0"/>
                  </a:lnTo>
                  <a:lnTo>
                    <a:pt x="975" y="10"/>
                  </a:lnTo>
                  <a:lnTo>
                    <a:pt x="995" y="10"/>
                  </a:lnTo>
                  <a:lnTo>
                    <a:pt x="1004" y="20"/>
                  </a:lnTo>
                  <a:lnTo>
                    <a:pt x="1014" y="20"/>
                  </a:lnTo>
                  <a:lnTo>
                    <a:pt x="1024" y="10"/>
                  </a:lnTo>
                  <a:lnTo>
                    <a:pt x="1024" y="30"/>
                  </a:lnTo>
                  <a:lnTo>
                    <a:pt x="1034" y="39"/>
                  </a:lnTo>
                  <a:lnTo>
                    <a:pt x="1024" y="39"/>
                  </a:lnTo>
                  <a:lnTo>
                    <a:pt x="1014" y="49"/>
                  </a:lnTo>
                  <a:lnTo>
                    <a:pt x="1004" y="59"/>
                  </a:lnTo>
                  <a:lnTo>
                    <a:pt x="995" y="59"/>
                  </a:lnTo>
                  <a:lnTo>
                    <a:pt x="985" y="69"/>
                  </a:lnTo>
                  <a:lnTo>
                    <a:pt x="1014" y="69"/>
                  </a:lnTo>
                  <a:lnTo>
                    <a:pt x="1024" y="69"/>
                  </a:lnTo>
                  <a:lnTo>
                    <a:pt x="1014" y="78"/>
                  </a:lnTo>
                  <a:lnTo>
                    <a:pt x="1024" y="78"/>
                  </a:lnTo>
                  <a:lnTo>
                    <a:pt x="1043" y="69"/>
                  </a:lnTo>
                  <a:lnTo>
                    <a:pt x="1053" y="78"/>
                  </a:lnTo>
                  <a:lnTo>
                    <a:pt x="1073" y="78"/>
                  </a:lnTo>
                  <a:lnTo>
                    <a:pt x="1073" y="88"/>
                  </a:lnTo>
                  <a:lnTo>
                    <a:pt x="1063" y="98"/>
                  </a:lnTo>
                  <a:lnTo>
                    <a:pt x="1053" y="108"/>
                  </a:lnTo>
                  <a:lnTo>
                    <a:pt x="1053" y="127"/>
                  </a:lnTo>
                  <a:lnTo>
                    <a:pt x="1053" y="137"/>
                  </a:lnTo>
                  <a:lnTo>
                    <a:pt x="1063" y="127"/>
                  </a:lnTo>
                  <a:lnTo>
                    <a:pt x="1073" y="127"/>
                  </a:lnTo>
                  <a:lnTo>
                    <a:pt x="1092" y="127"/>
                  </a:lnTo>
                  <a:lnTo>
                    <a:pt x="1092" y="117"/>
                  </a:lnTo>
                  <a:lnTo>
                    <a:pt x="1092" y="108"/>
                  </a:lnTo>
                  <a:lnTo>
                    <a:pt x="1102" y="98"/>
                  </a:lnTo>
                  <a:lnTo>
                    <a:pt x="1112" y="98"/>
                  </a:lnTo>
                  <a:lnTo>
                    <a:pt x="1121" y="98"/>
                  </a:lnTo>
                  <a:lnTo>
                    <a:pt x="1131" y="98"/>
                  </a:lnTo>
                  <a:lnTo>
                    <a:pt x="1141" y="98"/>
                  </a:lnTo>
                  <a:lnTo>
                    <a:pt x="1151" y="98"/>
                  </a:lnTo>
                  <a:lnTo>
                    <a:pt x="1160" y="88"/>
                  </a:lnTo>
                  <a:lnTo>
                    <a:pt x="1170" y="88"/>
                  </a:lnTo>
                  <a:lnTo>
                    <a:pt x="1180" y="88"/>
                  </a:lnTo>
                  <a:lnTo>
                    <a:pt x="1190" y="98"/>
                  </a:lnTo>
                  <a:lnTo>
                    <a:pt x="1199" y="98"/>
                  </a:lnTo>
                  <a:lnTo>
                    <a:pt x="1199" y="108"/>
                  </a:lnTo>
                  <a:lnTo>
                    <a:pt x="1209" y="108"/>
                  </a:lnTo>
                  <a:lnTo>
                    <a:pt x="1219" y="117"/>
                  </a:lnTo>
                  <a:lnTo>
                    <a:pt x="1219" y="127"/>
                  </a:lnTo>
                  <a:lnTo>
                    <a:pt x="1238" y="127"/>
                  </a:lnTo>
                  <a:lnTo>
                    <a:pt x="1238" y="137"/>
                  </a:lnTo>
                  <a:lnTo>
                    <a:pt x="1238" y="147"/>
                  </a:lnTo>
                  <a:lnTo>
                    <a:pt x="1248" y="147"/>
                  </a:lnTo>
                  <a:lnTo>
                    <a:pt x="1248" y="156"/>
                  </a:lnTo>
                  <a:lnTo>
                    <a:pt x="1258" y="156"/>
                  </a:lnTo>
                  <a:lnTo>
                    <a:pt x="1258" y="147"/>
                  </a:lnTo>
                  <a:lnTo>
                    <a:pt x="1248" y="137"/>
                  </a:lnTo>
                  <a:lnTo>
                    <a:pt x="1258" y="127"/>
                  </a:lnTo>
                  <a:lnTo>
                    <a:pt x="1258" y="137"/>
                  </a:lnTo>
                  <a:lnTo>
                    <a:pt x="1268" y="147"/>
                  </a:lnTo>
                  <a:lnTo>
                    <a:pt x="1268" y="156"/>
                  </a:lnTo>
                  <a:lnTo>
                    <a:pt x="1278" y="176"/>
                  </a:lnTo>
                  <a:lnTo>
                    <a:pt x="1287" y="166"/>
                  </a:lnTo>
                  <a:lnTo>
                    <a:pt x="1287" y="186"/>
                  </a:lnTo>
                  <a:lnTo>
                    <a:pt x="1287" y="205"/>
                  </a:lnTo>
                  <a:lnTo>
                    <a:pt x="1278" y="205"/>
                  </a:lnTo>
                  <a:lnTo>
                    <a:pt x="1278" y="195"/>
                  </a:lnTo>
                  <a:lnTo>
                    <a:pt x="1258" y="195"/>
                  </a:lnTo>
                  <a:lnTo>
                    <a:pt x="1258" y="186"/>
                  </a:lnTo>
                  <a:lnTo>
                    <a:pt x="1248" y="186"/>
                  </a:lnTo>
                  <a:lnTo>
                    <a:pt x="1248" y="195"/>
                  </a:lnTo>
                  <a:lnTo>
                    <a:pt x="1258" y="205"/>
                  </a:lnTo>
                  <a:lnTo>
                    <a:pt x="1258" y="215"/>
                  </a:lnTo>
                  <a:lnTo>
                    <a:pt x="1268" y="205"/>
                  </a:lnTo>
                  <a:lnTo>
                    <a:pt x="1278" y="215"/>
                  </a:lnTo>
                  <a:lnTo>
                    <a:pt x="1287" y="215"/>
                  </a:lnTo>
                  <a:lnTo>
                    <a:pt x="1297" y="234"/>
                  </a:lnTo>
                  <a:lnTo>
                    <a:pt x="1297" y="244"/>
                  </a:lnTo>
                  <a:lnTo>
                    <a:pt x="1287" y="264"/>
                  </a:lnTo>
                  <a:lnTo>
                    <a:pt x="1287" y="273"/>
                  </a:lnTo>
                  <a:lnTo>
                    <a:pt x="1278" y="283"/>
                  </a:lnTo>
                  <a:lnTo>
                    <a:pt x="1258" y="293"/>
                  </a:lnTo>
                  <a:lnTo>
                    <a:pt x="1258" y="303"/>
                  </a:lnTo>
                  <a:lnTo>
                    <a:pt x="1258" y="322"/>
                  </a:lnTo>
                  <a:lnTo>
                    <a:pt x="1229" y="322"/>
                  </a:lnTo>
                  <a:lnTo>
                    <a:pt x="1229" y="332"/>
                  </a:lnTo>
                  <a:lnTo>
                    <a:pt x="1209" y="342"/>
                  </a:lnTo>
                  <a:lnTo>
                    <a:pt x="1209" y="351"/>
                  </a:lnTo>
                  <a:lnTo>
                    <a:pt x="1199" y="361"/>
                  </a:lnTo>
                  <a:lnTo>
                    <a:pt x="1190" y="361"/>
                  </a:lnTo>
                  <a:lnTo>
                    <a:pt x="1180" y="371"/>
                  </a:lnTo>
                  <a:lnTo>
                    <a:pt x="1199" y="371"/>
                  </a:lnTo>
                  <a:lnTo>
                    <a:pt x="1199" y="381"/>
                  </a:lnTo>
                  <a:lnTo>
                    <a:pt x="1190" y="391"/>
                  </a:lnTo>
                  <a:lnTo>
                    <a:pt x="1170" y="410"/>
                  </a:lnTo>
                  <a:lnTo>
                    <a:pt x="1160" y="420"/>
                  </a:lnTo>
                  <a:lnTo>
                    <a:pt x="1151" y="430"/>
                  </a:lnTo>
                  <a:lnTo>
                    <a:pt x="1151" y="449"/>
                  </a:lnTo>
                  <a:lnTo>
                    <a:pt x="1131" y="449"/>
                  </a:lnTo>
                  <a:lnTo>
                    <a:pt x="1121" y="449"/>
                  </a:lnTo>
                  <a:lnTo>
                    <a:pt x="1112" y="459"/>
                  </a:lnTo>
                  <a:lnTo>
                    <a:pt x="1112" y="469"/>
                  </a:lnTo>
                  <a:lnTo>
                    <a:pt x="1112" y="478"/>
                  </a:lnTo>
                  <a:lnTo>
                    <a:pt x="1102" y="488"/>
                  </a:lnTo>
                  <a:lnTo>
                    <a:pt x="1082" y="488"/>
                  </a:lnTo>
                  <a:lnTo>
                    <a:pt x="1073" y="498"/>
                  </a:lnTo>
                  <a:lnTo>
                    <a:pt x="1073" y="527"/>
                  </a:lnTo>
                  <a:lnTo>
                    <a:pt x="1063" y="537"/>
                  </a:lnTo>
                  <a:lnTo>
                    <a:pt x="1043" y="556"/>
                  </a:lnTo>
                  <a:lnTo>
                    <a:pt x="1063" y="556"/>
                  </a:lnTo>
                  <a:lnTo>
                    <a:pt x="1073" y="556"/>
                  </a:lnTo>
                  <a:lnTo>
                    <a:pt x="1073" y="547"/>
                  </a:lnTo>
                  <a:lnTo>
                    <a:pt x="1082" y="537"/>
                  </a:lnTo>
                  <a:lnTo>
                    <a:pt x="1082" y="517"/>
                  </a:lnTo>
                  <a:lnTo>
                    <a:pt x="1082" y="508"/>
                  </a:lnTo>
                  <a:lnTo>
                    <a:pt x="1121" y="508"/>
                  </a:lnTo>
                  <a:lnTo>
                    <a:pt x="1141" y="508"/>
                  </a:lnTo>
                  <a:lnTo>
                    <a:pt x="1141" y="498"/>
                  </a:lnTo>
                  <a:lnTo>
                    <a:pt x="1151" y="498"/>
                  </a:lnTo>
                  <a:lnTo>
                    <a:pt x="1160" y="488"/>
                  </a:lnTo>
                  <a:lnTo>
                    <a:pt x="1170" y="478"/>
                  </a:lnTo>
                  <a:lnTo>
                    <a:pt x="1180" y="478"/>
                  </a:lnTo>
                  <a:lnTo>
                    <a:pt x="1180" y="459"/>
                  </a:lnTo>
                  <a:lnTo>
                    <a:pt x="1199" y="469"/>
                  </a:lnTo>
                  <a:lnTo>
                    <a:pt x="1209" y="459"/>
                  </a:lnTo>
                  <a:lnTo>
                    <a:pt x="1219" y="449"/>
                  </a:lnTo>
                  <a:lnTo>
                    <a:pt x="1219" y="439"/>
                  </a:lnTo>
                  <a:lnTo>
                    <a:pt x="1229" y="439"/>
                  </a:lnTo>
                  <a:lnTo>
                    <a:pt x="1229" y="420"/>
                  </a:lnTo>
                  <a:lnTo>
                    <a:pt x="1219" y="430"/>
                  </a:lnTo>
                  <a:lnTo>
                    <a:pt x="1209" y="430"/>
                  </a:lnTo>
                  <a:lnTo>
                    <a:pt x="1199" y="439"/>
                  </a:lnTo>
                  <a:lnTo>
                    <a:pt x="1190" y="430"/>
                  </a:lnTo>
                  <a:lnTo>
                    <a:pt x="1190" y="420"/>
                  </a:lnTo>
                  <a:lnTo>
                    <a:pt x="1199" y="410"/>
                  </a:lnTo>
                  <a:lnTo>
                    <a:pt x="1199" y="400"/>
                  </a:lnTo>
                  <a:lnTo>
                    <a:pt x="1209" y="391"/>
                  </a:lnTo>
                  <a:lnTo>
                    <a:pt x="1219" y="400"/>
                  </a:lnTo>
                  <a:lnTo>
                    <a:pt x="1229" y="410"/>
                  </a:lnTo>
                  <a:lnTo>
                    <a:pt x="1238" y="410"/>
                  </a:lnTo>
                  <a:lnTo>
                    <a:pt x="1248" y="410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7" name="Freeform 61"/>
            <p:cNvSpPr>
              <a:spLocks/>
            </p:cNvSpPr>
            <p:nvPr/>
          </p:nvSpPr>
          <p:spPr bwMode="auto">
            <a:xfrm>
              <a:off x="4781" y="1952"/>
              <a:ext cx="1033" cy="1295"/>
            </a:xfrm>
            <a:custGeom>
              <a:avLst/>
              <a:gdLst>
                <a:gd name="T0" fmla="*/ 877 w 1034"/>
                <a:gd name="T1" fmla="*/ 166 h 1298"/>
                <a:gd name="T2" fmla="*/ 868 w 1034"/>
                <a:gd name="T3" fmla="*/ 303 h 1298"/>
                <a:gd name="T4" fmla="*/ 858 w 1034"/>
                <a:gd name="T5" fmla="*/ 342 h 1298"/>
                <a:gd name="T6" fmla="*/ 868 w 1034"/>
                <a:gd name="T7" fmla="*/ 391 h 1298"/>
                <a:gd name="T8" fmla="*/ 897 w 1034"/>
                <a:gd name="T9" fmla="*/ 469 h 1298"/>
                <a:gd name="T10" fmla="*/ 897 w 1034"/>
                <a:gd name="T11" fmla="*/ 527 h 1298"/>
                <a:gd name="T12" fmla="*/ 868 w 1034"/>
                <a:gd name="T13" fmla="*/ 615 h 1298"/>
                <a:gd name="T14" fmla="*/ 916 w 1034"/>
                <a:gd name="T15" fmla="*/ 615 h 1298"/>
                <a:gd name="T16" fmla="*/ 1004 w 1034"/>
                <a:gd name="T17" fmla="*/ 635 h 1298"/>
                <a:gd name="T18" fmla="*/ 1034 w 1034"/>
                <a:gd name="T19" fmla="*/ 653 h 1298"/>
                <a:gd name="T20" fmla="*/ 936 w 1034"/>
                <a:gd name="T21" fmla="*/ 663 h 1298"/>
                <a:gd name="T22" fmla="*/ 926 w 1034"/>
                <a:gd name="T23" fmla="*/ 672 h 1298"/>
                <a:gd name="T24" fmla="*/ 926 w 1034"/>
                <a:gd name="T25" fmla="*/ 721 h 1298"/>
                <a:gd name="T26" fmla="*/ 916 w 1034"/>
                <a:gd name="T27" fmla="*/ 780 h 1298"/>
                <a:gd name="T28" fmla="*/ 936 w 1034"/>
                <a:gd name="T29" fmla="*/ 877 h 1298"/>
                <a:gd name="T30" fmla="*/ 887 w 1034"/>
                <a:gd name="T31" fmla="*/ 955 h 1298"/>
                <a:gd name="T32" fmla="*/ 858 w 1034"/>
                <a:gd name="T33" fmla="*/ 994 h 1298"/>
                <a:gd name="T34" fmla="*/ 848 w 1034"/>
                <a:gd name="T35" fmla="*/ 1033 h 1298"/>
                <a:gd name="T36" fmla="*/ 887 w 1034"/>
                <a:gd name="T37" fmla="*/ 1082 h 1298"/>
                <a:gd name="T38" fmla="*/ 887 w 1034"/>
                <a:gd name="T39" fmla="*/ 1141 h 1298"/>
                <a:gd name="T40" fmla="*/ 897 w 1034"/>
                <a:gd name="T41" fmla="*/ 1189 h 1298"/>
                <a:gd name="T42" fmla="*/ 877 w 1034"/>
                <a:gd name="T43" fmla="*/ 1248 h 1298"/>
                <a:gd name="T44" fmla="*/ 848 w 1034"/>
                <a:gd name="T45" fmla="*/ 1267 h 1298"/>
                <a:gd name="T46" fmla="*/ 770 w 1034"/>
                <a:gd name="T47" fmla="*/ 1228 h 1298"/>
                <a:gd name="T48" fmla="*/ 721 w 1034"/>
                <a:gd name="T49" fmla="*/ 1209 h 1298"/>
                <a:gd name="T50" fmla="*/ 702 w 1034"/>
                <a:gd name="T51" fmla="*/ 1170 h 1298"/>
                <a:gd name="T52" fmla="*/ 604 w 1034"/>
                <a:gd name="T53" fmla="*/ 1150 h 1298"/>
                <a:gd name="T54" fmla="*/ 526 w 1034"/>
                <a:gd name="T55" fmla="*/ 1150 h 1298"/>
                <a:gd name="T56" fmla="*/ 429 w 1034"/>
                <a:gd name="T57" fmla="*/ 1150 h 1298"/>
                <a:gd name="T58" fmla="*/ 351 w 1034"/>
                <a:gd name="T59" fmla="*/ 1160 h 1298"/>
                <a:gd name="T60" fmla="*/ 292 w 1034"/>
                <a:gd name="T61" fmla="*/ 1160 h 1298"/>
                <a:gd name="T62" fmla="*/ 312 w 1034"/>
                <a:gd name="T63" fmla="*/ 1053 h 1298"/>
                <a:gd name="T64" fmla="*/ 273 w 1034"/>
                <a:gd name="T65" fmla="*/ 994 h 1298"/>
                <a:gd name="T66" fmla="*/ 195 w 1034"/>
                <a:gd name="T67" fmla="*/ 975 h 1298"/>
                <a:gd name="T68" fmla="*/ 175 w 1034"/>
                <a:gd name="T69" fmla="*/ 975 h 1298"/>
                <a:gd name="T70" fmla="*/ 146 w 1034"/>
                <a:gd name="T71" fmla="*/ 1004 h 1298"/>
                <a:gd name="T72" fmla="*/ 107 w 1034"/>
                <a:gd name="T73" fmla="*/ 1024 h 1298"/>
                <a:gd name="T74" fmla="*/ 58 w 1034"/>
                <a:gd name="T75" fmla="*/ 975 h 1298"/>
                <a:gd name="T76" fmla="*/ 19 w 1034"/>
                <a:gd name="T77" fmla="*/ 838 h 1298"/>
                <a:gd name="T78" fmla="*/ 136 w 1034"/>
                <a:gd name="T79" fmla="*/ 770 h 1298"/>
                <a:gd name="T80" fmla="*/ 136 w 1034"/>
                <a:gd name="T81" fmla="*/ 692 h 1298"/>
                <a:gd name="T82" fmla="*/ 156 w 1034"/>
                <a:gd name="T83" fmla="*/ 635 h 1298"/>
                <a:gd name="T84" fmla="*/ 107 w 1034"/>
                <a:gd name="T85" fmla="*/ 605 h 1298"/>
                <a:gd name="T86" fmla="*/ 78 w 1034"/>
                <a:gd name="T87" fmla="*/ 596 h 1298"/>
                <a:gd name="T88" fmla="*/ 39 w 1034"/>
                <a:gd name="T89" fmla="*/ 566 h 1298"/>
                <a:gd name="T90" fmla="*/ 19 w 1034"/>
                <a:gd name="T91" fmla="*/ 430 h 1298"/>
                <a:gd name="T92" fmla="*/ 97 w 1034"/>
                <a:gd name="T93" fmla="*/ 361 h 1298"/>
                <a:gd name="T94" fmla="*/ 156 w 1034"/>
                <a:gd name="T95" fmla="*/ 303 h 1298"/>
                <a:gd name="T96" fmla="*/ 214 w 1034"/>
                <a:gd name="T97" fmla="*/ 244 h 1298"/>
                <a:gd name="T98" fmla="*/ 253 w 1034"/>
                <a:gd name="T99" fmla="*/ 186 h 1298"/>
                <a:gd name="T100" fmla="*/ 312 w 1034"/>
                <a:gd name="T101" fmla="*/ 166 h 1298"/>
                <a:gd name="T102" fmla="*/ 360 w 1034"/>
                <a:gd name="T103" fmla="*/ 88 h 1298"/>
                <a:gd name="T104" fmla="*/ 439 w 1034"/>
                <a:gd name="T105" fmla="*/ 30 h 1298"/>
                <a:gd name="T106" fmla="*/ 497 w 1034"/>
                <a:gd name="T107" fmla="*/ 10 h 1298"/>
                <a:gd name="T108" fmla="*/ 595 w 1034"/>
                <a:gd name="T109" fmla="*/ 30 h 1298"/>
                <a:gd name="T110" fmla="*/ 643 w 1034"/>
                <a:gd name="T111" fmla="*/ 49 h 1298"/>
                <a:gd name="T112" fmla="*/ 692 w 1034"/>
                <a:gd name="T113" fmla="*/ 69 h 1298"/>
                <a:gd name="T114" fmla="*/ 760 w 1034"/>
                <a:gd name="T115" fmla="*/ 49 h 1298"/>
                <a:gd name="T116" fmla="*/ 829 w 1034"/>
                <a:gd name="T117" fmla="*/ 39 h 129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34"/>
                <a:gd name="T178" fmla="*/ 0 h 1298"/>
                <a:gd name="T179" fmla="*/ 1034 w 1034"/>
                <a:gd name="T180" fmla="*/ 1298 h 129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34" h="1298">
                  <a:moveTo>
                    <a:pt x="838" y="59"/>
                  </a:moveTo>
                  <a:lnTo>
                    <a:pt x="858" y="69"/>
                  </a:lnTo>
                  <a:lnTo>
                    <a:pt x="868" y="108"/>
                  </a:lnTo>
                  <a:lnTo>
                    <a:pt x="877" y="166"/>
                  </a:lnTo>
                  <a:lnTo>
                    <a:pt x="877" y="225"/>
                  </a:lnTo>
                  <a:lnTo>
                    <a:pt x="887" y="283"/>
                  </a:lnTo>
                  <a:lnTo>
                    <a:pt x="877" y="303"/>
                  </a:lnTo>
                  <a:lnTo>
                    <a:pt x="868" y="303"/>
                  </a:lnTo>
                  <a:lnTo>
                    <a:pt x="858" y="313"/>
                  </a:lnTo>
                  <a:lnTo>
                    <a:pt x="848" y="322"/>
                  </a:lnTo>
                  <a:lnTo>
                    <a:pt x="838" y="342"/>
                  </a:lnTo>
                  <a:lnTo>
                    <a:pt x="858" y="342"/>
                  </a:lnTo>
                  <a:lnTo>
                    <a:pt x="868" y="352"/>
                  </a:lnTo>
                  <a:lnTo>
                    <a:pt x="877" y="371"/>
                  </a:lnTo>
                  <a:lnTo>
                    <a:pt x="868" y="391"/>
                  </a:lnTo>
                  <a:lnTo>
                    <a:pt x="868" y="410"/>
                  </a:lnTo>
                  <a:lnTo>
                    <a:pt x="887" y="420"/>
                  </a:lnTo>
                  <a:lnTo>
                    <a:pt x="897" y="439"/>
                  </a:lnTo>
                  <a:lnTo>
                    <a:pt x="897" y="469"/>
                  </a:lnTo>
                  <a:lnTo>
                    <a:pt x="907" y="488"/>
                  </a:lnTo>
                  <a:lnTo>
                    <a:pt x="916" y="498"/>
                  </a:lnTo>
                  <a:lnTo>
                    <a:pt x="916" y="508"/>
                  </a:lnTo>
                  <a:lnTo>
                    <a:pt x="897" y="527"/>
                  </a:lnTo>
                  <a:lnTo>
                    <a:pt x="877" y="547"/>
                  </a:lnTo>
                  <a:lnTo>
                    <a:pt x="877" y="576"/>
                  </a:lnTo>
                  <a:lnTo>
                    <a:pt x="868" y="596"/>
                  </a:lnTo>
                  <a:lnTo>
                    <a:pt x="868" y="615"/>
                  </a:lnTo>
                  <a:lnTo>
                    <a:pt x="887" y="615"/>
                  </a:lnTo>
                  <a:lnTo>
                    <a:pt x="907" y="625"/>
                  </a:lnTo>
                  <a:lnTo>
                    <a:pt x="907" y="615"/>
                  </a:lnTo>
                  <a:lnTo>
                    <a:pt x="916" y="615"/>
                  </a:lnTo>
                  <a:lnTo>
                    <a:pt x="926" y="625"/>
                  </a:lnTo>
                  <a:lnTo>
                    <a:pt x="955" y="635"/>
                  </a:lnTo>
                  <a:lnTo>
                    <a:pt x="965" y="625"/>
                  </a:lnTo>
                  <a:lnTo>
                    <a:pt x="1004" y="635"/>
                  </a:lnTo>
                  <a:lnTo>
                    <a:pt x="1004" y="625"/>
                  </a:lnTo>
                  <a:lnTo>
                    <a:pt x="1014" y="625"/>
                  </a:lnTo>
                  <a:lnTo>
                    <a:pt x="1024" y="635"/>
                  </a:lnTo>
                  <a:lnTo>
                    <a:pt x="1034" y="664"/>
                  </a:lnTo>
                  <a:lnTo>
                    <a:pt x="985" y="654"/>
                  </a:lnTo>
                  <a:lnTo>
                    <a:pt x="965" y="674"/>
                  </a:lnTo>
                  <a:lnTo>
                    <a:pt x="955" y="674"/>
                  </a:lnTo>
                  <a:lnTo>
                    <a:pt x="936" y="674"/>
                  </a:lnTo>
                  <a:lnTo>
                    <a:pt x="926" y="664"/>
                  </a:lnTo>
                  <a:lnTo>
                    <a:pt x="916" y="664"/>
                  </a:lnTo>
                  <a:lnTo>
                    <a:pt x="916" y="674"/>
                  </a:lnTo>
                  <a:lnTo>
                    <a:pt x="926" y="683"/>
                  </a:lnTo>
                  <a:lnTo>
                    <a:pt x="926" y="713"/>
                  </a:lnTo>
                  <a:lnTo>
                    <a:pt x="946" y="732"/>
                  </a:lnTo>
                  <a:lnTo>
                    <a:pt x="936" y="742"/>
                  </a:lnTo>
                  <a:lnTo>
                    <a:pt x="926" y="732"/>
                  </a:lnTo>
                  <a:lnTo>
                    <a:pt x="926" y="752"/>
                  </a:lnTo>
                  <a:lnTo>
                    <a:pt x="926" y="771"/>
                  </a:lnTo>
                  <a:lnTo>
                    <a:pt x="916" y="781"/>
                  </a:lnTo>
                  <a:lnTo>
                    <a:pt x="916" y="791"/>
                  </a:lnTo>
                  <a:lnTo>
                    <a:pt x="936" y="800"/>
                  </a:lnTo>
                  <a:lnTo>
                    <a:pt x="946" y="830"/>
                  </a:lnTo>
                  <a:lnTo>
                    <a:pt x="936" y="849"/>
                  </a:lnTo>
                  <a:lnTo>
                    <a:pt x="936" y="888"/>
                  </a:lnTo>
                  <a:lnTo>
                    <a:pt x="907" y="908"/>
                  </a:lnTo>
                  <a:lnTo>
                    <a:pt x="907" y="917"/>
                  </a:lnTo>
                  <a:lnTo>
                    <a:pt x="916" y="947"/>
                  </a:lnTo>
                  <a:lnTo>
                    <a:pt x="887" y="966"/>
                  </a:lnTo>
                  <a:lnTo>
                    <a:pt x="868" y="976"/>
                  </a:lnTo>
                  <a:lnTo>
                    <a:pt x="858" y="976"/>
                  </a:lnTo>
                  <a:lnTo>
                    <a:pt x="848" y="986"/>
                  </a:lnTo>
                  <a:lnTo>
                    <a:pt x="858" y="1005"/>
                  </a:lnTo>
                  <a:lnTo>
                    <a:pt x="848" y="1015"/>
                  </a:lnTo>
                  <a:lnTo>
                    <a:pt x="848" y="1035"/>
                  </a:lnTo>
                  <a:lnTo>
                    <a:pt x="848" y="1044"/>
                  </a:lnTo>
                  <a:lnTo>
                    <a:pt x="848" y="1054"/>
                  </a:lnTo>
                  <a:lnTo>
                    <a:pt x="848" y="1074"/>
                  </a:lnTo>
                  <a:lnTo>
                    <a:pt x="868" y="1093"/>
                  </a:lnTo>
                  <a:lnTo>
                    <a:pt x="887" y="1093"/>
                  </a:lnTo>
                  <a:lnTo>
                    <a:pt x="897" y="1103"/>
                  </a:lnTo>
                  <a:lnTo>
                    <a:pt x="907" y="1122"/>
                  </a:lnTo>
                  <a:lnTo>
                    <a:pt x="907" y="1142"/>
                  </a:lnTo>
                  <a:lnTo>
                    <a:pt x="887" y="1152"/>
                  </a:lnTo>
                  <a:lnTo>
                    <a:pt x="868" y="1161"/>
                  </a:lnTo>
                  <a:lnTo>
                    <a:pt x="868" y="1181"/>
                  </a:lnTo>
                  <a:lnTo>
                    <a:pt x="877" y="1181"/>
                  </a:lnTo>
                  <a:lnTo>
                    <a:pt x="897" y="1200"/>
                  </a:lnTo>
                  <a:lnTo>
                    <a:pt x="897" y="1210"/>
                  </a:lnTo>
                  <a:lnTo>
                    <a:pt x="907" y="1220"/>
                  </a:lnTo>
                  <a:lnTo>
                    <a:pt x="907" y="1230"/>
                  </a:lnTo>
                  <a:lnTo>
                    <a:pt x="877" y="1259"/>
                  </a:lnTo>
                  <a:lnTo>
                    <a:pt x="868" y="1269"/>
                  </a:lnTo>
                  <a:lnTo>
                    <a:pt x="877" y="1288"/>
                  </a:lnTo>
                  <a:lnTo>
                    <a:pt x="868" y="1298"/>
                  </a:lnTo>
                  <a:lnTo>
                    <a:pt x="848" y="1278"/>
                  </a:lnTo>
                  <a:lnTo>
                    <a:pt x="819" y="1278"/>
                  </a:lnTo>
                  <a:lnTo>
                    <a:pt x="819" y="1259"/>
                  </a:lnTo>
                  <a:lnTo>
                    <a:pt x="790" y="1259"/>
                  </a:lnTo>
                  <a:lnTo>
                    <a:pt x="770" y="1239"/>
                  </a:lnTo>
                  <a:lnTo>
                    <a:pt x="760" y="1259"/>
                  </a:lnTo>
                  <a:lnTo>
                    <a:pt x="741" y="1269"/>
                  </a:lnTo>
                  <a:lnTo>
                    <a:pt x="721" y="1220"/>
                  </a:lnTo>
                  <a:lnTo>
                    <a:pt x="731" y="1200"/>
                  </a:lnTo>
                  <a:lnTo>
                    <a:pt x="731" y="1181"/>
                  </a:lnTo>
                  <a:lnTo>
                    <a:pt x="721" y="1171"/>
                  </a:lnTo>
                  <a:lnTo>
                    <a:pt x="702" y="1181"/>
                  </a:lnTo>
                  <a:lnTo>
                    <a:pt x="692" y="1171"/>
                  </a:lnTo>
                  <a:lnTo>
                    <a:pt x="663" y="1161"/>
                  </a:lnTo>
                  <a:lnTo>
                    <a:pt x="634" y="1161"/>
                  </a:lnTo>
                  <a:lnTo>
                    <a:pt x="604" y="1161"/>
                  </a:lnTo>
                  <a:lnTo>
                    <a:pt x="565" y="1132"/>
                  </a:lnTo>
                  <a:lnTo>
                    <a:pt x="556" y="1132"/>
                  </a:lnTo>
                  <a:lnTo>
                    <a:pt x="546" y="1152"/>
                  </a:lnTo>
                  <a:lnTo>
                    <a:pt x="526" y="1161"/>
                  </a:lnTo>
                  <a:lnTo>
                    <a:pt x="497" y="1161"/>
                  </a:lnTo>
                  <a:lnTo>
                    <a:pt x="468" y="1161"/>
                  </a:lnTo>
                  <a:lnTo>
                    <a:pt x="448" y="1161"/>
                  </a:lnTo>
                  <a:lnTo>
                    <a:pt x="429" y="1161"/>
                  </a:lnTo>
                  <a:lnTo>
                    <a:pt x="419" y="1171"/>
                  </a:lnTo>
                  <a:lnTo>
                    <a:pt x="400" y="1181"/>
                  </a:lnTo>
                  <a:lnTo>
                    <a:pt x="351" y="1181"/>
                  </a:lnTo>
                  <a:lnTo>
                    <a:pt x="351" y="1171"/>
                  </a:lnTo>
                  <a:lnTo>
                    <a:pt x="331" y="1171"/>
                  </a:lnTo>
                  <a:lnTo>
                    <a:pt x="321" y="1181"/>
                  </a:lnTo>
                  <a:lnTo>
                    <a:pt x="312" y="1161"/>
                  </a:lnTo>
                  <a:lnTo>
                    <a:pt x="292" y="1171"/>
                  </a:lnTo>
                  <a:lnTo>
                    <a:pt x="292" y="1161"/>
                  </a:lnTo>
                  <a:lnTo>
                    <a:pt x="292" y="1103"/>
                  </a:lnTo>
                  <a:lnTo>
                    <a:pt x="302" y="1093"/>
                  </a:lnTo>
                  <a:lnTo>
                    <a:pt x="312" y="1064"/>
                  </a:lnTo>
                  <a:lnTo>
                    <a:pt x="312" y="1044"/>
                  </a:lnTo>
                  <a:lnTo>
                    <a:pt x="302" y="1025"/>
                  </a:lnTo>
                  <a:lnTo>
                    <a:pt x="282" y="1015"/>
                  </a:lnTo>
                  <a:lnTo>
                    <a:pt x="273" y="1005"/>
                  </a:lnTo>
                  <a:lnTo>
                    <a:pt x="243" y="1005"/>
                  </a:lnTo>
                  <a:lnTo>
                    <a:pt x="214" y="996"/>
                  </a:lnTo>
                  <a:lnTo>
                    <a:pt x="195" y="996"/>
                  </a:lnTo>
                  <a:lnTo>
                    <a:pt x="195" y="986"/>
                  </a:lnTo>
                  <a:lnTo>
                    <a:pt x="204" y="966"/>
                  </a:lnTo>
                  <a:lnTo>
                    <a:pt x="185" y="966"/>
                  </a:lnTo>
                  <a:lnTo>
                    <a:pt x="175" y="976"/>
                  </a:lnTo>
                  <a:lnTo>
                    <a:pt x="175" y="986"/>
                  </a:lnTo>
                  <a:lnTo>
                    <a:pt x="165" y="996"/>
                  </a:lnTo>
                  <a:lnTo>
                    <a:pt x="156" y="996"/>
                  </a:lnTo>
                  <a:lnTo>
                    <a:pt x="156" y="1005"/>
                  </a:lnTo>
                  <a:lnTo>
                    <a:pt x="146" y="1015"/>
                  </a:lnTo>
                  <a:lnTo>
                    <a:pt x="146" y="1005"/>
                  </a:lnTo>
                  <a:lnTo>
                    <a:pt x="126" y="1015"/>
                  </a:lnTo>
                  <a:lnTo>
                    <a:pt x="117" y="1025"/>
                  </a:lnTo>
                  <a:lnTo>
                    <a:pt x="107" y="1035"/>
                  </a:lnTo>
                  <a:lnTo>
                    <a:pt x="87" y="1035"/>
                  </a:lnTo>
                  <a:lnTo>
                    <a:pt x="87" y="1025"/>
                  </a:lnTo>
                  <a:lnTo>
                    <a:pt x="78" y="1005"/>
                  </a:lnTo>
                  <a:lnTo>
                    <a:pt x="58" y="986"/>
                  </a:lnTo>
                  <a:lnTo>
                    <a:pt x="39" y="947"/>
                  </a:lnTo>
                  <a:lnTo>
                    <a:pt x="58" y="917"/>
                  </a:lnTo>
                  <a:lnTo>
                    <a:pt x="58" y="888"/>
                  </a:lnTo>
                  <a:lnTo>
                    <a:pt x="19" y="849"/>
                  </a:lnTo>
                  <a:lnTo>
                    <a:pt x="78" y="830"/>
                  </a:lnTo>
                  <a:lnTo>
                    <a:pt x="87" y="810"/>
                  </a:lnTo>
                  <a:lnTo>
                    <a:pt x="107" y="791"/>
                  </a:lnTo>
                  <a:lnTo>
                    <a:pt x="136" y="781"/>
                  </a:lnTo>
                  <a:lnTo>
                    <a:pt x="146" y="742"/>
                  </a:lnTo>
                  <a:lnTo>
                    <a:pt x="146" y="722"/>
                  </a:lnTo>
                  <a:lnTo>
                    <a:pt x="136" y="722"/>
                  </a:lnTo>
                  <a:lnTo>
                    <a:pt x="136" y="703"/>
                  </a:lnTo>
                  <a:lnTo>
                    <a:pt x="156" y="693"/>
                  </a:lnTo>
                  <a:lnTo>
                    <a:pt x="165" y="674"/>
                  </a:lnTo>
                  <a:lnTo>
                    <a:pt x="165" y="654"/>
                  </a:lnTo>
                  <a:lnTo>
                    <a:pt x="156" y="635"/>
                  </a:lnTo>
                  <a:lnTo>
                    <a:pt x="146" y="615"/>
                  </a:lnTo>
                  <a:lnTo>
                    <a:pt x="126" y="615"/>
                  </a:lnTo>
                  <a:lnTo>
                    <a:pt x="117" y="615"/>
                  </a:lnTo>
                  <a:lnTo>
                    <a:pt x="107" y="605"/>
                  </a:lnTo>
                  <a:lnTo>
                    <a:pt x="107" y="586"/>
                  </a:lnTo>
                  <a:lnTo>
                    <a:pt x="97" y="576"/>
                  </a:lnTo>
                  <a:lnTo>
                    <a:pt x="87" y="596"/>
                  </a:lnTo>
                  <a:lnTo>
                    <a:pt x="78" y="596"/>
                  </a:lnTo>
                  <a:lnTo>
                    <a:pt x="78" y="586"/>
                  </a:lnTo>
                  <a:lnTo>
                    <a:pt x="78" y="576"/>
                  </a:lnTo>
                  <a:lnTo>
                    <a:pt x="68" y="576"/>
                  </a:lnTo>
                  <a:lnTo>
                    <a:pt x="39" y="566"/>
                  </a:lnTo>
                  <a:lnTo>
                    <a:pt x="19" y="556"/>
                  </a:lnTo>
                  <a:lnTo>
                    <a:pt x="39" y="478"/>
                  </a:lnTo>
                  <a:lnTo>
                    <a:pt x="0" y="469"/>
                  </a:lnTo>
                  <a:lnTo>
                    <a:pt x="19" y="430"/>
                  </a:lnTo>
                  <a:lnTo>
                    <a:pt x="48" y="420"/>
                  </a:lnTo>
                  <a:lnTo>
                    <a:pt x="58" y="381"/>
                  </a:lnTo>
                  <a:lnTo>
                    <a:pt x="68" y="371"/>
                  </a:lnTo>
                  <a:lnTo>
                    <a:pt x="97" y="361"/>
                  </a:lnTo>
                  <a:lnTo>
                    <a:pt x="107" y="352"/>
                  </a:lnTo>
                  <a:lnTo>
                    <a:pt x="126" y="332"/>
                  </a:lnTo>
                  <a:lnTo>
                    <a:pt x="146" y="313"/>
                  </a:lnTo>
                  <a:lnTo>
                    <a:pt x="156" y="303"/>
                  </a:lnTo>
                  <a:lnTo>
                    <a:pt x="165" y="283"/>
                  </a:lnTo>
                  <a:lnTo>
                    <a:pt x="175" y="264"/>
                  </a:lnTo>
                  <a:lnTo>
                    <a:pt x="185" y="264"/>
                  </a:lnTo>
                  <a:lnTo>
                    <a:pt x="214" y="244"/>
                  </a:lnTo>
                  <a:lnTo>
                    <a:pt x="224" y="225"/>
                  </a:lnTo>
                  <a:lnTo>
                    <a:pt x="234" y="215"/>
                  </a:lnTo>
                  <a:lnTo>
                    <a:pt x="243" y="205"/>
                  </a:lnTo>
                  <a:lnTo>
                    <a:pt x="253" y="186"/>
                  </a:lnTo>
                  <a:lnTo>
                    <a:pt x="263" y="176"/>
                  </a:lnTo>
                  <a:lnTo>
                    <a:pt x="273" y="166"/>
                  </a:lnTo>
                  <a:lnTo>
                    <a:pt x="282" y="166"/>
                  </a:lnTo>
                  <a:lnTo>
                    <a:pt x="312" y="166"/>
                  </a:lnTo>
                  <a:lnTo>
                    <a:pt x="331" y="147"/>
                  </a:lnTo>
                  <a:lnTo>
                    <a:pt x="341" y="127"/>
                  </a:lnTo>
                  <a:lnTo>
                    <a:pt x="360" y="117"/>
                  </a:lnTo>
                  <a:lnTo>
                    <a:pt x="360" y="88"/>
                  </a:lnTo>
                  <a:lnTo>
                    <a:pt x="370" y="69"/>
                  </a:lnTo>
                  <a:lnTo>
                    <a:pt x="380" y="69"/>
                  </a:lnTo>
                  <a:lnTo>
                    <a:pt x="409" y="59"/>
                  </a:lnTo>
                  <a:lnTo>
                    <a:pt x="439" y="30"/>
                  </a:lnTo>
                  <a:lnTo>
                    <a:pt x="458" y="30"/>
                  </a:lnTo>
                  <a:lnTo>
                    <a:pt x="468" y="20"/>
                  </a:lnTo>
                  <a:lnTo>
                    <a:pt x="487" y="20"/>
                  </a:lnTo>
                  <a:lnTo>
                    <a:pt x="497" y="10"/>
                  </a:lnTo>
                  <a:lnTo>
                    <a:pt x="536" y="20"/>
                  </a:lnTo>
                  <a:lnTo>
                    <a:pt x="565" y="0"/>
                  </a:lnTo>
                  <a:lnTo>
                    <a:pt x="575" y="10"/>
                  </a:lnTo>
                  <a:lnTo>
                    <a:pt x="595" y="30"/>
                  </a:lnTo>
                  <a:lnTo>
                    <a:pt x="585" y="49"/>
                  </a:lnTo>
                  <a:lnTo>
                    <a:pt x="595" y="49"/>
                  </a:lnTo>
                  <a:lnTo>
                    <a:pt x="604" y="39"/>
                  </a:lnTo>
                  <a:lnTo>
                    <a:pt x="643" y="49"/>
                  </a:lnTo>
                  <a:lnTo>
                    <a:pt x="663" y="39"/>
                  </a:lnTo>
                  <a:lnTo>
                    <a:pt x="673" y="49"/>
                  </a:lnTo>
                  <a:lnTo>
                    <a:pt x="673" y="59"/>
                  </a:lnTo>
                  <a:lnTo>
                    <a:pt x="692" y="69"/>
                  </a:lnTo>
                  <a:lnTo>
                    <a:pt x="721" y="69"/>
                  </a:lnTo>
                  <a:lnTo>
                    <a:pt x="741" y="78"/>
                  </a:lnTo>
                  <a:lnTo>
                    <a:pt x="760" y="59"/>
                  </a:lnTo>
                  <a:lnTo>
                    <a:pt x="760" y="49"/>
                  </a:lnTo>
                  <a:lnTo>
                    <a:pt x="799" y="49"/>
                  </a:lnTo>
                  <a:lnTo>
                    <a:pt x="799" y="59"/>
                  </a:lnTo>
                  <a:lnTo>
                    <a:pt x="809" y="69"/>
                  </a:lnTo>
                  <a:lnTo>
                    <a:pt x="829" y="39"/>
                  </a:lnTo>
                  <a:lnTo>
                    <a:pt x="848" y="39"/>
                  </a:lnTo>
                  <a:lnTo>
                    <a:pt x="838" y="59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8" name="Freeform 60"/>
            <p:cNvSpPr>
              <a:spLocks/>
            </p:cNvSpPr>
            <p:nvPr/>
          </p:nvSpPr>
          <p:spPr bwMode="auto">
            <a:xfrm>
              <a:off x="7676" y="3717"/>
              <a:ext cx="321" cy="224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87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2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9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2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2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9 h 225"/>
                <a:gd name="T66" fmla="*/ 292 w 321"/>
                <a:gd name="T67" fmla="*/ 39 h 225"/>
                <a:gd name="T68" fmla="*/ 273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86 h 225"/>
                <a:gd name="T84" fmla="*/ 146 w 321"/>
                <a:gd name="T85" fmla="*/ 205 h 225"/>
                <a:gd name="T86" fmla="*/ 12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05 h 225"/>
                <a:gd name="T96" fmla="*/ 58 w 321"/>
                <a:gd name="T97" fmla="*/ 20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87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2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9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2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2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9"/>
                  </a:lnTo>
                  <a:lnTo>
                    <a:pt x="273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86"/>
                  </a:lnTo>
                  <a:lnTo>
                    <a:pt x="146" y="205"/>
                  </a:lnTo>
                  <a:lnTo>
                    <a:pt x="12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16" name="Group 57"/>
            <p:cNvGrpSpPr>
              <a:grpSpLocks/>
            </p:cNvGrpSpPr>
            <p:nvPr/>
          </p:nvGrpSpPr>
          <p:grpSpPr bwMode="auto">
            <a:xfrm>
              <a:off x="7676" y="3717"/>
              <a:ext cx="321" cy="225"/>
              <a:chOff x="7677" y="3717"/>
              <a:chExt cx="321" cy="225"/>
            </a:xfrm>
          </p:grpSpPr>
          <p:sp>
            <p:nvSpPr>
              <p:cNvPr id="301" name="Freeform 59"/>
              <p:cNvSpPr>
                <a:spLocks/>
              </p:cNvSpPr>
              <p:nvPr/>
            </p:nvSpPr>
            <p:spPr bwMode="auto">
              <a:xfrm>
                <a:off x="7677" y="3717"/>
                <a:ext cx="321" cy="224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2" name="Freeform 58"/>
              <p:cNvSpPr>
                <a:spLocks/>
              </p:cNvSpPr>
              <p:nvPr/>
            </p:nvSpPr>
            <p:spPr bwMode="auto">
              <a:xfrm>
                <a:off x="7677" y="3717"/>
                <a:ext cx="321" cy="224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60" name="Freeform 56"/>
            <p:cNvSpPr>
              <a:spLocks/>
            </p:cNvSpPr>
            <p:nvPr/>
          </p:nvSpPr>
          <p:spPr bwMode="auto">
            <a:xfrm>
              <a:off x="8084" y="889"/>
              <a:ext cx="703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56 h 1307"/>
                <a:gd name="T4" fmla="*/ 273 w 703"/>
                <a:gd name="T5" fmla="*/ 127 h 1307"/>
                <a:gd name="T6" fmla="*/ 342 w 703"/>
                <a:gd name="T7" fmla="*/ 224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24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2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15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7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24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5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24"/>
                  </a:lnTo>
                  <a:lnTo>
                    <a:pt x="342" y="224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2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3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1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22"/>
                  </a:lnTo>
                  <a:lnTo>
                    <a:pt x="654" y="322"/>
                  </a:lnTo>
                  <a:lnTo>
                    <a:pt x="644" y="322"/>
                  </a:lnTo>
                  <a:lnTo>
                    <a:pt x="625" y="322"/>
                  </a:lnTo>
                  <a:lnTo>
                    <a:pt x="615" y="332"/>
                  </a:lnTo>
                  <a:lnTo>
                    <a:pt x="605" y="32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66" y="45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1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66" y="751"/>
                  </a:lnTo>
                  <a:lnTo>
                    <a:pt x="56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15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093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0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71"/>
                  </a:lnTo>
                  <a:lnTo>
                    <a:pt x="46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093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49" y="1024"/>
                  </a:lnTo>
                  <a:lnTo>
                    <a:pt x="459" y="1015"/>
                  </a:lnTo>
                  <a:lnTo>
                    <a:pt x="449" y="995"/>
                  </a:lnTo>
                  <a:lnTo>
                    <a:pt x="449" y="985"/>
                  </a:lnTo>
                  <a:lnTo>
                    <a:pt x="449" y="946"/>
                  </a:lnTo>
                  <a:lnTo>
                    <a:pt x="459" y="937"/>
                  </a:lnTo>
                  <a:lnTo>
                    <a:pt x="449" y="927"/>
                  </a:lnTo>
                  <a:lnTo>
                    <a:pt x="44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20" y="810"/>
                  </a:lnTo>
                  <a:lnTo>
                    <a:pt x="42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73"/>
                  </a:lnTo>
                  <a:lnTo>
                    <a:pt x="371" y="654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5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5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36"/>
                  </a:lnTo>
                  <a:lnTo>
                    <a:pt x="254" y="53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5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  <a:lnTo>
                    <a:pt x="49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18" name="Group 53"/>
            <p:cNvGrpSpPr>
              <a:grpSpLocks/>
            </p:cNvGrpSpPr>
            <p:nvPr/>
          </p:nvGrpSpPr>
          <p:grpSpPr bwMode="auto">
            <a:xfrm>
              <a:off x="8085" y="888"/>
              <a:ext cx="703" cy="1307"/>
              <a:chOff x="8086" y="888"/>
              <a:chExt cx="703" cy="1307"/>
            </a:xfrm>
          </p:grpSpPr>
          <p:sp>
            <p:nvSpPr>
              <p:cNvPr id="299" name="Freeform 55"/>
              <p:cNvSpPr>
                <a:spLocks/>
              </p:cNvSpPr>
              <p:nvPr/>
            </p:nvSpPr>
            <p:spPr bwMode="auto">
              <a:xfrm>
                <a:off x="8085" y="889"/>
                <a:ext cx="703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  <a:lnTo>
                      <a:pt x="49" y="244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0" name="Freeform 54"/>
              <p:cNvSpPr>
                <a:spLocks/>
              </p:cNvSpPr>
              <p:nvPr/>
            </p:nvSpPr>
            <p:spPr bwMode="auto">
              <a:xfrm>
                <a:off x="8085" y="889"/>
                <a:ext cx="703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62" name="Freeform 52"/>
            <p:cNvSpPr>
              <a:spLocks/>
            </p:cNvSpPr>
            <p:nvPr/>
          </p:nvSpPr>
          <p:spPr bwMode="auto">
            <a:xfrm>
              <a:off x="7606" y="0"/>
              <a:ext cx="1151" cy="1298"/>
            </a:xfrm>
            <a:custGeom>
              <a:avLst/>
              <a:gdLst>
                <a:gd name="T0" fmla="*/ 59 w 1151"/>
                <a:gd name="T1" fmla="*/ 849 h 1298"/>
                <a:gd name="T2" fmla="*/ 117 w 1151"/>
                <a:gd name="T3" fmla="*/ 732 h 1298"/>
                <a:gd name="T4" fmla="*/ 215 w 1151"/>
                <a:gd name="T5" fmla="*/ 722 h 1298"/>
                <a:gd name="T6" fmla="*/ 264 w 1151"/>
                <a:gd name="T7" fmla="*/ 683 h 1298"/>
                <a:gd name="T8" fmla="*/ 195 w 1151"/>
                <a:gd name="T9" fmla="*/ 644 h 1298"/>
                <a:gd name="T10" fmla="*/ 137 w 1151"/>
                <a:gd name="T11" fmla="*/ 624 h 1298"/>
                <a:gd name="T12" fmla="*/ 186 w 1151"/>
                <a:gd name="T13" fmla="*/ 566 h 1298"/>
                <a:gd name="T14" fmla="*/ 234 w 1151"/>
                <a:gd name="T15" fmla="*/ 527 h 1298"/>
                <a:gd name="T16" fmla="*/ 273 w 1151"/>
                <a:gd name="T17" fmla="*/ 439 h 1298"/>
                <a:gd name="T18" fmla="*/ 351 w 1151"/>
                <a:gd name="T19" fmla="*/ 390 h 1298"/>
                <a:gd name="T20" fmla="*/ 400 w 1151"/>
                <a:gd name="T21" fmla="*/ 351 h 1298"/>
                <a:gd name="T22" fmla="*/ 508 w 1151"/>
                <a:gd name="T23" fmla="*/ 293 h 1298"/>
                <a:gd name="T24" fmla="*/ 576 w 1151"/>
                <a:gd name="T25" fmla="*/ 244 h 1298"/>
                <a:gd name="T26" fmla="*/ 644 w 1151"/>
                <a:gd name="T27" fmla="*/ 224 h 1298"/>
                <a:gd name="T28" fmla="*/ 683 w 1151"/>
                <a:gd name="T29" fmla="*/ 205 h 1298"/>
                <a:gd name="T30" fmla="*/ 761 w 1151"/>
                <a:gd name="T31" fmla="*/ 205 h 1298"/>
                <a:gd name="T32" fmla="*/ 810 w 1151"/>
                <a:gd name="T33" fmla="*/ 185 h 1298"/>
                <a:gd name="T34" fmla="*/ 751 w 1151"/>
                <a:gd name="T35" fmla="*/ 176 h 1298"/>
                <a:gd name="T36" fmla="*/ 761 w 1151"/>
                <a:gd name="T37" fmla="*/ 137 h 1298"/>
                <a:gd name="T38" fmla="*/ 771 w 1151"/>
                <a:gd name="T39" fmla="*/ 68 h 1298"/>
                <a:gd name="T40" fmla="*/ 868 w 1151"/>
                <a:gd name="T41" fmla="*/ 29 h 1298"/>
                <a:gd name="T42" fmla="*/ 917 w 1151"/>
                <a:gd name="T43" fmla="*/ 49 h 1298"/>
                <a:gd name="T44" fmla="*/ 927 w 1151"/>
                <a:gd name="T45" fmla="*/ 88 h 1298"/>
                <a:gd name="T46" fmla="*/ 917 w 1151"/>
                <a:gd name="T47" fmla="*/ 146 h 1298"/>
                <a:gd name="T48" fmla="*/ 966 w 1151"/>
                <a:gd name="T49" fmla="*/ 146 h 1298"/>
                <a:gd name="T50" fmla="*/ 1005 w 1151"/>
                <a:gd name="T51" fmla="*/ 185 h 1298"/>
                <a:gd name="T52" fmla="*/ 1064 w 1151"/>
                <a:gd name="T53" fmla="*/ 195 h 1298"/>
                <a:gd name="T54" fmla="*/ 1054 w 1151"/>
                <a:gd name="T55" fmla="*/ 244 h 1298"/>
                <a:gd name="T56" fmla="*/ 976 w 1151"/>
                <a:gd name="T57" fmla="*/ 293 h 1298"/>
                <a:gd name="T58" fmla="*/ 907 w 1151"/>
                <a:gd name="T59" fmla="*/ 312 h 1298"/>
                <a:gd name="T60" fmla="*/ 859 w 1151"/>
                <a:gd name="T61" fmla="*/ 381 h 1298"/>
                <a:gd name="T62" fmla="*/ 781 w 1151"/>
                <a:gd name="T63" fmla="*/ 400 h 1298"/>
                <a:gd name="T64" fmla="*/ 742 w 1151"/>
                <a:gd name="T65" fmla="*/ 420 h 1298"/>
                <a:gd name="T66" fmla="*/ 771 w 1151"/>
                <a:gd name="T67" fmla="*/ 449 h 1298"/>
                <a:gd name="T68" fmla="*/ 820 w 1151"/>
                <a:gd name="T69" fmla="*/ 488 h 1298"/>
                <a:gd name="T70" fmla="*/ 868 w 1151"/>
                <a:gd name="T71" fmla="*/ 517 h 1298"/>
                <a:gd name="T72" fmla="*/ 859 w 1151"/>
                <a:gd name="T73" fmla="*/ 615 h 1298"/>
                <a:gd name="T74" fmla="*/ 800 w 1151"/>
                <a:gd name="T75" fmla="*/ 654 h 1298"/>
                <a:gd name="T76" fmla="*/ 829 w 1151"/>
                <a:gd name="T77" fmla="*/ 644 h 1298"/>
                <a:gd name="T78" fmla="*/ 820 w 1151"/>
                <a:gd name="T79" fmla="*/ 673 h 1298"/>
                <a:gd name="T80" fmla="*/ 849 w 1151"/>
                <a:gd name="T81" fmla="*/ 644 h 1298"/>
                <a:gd name="T82" fmla="*/ 917 w 1151"/>
                <a:gd name="T83" fmla="*/ 605 h 1298"/>
                <a:gd name="T84" fmla="*/ 995 w 1151"/>
                <a:gd name="T85" fmla="*/ 644 h 1298"/>
                <a:gd name="T86" fmla="*/ 1044 w 1151"/>
                <a:gd name="T87" fmla="*/ 615 h 1298"/>
                <a:gd name="T88" fmla="*/ 1112 w 1151"/>
                <a:gd name="T89" fmla="*/ 624 h 1298"/>
                <a:gd name="T90" fmla="*/ 1151 w 1151"/>
                <a:gd name="T91" fmla="*/ 654 h 1298"/>
                <a:gd name="T92" fmla="*/ 1083 w 1151"/>
                <a:gd name="T93" fmla="*/ 722 h 1298"/>
                <a:gd name="T94" fmla="*/ 1064 w 1151"/>
                <a:gd name="T95" fmla="*/ 732 h 1298"/>
                <a:gd name="T96" fmla="*/ 1083 w 1151"/>
                <a:gd name="T97" fmla="*/ 771 h 1298"/>
                <a:gd name="T98" fmla="*/ 1093 w 1151"/>
                <a:gd name="T99" fmla="*/ 868 h 1298"/>
                <a:gd name="T100" fmla="*/ 1025 w 1151"/>
                <a:gd name="T101" fmla="*/ 907 h 1298"/>
                <a:gd name="T102" fmla="*/ 966 w 1151"/>
                <a:gd name="T103" fmla="*/ 976 h 1298"/>
                <a:gd name="T104" fmla="*/ 898 w 1151"/>
                <a:gd name="T105" fmla="*/ 1054 h 1298"/>
                <a:gd name="T106" fmla="*/ 790 w 1151"/>
                <a:gd name="T107" fmla="*/ 1024 h 1298"/>
                <a:gd name="T108" fmla="*/ 654 w 1151"/>
                <a:gd name="T109" fmla="*/ 1044 h 1298"/>
                <a:gd name="T110" fmla="*/ 556 w 1151"/>
                <a:gd name="T111" fmla="*/ 1112 h 1298"/>
                <a:gd name="T112" fmla="*/ 478 w 1151"/>
                <a:gd name="T113" fmla="*/ 1200 h 1298"/>
                <a:gd name="T114" fmla="*/ 381 w 1151"/>
                <a:gd name="T115" fmla="*/ 1268 h 1298"/>
                <a:gd name="T116" fmla="*/ 264 w 1151"/>
                <a:gd name="T117" fmla="*/ 1298 h 1298"/>
                <a:gd name="T118" fmla="*/ 127 w 1151"/>
                <a:gd name="T119" fmla="*/ 1220 h 1298"/>
                <a:gd name="T120" fmla="*/ 49 w 1151"/>
                <a:gd name="T121" fmla="*/ 1112 h 1298"/>
                <a:gd name="T122" fmla="*/ 108 w 1151"/>
                <a:gd name="T123" fmla="*/ 976 h 12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1"/>
                <a:gd name="T187" fmla="*/ 0 h 1298"/>
                <a:gd name="T188" fmla="*/ 1151 w 1151"/>
                <a:gd name="T189" fmla="*/ 1298 h 12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1" h="1298">
                  <a:moveTo>
                    <a:pt x="10" y="937"/>
                  </a:moveTo>
                  <a:lnTo>
                    <a:pt x="10" y="917"/>
                  </a:lnTo>
                  <a:lnTo>
                    <a:pt x="0" y="907"/>
                  </a:lnTo>
                  <a:lnTo>
                    <a:pt x="20" y="878"/>
                  </a:lnTo>
                  <a:lnTo>
                    <a:pt x="30" y="868"/>
                  </a:lnTo>
                  <a:lnTo>
                    <a:pt x="30" y="849"/>
                  </a:lnTo>
                  <a:lnTo>
                    <a:pt x="39" y="849"/>
                  </a:lnTo>
                  <a:lnTo>
                    <a:pt x="59" y="849"/>
                  </a:lnTo>
                  <a:lnTo>
                    <a:pt x="69" y="839"/>
                  </a:lnTo>
                  <a:lnTo>
                    <a:pt x="78" y="820"/>
                  </a:lnTo>
                  <a:lnTo>
                    <a:pt x="88" y="810"/>
                  </a:lnTo>
                  <a:lnTo>
                    <a:pt x="108" y="800"/>
                  </a:lnTo>
                  <a:lnTo>
                    <a:pt x="108" y="790"/>
                  </a:lnTo>
                  <a:lnTo>
                    <a:pt x="117" y="781"/>
                  </a:lnTo>
                  <a:lnTo>
                    <a:pt x="117" y="761"/>
                  </a:lnTo>
                  <a:lnTo>
                    <a:pt x="117" y="732"/>
                  </a:lnTo>
                  <a:lnTo>
                    <a:pt x="117" y="722"/>
                  </a:lnTo>
                  <a:lnTo>
                    <a:pt x="127" y="732"/>
                  </a:lnTo>
                  <a:lnTo>
                    <a:pt x="156" y="732"/>
                  </a:lnTo>
                  <a:lnTo>
                    <a:pt x="166" y="742"/>
                  </a:lnTo>
                  <a:lnTo>
                    <a:pt x="186" y="742"/>
                  </a:lnTo>
                  <a:lnTo>
                    <a:pt x="186" y="732"/>
                  </a:lnTo>
                  <a:lnTo>
                    <a:pt x="195" y="722"/>
                  </a:lnTo>
                  <a:lnTo>
                    <a:pt x="215" y="722"/>
                  </a:lnTo>
                  <a:lnTo>
                    <a:pt x="234" y="722"/>
                  </a:lnTo>
                  <a:lnTo>
                    <a:pt x="244" y="732"/>
                  </a:lnTo>
                  <a:lnTo>
                    <a:pt x="254" y="722"/>
                  </a:lnTo>
                  <a:lnTo>
                    <a:pt x="264" y="722"/>
                  </a:lnTo>
                  <a:lnTo>
                    <a:pt x="264" y="702"/>
                  </a:lnTo>
                  <a:lnTo>
                    <a:pt x="273" y="693"/>
                  </a:lnTo>
                  <a:lnTo>
                    <a:pt x="264" y="683"/>
                  </a:lnTo>
                  <a:lnTo>
                    <a:pt x="254" y="673"/>
                  </a:lnTo>
                  <a:lnTo>
                    <a:pt x="254" y="663"/>
                  </a:lnTo>
                  <a:lnTo>
                    <a:pt x="244" y="663"/>
                  </a:lnTo>
                  <a:lnTo>
                    <a:pt x="244" y="654"/>
                  </a:lnTo>
                  <a:lnTo>
                    <a:pt x="225" y="65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95" y="654"/>
                  </a:lnTo>
                  <a:lnTo>
                    <a:pt x="176" y="654"/>
                  </a:lnTo>
                  <a:lnTo>
                    <a:pt x="176" y="644"/>
                  </a:lnTo>
                  <a:lnTo>
                    <a:pt x="176" y="634"/>
                  </a:lnTo>
                  <a:lnTo>
                    <a:pt x="156" y="624"/>
                  </a:lnTo>
                  <a:lnTo>
                    <a:pt x="137" y="624"/>
                  </a:lnTo>
                  <a:lnTo>
                    <a:pt x="137" y="615"/>
                  </a:lnTo>
                  <a:lnTo>
                    <a:pt x="147" y="605"/>
                  </a:lnTo>
                  <a:lnTo>
                    <a:pt x="156" y="595"/>
                  </a:lnTo>
                  <a:lnTo>
                    <a:pt x="166" y="585"/>
                  </a:lnTo>
                  <a:lnTo>
                    <a:pt x="176" y="585"/>
                  </a:lnTo>
                  <a:lnTo>
                    <a:pt x="176" y="576"/>
                  </a:lnTo>
                  <a:lnTo>
                    <a:pt x="186" y="566"/>
                  </a:lnTo>
                  <a:lnTo>
                    <a:pt x="195" y="546"/>
                  </a:lnTo>
                  <a:lnTo>
                    <a:pt x="205" y="546"/>
                  </a:lnTo>
                  <a:lnTo>
                    <a:pt x="215" y="546"/>
                  </a:lnTo>
                  <a:lnTo>
                    <a:pt x="234" y="546"/>
                  </a:lnTo>
                  <a:lnTo>
                    <a:pt x="234" y="527"/>
                  </a:lnTo>
                  <a:lnTo>
                    <a:pt x="215" y="527"/>
                  </a:lnTo>
                  <a:lnTo>
                    <a:pt x="234" y="527"/>
                  </a:lnTo>
                  <a:lnTo>
                    <a:pt x="234" y="507"/>
                  </a:lnTo>
                  <a:lnTo>
                    <a:pt x="234" y="498"/>
                  </a:lnTo>
                  <a:lnTo>
                    <a:pt x="244" y="478"/>
                  </a:lnTo>
                  <a:lnTo>
                    <a:pt x="254" y="468"/>
                  </a:lnTo>
                  <a:lnTo>
                    <a:pt x="264" y="459"/>
                  </a:lnTo>
                  <a:lnTo>
                    <a:pt x="273" y="449"/>
                  </a:lnTo>
                  <a:lnTo>
                    <a:pt x="273" y="439"/>
                  </a:lnTo>
                  <a:lnTo>
                    <a:pt x="254" y="449"/>
                  </a:lnTo>
                  <a:lnTo>
                    <a:pt x="254" y="439"/>
                  </a:lnTo>
                  <a:lnTo>
                    <a:pt x="264" y="439"/>
                  </a:lnTo>
                  <a:lnTo>
                    <a:pt x="283" y="429"/>
                  </a:lnTo>
                  <a:lnTo>
                    <a:pt x="303" y="420"/>
                  </a:lnTo>
                  <a:lnTo>
                    <a:pt x="312" y="410"/>
                  </a:lnTo>
                  <a:lnTo>
                    <a:pt x="332" y="390"/>
                  </a:lnTo>
                  <a:lnTo>
                    <a:pt x="351" y="390"/>
                  </a:lnTo>
                  <a:lnTo>
                    <a:pt x="351" y="371"/>
                  </a:lnTo>
                  <a:lnTo>
                    <a:pt x="351" y="361"/>
                  </a:lnTo>
                  <a:lnTo>
                    <a:pt x="361" y="361"/>
                  </a:lnTo>
                  <a:lnTo>
                    <a:pt x="381" y="351"/>
                  </a:lnTo>
                  <a:lnTo>
                    <a:pt x="371" y="361"/>
                  </a:lnTo>
                  <a:lnTo>
                    <a:pt x="371" y="371"/>
                  </a:lnTo>
                  <a:lnTo>
                    <a:pt x="381" y="371"/>
                  </a:lnTo>
                  <a:lnTo>
                    <a:pt x="400" y="351"/>
                  </a:lnTo>
                  <a:lnTo>
                    <a:pt x="410" y="341"/>
                  </a:lnTo>
                  <a:lnTo>
                    <a:pt x="430" y="341"/>
                  </a:lnTo>
                  <a:lnTo>
                    <a:pt x="449" y="322"/>
                  </a:lnTo>
                  <a:lnTo>
                    <a:pt x="459" y="312"/>
                  </a:lnTo>
                  <a:lnTo>
                    <a:pt x="469" y="312"/>
                  </a:lnTo>
                  <a:lnTo>
                    <a:pt x="478" y="302"/>
                  </a:lnTo>
                  <a:lnTo>
                    <a:pt x="498" y="302"/>
                  </a:lnTo>
                  <a:lnTo>
                    <a:pt x="508" y="293"/>
                  </a:lnTo>
                  <a:lnTo>
                    <a:pt x="517" y="293"/>
                  </a:lnTo>
                  <a:lnTo>
                    <a:pt x="527" y="283"/>
                  </a:lnTo>
                  <a:lnTo>
                    <a:pt x="537" y="283"/>
                  </a:lnTo>
                  <a:lnTo>
                    <a:pt x="547" y="273"/>
                  </a:lnTo>
                  <a:lnTo>
                    <a:pt x="556" y="273"/>
                  </a:lnTo>
                  <a:lnTo>
                    <a:pt x="556" y="254"/>
                  </a:lnTo>
                  <a:lnTo>
                    <a:pt x="566" y="254"/>
                  </a:lnTo>
                  <a:lnTo>
                    <a:pt x="576" y="244"/>
                  </a:lnTo>
                  <a:lnTo>
                    <a:pt x="586" y="244"/>
                  </a:lnTo>
                  <a:lnTo>
                    <a:pt x="595" y="254"/>
                  </a:lnTo>
                  <a:lnTo>
                    <a:pt x="605" y="244"/>
                  </a:lnTo>
                  <a:lnTo>
                    <a:pt x="615" y="234"/>
                  </a:lnTo>
                  <a:lnTo>
                    <a:pt x="615" y="224"/>
                  </a:lnTo>
                  <a:lnTo>
                    <a:pt x="625" y="224"/>
                  </a:lnTo>
                  <a:lnTo>
                    <a:pt x="634" y="234"/>
                  </a:lnTo>
                  <a:lnTo>
                    <a:pt x="644" y="224"/>
                  </a:lnTo>
                  <a:lnTo>
                    <a:pt x="654" y="224"/>
                  </a:lnTo>
                  <a:lnTo>
                    <a:pt x="644" y="224"/>
                  </a:lnTo>
                  <a:lnTo>
                    <a:pt x="634" y="224"/>
                  </a:lnTo>
                  <a:lnTo>
                    <a:pt x="625" y="215"/>
                  </a:lnTo>
                  <a:lnTo>
                    <a:pt x="634" y="215"/>
                  </a:lnTo>
                  <a:lnTo>
                    <a:pt x="644" y="195"/>
                  </a:lnTo>
                  <a:lnTo>
                    <a:pt x="664" y="195"/>
                  </a:lnTo>
                  <a:lnTo>
                    <a:pt x="683" y="205"/>
                  </a:lnTo>
                  <a:lnTo>
                    <a:pt x="673" y="195"/>
                  </a:lnTo>
                  <a:lnTo>
                    <a:pt x="683" y="185"/>
                  </a:lnTo>
                  <a:lnTo>
                    <a:pt x="703" y="185"/>
                  </a:lnTo>
                  <a:lnTo>
                    <a:pt x="703" y="195"/>
                  </a:lnTo>
                  <a:lnTo>
                    <a:pt x="712" y="205"/>
                  </a:lnTo>
                  <a:lnTo>
                    <a:pt x="732" y="205"/>
                  </a:lnTo>
                  <a:lnTo>
                    <a:pt x="751" y="195"/>
                  </a:lnTo>
                  <a:lnTo>
                    <a:pt x="761" y="205"/>
                  </a:lnTo>
                  <a:lnTo>
                    <a:pt x="761" y="215"/>
                  </a:lnTo>
                  <a:lnTo>
                    <a:pt x="781" y="215"/>
                  </a:lnTo>
                  <a:lnTo>
                    <a:pt x="781" y="205"/>
                  </a:lnTo>
                  <a:lnTo>
                    <a:pt x="800" y="205"/>
                  </a:lnTo>
                  <a:lnTo>
                    <a:pt x="810" y="205"/>
                  </a:lnTo>
                  <a:lnTo>
                    <a:pt x="800" y="205"/>
                  </a:lnTo>
                  <a:lnTo>
                    <a:pt x="800" y="195"/>
                  </a:lnTo>
                  <a:lnTo>
                    <a:pt x="810" y="185"/>
                  </a:lnTo>
                  <a:lnTo>
                    <a:pt x="820" y="195"/>
                  </a:lnTo>
                  <a:lnTo>
                    <a:pt x="820" y="176"/>
                  </a:lnTo>
                  <a:lnTo>
                    <a:pt x="810" y="176"/>
                  </a:lnTo>
                  <a:lnTo>
                    <a:pt x="800" y="185"/>
                  </a:lnTo>
                  <a:lnTo>
                    <a:pt x="790" y="185"/>
                  </a:lnTo>
                  <a:lnTo>
                    <a:pt x="781" y="176"/>
                  </a:lnTo>
                  <a:lnTo>
                    <a:pt x="761" y="176"/>
                  </a:lnTo>
                  <a:lnTo>
                    <a:pt x="751" y="176"/>
                  </a:lnTo>
                  <a:lnTo>
                    <a:pt x="742" y="176"/>
                  </a:lnTo>
                  <a:lnTo>
                    <a:pt x="722" y="185"/>
                  </a:lnTo>
                  <a:lnTo>
                    <a:pt x="722" y="176"/>
                  </a:lnTo>
                  <a:lnTo>
                    <a:pt x="732" y="156"/>
                  </a:lnTo>
                  <a:lnTo>
                    <a:pt x="732" y="146"/>
                  </a:lnTo>
                  <a:lnTo>
                    <a:pt x="742" y="137"/>
                  </a:lnTo>
                  <a:lnTo>
                    <a:pt x="751" y="137"/>
                  </a:lnTo>
                  <a:lnTo>
                    <a:pt x="761" y="137"/>
                  </a:lnTo>
                  <a:lnTo>
                    <a:pt x="761" y="127"/>
                  </a:lnTo>
                  <a:lnTo>
                    <a:pt x="771" y="117"/>
                  </a:lnTo>
                  <a:lnTo>
                    <a:pt x="771" y="107"/>
                  </a:lnTo>
                  <a:lnTo>
                    <a:pt x="761" y="117"/>
                  </a:lnTo>
                  <a:lnTo>
                    <a:pt x="751" y="117"/>
                  </a:lnTo>
                  <a:lnTo>
                    <a:pt x="761" y="98"/>
                  </a:lnTo>
                  <a:lnTo>
                    <a:pt x="771" y="68"/>
                  </a:lnTo>
                  <a:lnTo>
                    <a:pt x="781" y="68"/>
                  </a:lnTo>
                  <a:lnTo>
                    <a:pt x="800" y="68"/>
                  </a:lnTo>
                  <a:lnTo>
                    <a:pt x="810" y="59"/>
                  </a:lnTo>
                  <a:lnTo>
                    <a:pt x="829" y="59"/>
                  </a:lnTo>
                  <a:lnTo>
                    <a:pt x="849" y="49"/>
                  </a:lnTo>
                  <a:lnTo>
                    <a:pt x="859" y="39"/>
                  </a:lnTo>
                  <a:lnTo>
                    <a:pt x="868" y="39"/>
                  </a:lnTo>
                  <a:lnTo>
                    <a:pt x="868" y="29"/>
                  </a:lnTo>
                  <a:lnTo>
                    <a:pt x="878" y="29"/>
                  </a:lnTo>
                  <a:lnTo>
                    <a:pt x="888" y="29"/>
                  </a:lnTo>
                  <a:lnTo>
                    <a:pt x="888" y="20"/>
                  </a:lnTo>
                  <a:lnTo>
                    <a:pt x="888" y="0"/>
                  </a:lnTo>
                  <a:lnTo>
                    <a:pt x="907" y="10"/>
                  </a:lnTo>
                  <a:lnTo>
                    <a:pt x="907" y="29"/>
                  </a:lnTo>
                  <a:lnTo>
                    <a:pt x="907" y="39"/>
                  </a:lnTo>
                  <a:lnTo>
                    <a:pt x="917" y="49"/>
                  </a:lnTo>
                  <a:lnTo>
                    <a:pt x="937" y="59"/>
                  </a:lnTo>
                  <a:lnTo>
                    <a:pt x="946" y="59"/>
                  </a:lnTo>
                  <a:lnTo>
                    <a:pt x="937" y="78"/>
                  </a:lnTo>
                  <a:lnTo>
                    <a:pt x="917" y="88"/>
                  </a:lnTo>
                  <a:lnTo>
                    <a:pt x="927" y="88"/>
                  </a:lnTo>
                  <a:lnTo>
                    <a:pt x="946" y="78"/>
                  </a:lnTo>
                  <a:lnTo>
                    <a:pt x="956" y="88"/>
                  </a:lnTo>
                  <a:lnTo>
                    <a:pt x="946" y="88"/>
                  </a:lnTo>
                  <a:lnTo>
                    <a:pt x="946" y="117"/>
                  </a:lnTo>
                  <a:lnTo>
                    <a:pt x="937" y="127"/>
                  </a:lnTo>
                  <a:lnTo>
                    <a:pt x="927" y="137"/>
                  </a:lnTo>
                  <a:lnTo>
                    <a:pt x="917" y="137"/>
                  </a:lnTo>
                  <a:lnTo>
                    <a:pt x="917" y="146"/>
                  </a:lnTo>
                  <a:lnTo>
                    <a:pt x="917" y="137"/>
                  </a:lnTo>
                  <a:lnTo>
                    <a:pt x="937" y="137"/>
                  </a:lnTo>
                  <a:lnTo>
                    <a:pt x="946" y="146"/>
                  </a:lnTo>
                  <a:lnTo>
                    <a:pt x="946" y="137"/>
                  </a:lnTo>
                  <a:lnTo>
                    <a:pt x="956" y="137"/>
                  </a:lnTo>
                  <a:lnTo>
                    <a:pt x="956" y="156"/>
                  </a:lnTo>
                  <a:lnTo>
                    <a:pt x="966" y="156"/>
                  </a:lnTo>
                  <a:lnTo>
                    <a:pt x="966" y="146"/>
                  </a:lnTo>
                  <a:lnTo>
                    <a:pt x="986" y="146"/>
                  </a:lnTo>
                  <a:lnTo>
                    <a:pt x="1005" y="156"/>
                  </a:lnTo>
                  <a:lnTo>
                    <a:pt x="1005" y="176"/>
                  </a:lnTo>
                  <a:lnTo>
                    <a:pt x="1005" y="185"/>
                  </a:lnTo>
                  <a:lnTo>
                    <a:pt x="995" y="195"/>
                  </a:lnTo>
                  <a:lnTo>
                    <a:pt x="1005" y="205"/>
                  </a:lnTo>
                  <a:lnTo>
                    <a:pt x="1005" y="195"/>
                  </a:lnTo>
                  <a:lnTo>
                    <a:pt x="1005" y="185"/>
                  </a:lnTo>
                  <a:lnTo>
                    <a:pt x="1025" y="195"/>
                  </a:lnTo>
                  <a:lnTo>
                    <a:pt x="1044" y="185"/>
                  </a:lnTo>
                  <a:lnTo>
                    <a:pt x="1044" y="176"/>
                  </a:lnTo>
                  <a:lnTo>
                    <a:pt x="1064" y="176"/>
                  </a:lnTo>
                  <a:lnTo>
                    <a:pt x="1064" y="185"/>
                  </a:lnTo>
                  <a:lnTo>
                    <a:pt x="1044" y="195"/>
                  </a:lnTo>
                  <a:lnTo>
                    <a:pt x="1044" y="205"/>
                  </a:lnTo>
                  <a:lnTo>
                    <a:pt x="1064" y="195"/>
                  </a:lnTo>
                  <a:lnTo>
                    <a:pt x="1064" y="215"/>
                  </a:lnTo>
                  <a:lnTo>
                    <a:pt x="1064" y="224"/>
                  </a:lnTo>
                  <a:lnTo>
                    <a:pt x="1054" y="224"/>
                  </a:lnTo>
                  <a:lnTo>
                    <a:pt x="1044" y="215"/>
                  </a:lnTo>
                  <a:lnTo>
                    <a:pt x="1025" y="224"/>
                  </a:lnTo>
                  <a:lnTo>
                    <a:pt x="1034" y="224"/>
                  </a:lnTo>
                  <a:lnTo>
                    <a:pt x="1044" y="234"/>
                  </a:lnTo>
                  <a:lnTo>
                    <a:pt x="1054" y="244"/>
                  </a:lnTo>
                  <a:lnTo>
                    <a:pt x="1044" y="244"/>
                  </a:lnTo>
                  <a:lnTo>
                    <a:pt x="1034" y="254"/>
                  </a:lnTo>
                  <a:lnTo>
                    <a:pt x="1015" y="254"/>
                  </a:lnTo>
                  <a:lnTo>
                    <a:pt x="1005" y="263"/>
                  </a:lnTo>
                  <a:lnTo>
                    <a:pt x="995" y="273"/>
                  </a:lnTo>
                  <a:lnTo>
                    <a:pt x="976" y="283"/>
                  </a:lnTo>
                  <a:lnTo>
                    <a:pt x="976" y="293"/>
                  </a:lnTo>
                  <a:lnTo>
                    <a:pt x="976" y="302"/>
                  </a:lnTo>
                  <a:lnTo>
                    <a:pt x="966" y="302"/>
                  </a:lnTo>
                  <a:lnTo>
                    <a:pt x="956" y="312"/>
                  </a:lnTo>
                  <a:lnTo>
                    <a:pt x="937" y="322"/>
                  </a:lnTo>
                  <a:lnTo>
                    <a:pt x="927" y="312"/>
                  </a:lnTo>
                  <a:lnTo>
                    <a:pt x="917" y="312"/>
                  </a:lnTo>
                  <a:lnTo>
                    <a:pt x="907" y="312"/>
                  </a:lnTo>
                  <a:lnTo>
                    <a:pt x="898" y="302"/>
                  </a:lnTo>
                  <a:lnTo>
                    <a:pt x="888" y="302"/>
                  </a:lnTo>
                  <a:lnTo>
                    <a:pt x="878" y="312"/>
                  </a:lnTo>
                  <a:lnTo>
                    <a:pt x="868" y="332"/>
                  </a:lnTo>
                  <a:lnTo>
                    <a:pt x="859" y="341"/>
                  </a:lnTo>
                  <a:lnTo>
                    <a:pt x="859" y="351"/>
                  </a:lnTo>
                  <a:lnTo>
                    <a:pt x="859" y="361"/>
                  </a:lnTo>
                  <a:lnTo>
                    <a:pt x="859" y="381"/>
                  </a:lnTo>
                  <a:lnTo>
                    <a:pt x="849" y="400"/>
                  </a:lnTo>
                  <a:lnTo>
                    <a:pt x="839" y="410"/>
                  </a:lnTo>
                  <a:lnTo>
                    <a:pt x="829" y="410"/>
                  </a:lnTo>
                  <a:lnTo>
                    <a:pt x="820" y="410"/>
                  </a:lnTo>
                  <a:lnTo>
                    <a:pt x="810" y="410"/>
                  </a:lnTo>
                  <a:lnTo>
                    <a:pt x="771" y="410"/>
                  </a:lnTo>
                  <a:lnTo>
                    <a:pt x="781" y="400"/>
                  </a:lnTo>
                  <a:lnTo>
                    <a:pt x="771" y="400"/>
                  </a:lnTo>
                  <a:lnTo>
                    <a:pt x="761" y="390"/>
                  </a:lnTo>
                  <a:lnTo>
                    <a:pt x="751" y="381"/>
                  </a:lnTo>
                  <a:lnTo>
                    <a:pt x="751" y="390"/>
                  </a:lnTo>
                  <a:lnTo>
                    <a:pt x="761" y="400"/>
                  </a:lnTo>
                  <a:lnTo>
                    <a:pt x="761" y="410"/>
                  </a:lnTo>
                  <a:lnTo>
                    <a:pt x="751" y="410"/>
                  </a:lnTo>
                  <a:lnTo>
                    <a:pt x="742" y="420"/>
                  </a:lnTo>
                  <a:lnTo>
                    <a:pt x="732" y="429"/>
                  </a:lnTo>
                  <a:lnTo>
                    <a:pt x="742" y="429"/>
                  </a:lnTo>
                  <a:lnTo>
                    <a:pt x="751" y="420"/>
                  </a:lnTo>
                  <a:lnTo>
                    <a:pt x="761" y="429"/>
                  </a:lnTo>
                  <a:lnTo>
                    <a:pt x="761" y="439"/>
                  </a:lnTo>
                  <a:lnTo>
                    <a:pt x="751" y="439"/>
                  </a:lnTo>
                  <a:lnTo>
                    <a:pt x="761" y="449"/>
                  </a:lnTo>
                  <a:lnTo>
                    <a:pt x="771" y="449"/>
                  </a:lnTo>
                  <a:lnTo>
                    <a:pt x="781" y="459"/>
                  </a:lnTo>
                  <a:lnTo>
                    <a:pt x="790" y="459"/>
                  </a:lnTo>
                  <a:lnTo>
                    <a:pt x="810" y="449"/>
                  </a:lnTo>
                  <a:lnTo>
                    <a:pt x="820" y="449"/>
                  </a:lnTo>
                  <a:lnTo>
                    <a:pt x="829" y="459"/>
                  </a:lnTo>
                  <a:lnTo>
                    <a:pt x="829" y="468"/>
                  </a:lnTo>
                  <a:lnTo>
                    <a:pt x="820" y="468"/>
                  </a:lnTo>
                  <a:lnTo>
                    <a:pt x="820" y="488"/>
                  </a:lnTo>
                  <a:lnTo>
                    <a:pt x="829" y="488"/>
                  </a:lnTo>
                  <a:lnTo>
                    <a:pt x="829" y="478"/>
                  </a:lnTo>
                  <a:lnTo>
                    <a:pt x="839" y="468"/>
                  </a:lnTo>
                  <a:lnTo>
                    <a:pt x="849" y="468"/>
                  </a:lnTo>
                  <a:lnTo>
                    <a:pt x="849" y="478"/>
                  </a:lnTo>
                  <a:lnTo>
                    <a:pt x="859" y="488"/>
                  </a:lnTo>
                  <a:lnTo>
                    <a:pt x="859" y="507"/>
                  </a:lnTo>
                  <a:lnTo>
                    <a:pt x="868" y="517"/>
                  </a:lnTo>
                  <a:lnTo>
                    <a:pt x="878" y="527"/>
                  </a:lnTo>
                  <a:lnTo>
                    <a:pt x="878" y="546"/>
                  </a:lnTo>
                  <a:lnTo>
                    <a:pt x="878" y="556"/>
                  </a:lnTo>
                  <a:lnTo>
                    <a:pt x="888" y="585"/>
                  </a:lnTo>
                  <a:lnTo>
                    <a:pt x="878" y="585"/>
                  </a:lnTo>
                  <a:lnTo>
                    <a:pt x="868" y="595"/>
                  </a:lnTo>
                  <a:lnTo>
                    <a:pt x="868" y="605"/>
                  </a:lnTo>
                  <a:lnTo>
                    <a:pt x="859" y="615"/>
                  </a:lnTo>
                  <a:lnTo>
                    <a:pt x="839" y="624"/>
                  </a:lnTo>
                  <a:lnTo>
                    <a:pt x="829" y="624"/>
                  </a:lnTo>
                  <a:lnTo>
                    <a:pt x="810" y="624"/>
                  </a:lnTo>
                  <a:lnTo>
                    <a:pt x="800" y="624"/>
                  </a:lnTo>
                  <a:lnTo>
                    <a:pt x="800" y="644"/>
                  </a:lnTo>
                  <a:lnTo>
                    <a:pt x="800" y="654"/>
                  </a:lnTo>
                  <a:lnTo>
                    <a:pt x="790" y="654"/>
                  </a:lnTo>
                  <a:lnTo>
                    <a:pt x="790" y="663"/>
                  </a:lnTo>
                  <a:lnTo>
                    <a:pt x="800" y="654"/>
                  </a:lnTo>
                  <a:lnTo>
                    <a:pt x="800" y="644"/>
                  </a:lnTo>
                  <a:lnTo>
                    <a:pt x="810" y="634"/>
                  </a:lnTo>
                  <a:lnTo>
                    <a:pt x="820" y="634"/>
                  </a:lnTo>
                  <a:lnTo>
                    <a:pt x="829" y="634"/>
                  </a:lnTo>
                  <a:lnTo>
                    <a:pt x="829" y="644"/>
                  </a:lnTo>
                  <a:lnTo>
                    <a:pt x="829" y="654"/>
                  </a:lnTo>
                  <a:lnTo>
                    <a:pt x="820" y="654"/>
                  </a:lnTo>
                  <a:lnTo>
                    <a:pt x="820" y="663"/>
                  </a:lnTo>
                  <a:lnTo>
                    <a:pt x="810" y="663"/>
                  </a:lnTo>
                  <a:lnTo>
                    <a:pt x="800" y="673"/>
                  </a:lnTo>
                  <a:lnTo>
                    <a:pt x="800" y="683"/>
                  </a:lnTo>
                  <a:lnTo>
                    <a:pt x="820" y="673"/>
                  </a:lnTo>
                  <a:lnTo>
                    <a:pt x="829" y="683"/>
                  </a:lnTo>
                  <a:lnTo>
                    <a:pt x="839" y="683"/>
                  </a:lnTo>
                  <a:lnTo>
                    <a:pt x="839" y="663"/>
                  </a:lnTo>
                  <a:lnTo>
                    <a:pt x="849" y="673"/>
                  </a:lnTo>
                  <a:lnTo>
                    <a:pt x="849" y="663"/>
                  </a:lnTo>
                  <a:lnTo>
                    <a:pt x="849" y="654"/>
                  </a:lnTo>
                  <a:lnTo>
                    <a:pt x="849" y="644"/>
                  </a:lnTo>
                  <a:lnTo>
                    <a:pt x="859" y="634"/>
                  </a:lnTo>
                  <a:lnTo>
                    <a:pt x="868" y="644"/>
                  </a:lnTo>
                  <a:lnTo>
                    <a:pt x="888" y="644"/>
                  </a:lnTo>
                  <a:lnTo>
                    <a:pt x="907" y="634"/>
                  </a:lnTo>
                  <a:lnTo>
                    <a:pt x="917" y="634"/>
                  </a:lnTo>
                  <a:lnTo>
                    <a:pt x="917" y="624"/>
                  </a:lnTo>
                  <a:lnTo>
                    <a:pt x="917" y="615"/>
                  </a:lnTo>
                  <a:lnTo>
                    <a:pt x="917" y="605"/>
                  </a:lnTo>
                  <a:lnTo>
                    <a:pt x="946" y="605"/>
                  </a:lnTo>
                  <a:lnTo>
                    <a:pt x="946" y="624"/>
                  </a:lnTo>
                  <a:lnTo>
                    <a:pt x="956" y="615"/>
                  </a:lnTo>
                  <a:lnTo>
                    <a:pt x="966" y="605"/>
                  </a:lnTo>
                  <a:lnTo>
                    <a:pt x="986" y="615"/>
                  </a:lnTo>
                  <a:lnTo>
                    <a:pt x="995" y="624"/>
                  </a:lnTo>
                  <a:lnTo>
                    <a:pt x="995" y="644"/>
                  </a:lnTo>
                  <a:lnTo>
                    <a:pt x="1005" y="644"/>
                  </a:lnTo>
                  <a:lnTo>
                    <a:pt x="1005" y="634"/>
                  </a:lnTo>
                  <a:lnTo>
                    <a:pt x="1005" y="624"/>
                  </a:lnTo>
                  <a:lnTo>
                    <a:pt x="1005" y="634"/>
                  </a:lnTo>
                  <a:lnTo>
                    <a:pt x="1015" y="634"/>
                  </a:lnTo>
                  <a:lnTo>
                    <a:pt x="1025" y="624"/>
                  </a:lnTo>
                  <a:lnTo>
                    <a:pt x="1034" y="624"/>
                  </a:lnTo>
                  <a:lnTo>
                    <a:pt x="1044" y="615"/>
                  </a:lnTo>
                  <a:lnTo>
                    <a:pt x="1064" y="605"/>
                  </a:lnTo>
                  <a:lnTo>
                    <a:pt x="1073" y="615"/>
                  </a:lnTo>
                  <a:lnTo>
                    <a:pt x="1064" y="634"/>
                  </a:lnTo>
                  <a:lnTo>
                    <a:pt x="1083" y="634"/>
                  </a:lnTo>
                  <a:lnTo>
                    <a:pt x="1083" y="624"/>
                  </a:lnTo>
                  <a:lnTo>
                    <a:pt x="1093" y="624"/>
                  </a:lnTo>
                  <a:lnTo>
                    <a:pt x="1103" y="615"/>
                  </a:lnTo>
                  <a:lnTo>
                    <a:pt x="1112" y="624"/>
                  </a:lnTo>
                  <a:lnTo>
                    <a:pt x="1122" y="624"/>
                  </a:lnTo>
                  <a:lnTo>
                    <a:pt x="1122" y="634"/>
                  </a:lnTo>
                  <a:lnTo>
                    <a:pt x="1132" y="634"/>
                  </a:lnTo>
                  <a:lnTo>
                    <a:pt x="1132" y="644"/>
                  </a:lnTo>
                  <a:lnTo>
                    <a:pt x="1122" y="654"/>
                  </a:lnTo>
                  <a:lnTo>
                    <a:pt x="1142" y="654"/>
                  </a:lnTo>
                  <a:lnTo>
                    <a:pt x="1151" y="654"/>
                  </a:lnTo>
                  <a:lnTo>
                    <a:pt x="1151" y="663"/>
                  </a:lnTo>
                  <a:lnTo>
                    <a:pt x="1142" y="663"/>
                  </a:lnTo>
                  <a:lnTo>
                    <a:pt x="1132" y="683"/>
                  </a:lnTo>
                  <a:lnTo>
                    <a:pt x="1103" y="693"/>
                  </a:lnTo>
                  <a:lnTo>
                    <a:pt x="1103" y="702"/>
                  </a:lnTo>
                  <a:lnTo>
                    <a:pt x="1093" y="712"/>
                  </a:lnTo>
                  <a:lnTo>
                    <a:pt x="1083" y="712"/>
                  </a:lnTo>
                  <a:lnTo>
                    <a:pt x="1083" y="722"/>
                  </a:lnTo>
                  <a:lnTo>
                    <a:pt x="1083" y="732"/>
                  </a:lnTo>
                  <a:lnTo>
                    <a:pt x="1073" y="732"/>
                  </a:lnTo>
                  <a:lnTo>
                    <a:pt x="1064" y="722"/>
                  </a:lnTo>
                  <a:lnTo>
                    <a:pt x="1054" y="722"/>
                  </a:lnTo>
                  <a:lnTo>
                    <a:pt x="1064" y="722"/>
                  </a:lnTo>
                  <a:lnTo>
                    <a:pt x="1064" y="732"/>
                  </a:lnTo>
                  <a:lnTo>
                    <a:pt x="1044" y="732"/>
                  </a:lnTo>
                  <a:lnTo>
                    <a:pt x="1044" y="742"/>
                  </a:lnTo>
                  <a:lnTo>
                    <a:pt x="1064" y="742"/>
                  </a:lnTo>
                  <a:lnTo>
                    <a:pt x="1073" y="742"/>
                  </a:lnTo>
                  <a:lnTo>
                    <a:pt x="1073" y="761"/>
                  </a:lnTo>
                  <a:lnTo>
                    <a:pt x="1073" y="771"/>
                  </a:lnTo>
                  <a:lnTo>
                    <a:pt x="1083" y="771"/>
                  </a:lnTo>
                  <a:lnTo>
                    <a:pt x="1083" y="790"/>
                  </a:lnTo>
                  <a:lnTo>
                    <a:pt x="1083" y="820"/>
                  </a:lnTo>
                  <a:lnTo>
                    <a:pt x="1083" y="839"/>
                  </a:lnTo>
                  <a:lnTo>
                    <a:pt x="1093" y="849"/>
                  </a:lnTo>
                  <a:lnTo>
                    <a:pt x="1083" y="849"/>
                  </a:lnTo>
                  <a:lnTo>
                    <a:pt x="1093" y="859"/>
                  </a:lnTo>
                  <a:lnTo>
                    <a:pt x="1093" y="868"/>
                  </a:lnTo>
                  <a:lnTo>
                    <a:pt x="1093" y="888"/>
                  </a:lnTo>
                  <a:lnTo>
                    <a:pt x="1083" y="888"/>
                  </a:lnTo>
                  <a:lnTo>
                    <a:pt x="1103" y="898"/>
                  </a:lnTo>
                  <a:lnTo>
                    <a:pt x="1083" y="898"/>
                  </a:lnTo>
                  <a:lnTo>
                    <a:pt x="1073" y="898"/>
                  </a:lnTo>
                  <a:lnTo>
                    <a:pt x="1064" y="898"/>
                  </a:lnTo>
                  <a:lnTo>
                    <a:pt x="1034" y="907"/>
                  </a:lnTo>
                  <a:lnTo>
                    <a:pt x="1025" y="907"/>
                  </a:lnTo>
                  <a:lnTo>
                    <a:pt x="1025" y="888"/>
                  </a:lnTo>
                  <a:lnTo>
                    <a:pt x="1015" y="898"/>
                  </a:lnTo>
                  <a:lnTo>
                    <a:pt x="1005" y="898"/>
                  </a:lnTo>
                  <a:lnTo>
                    <a:pt x="1005" y="907"/>
                  </a:lnTo>
                  <a:lnTo>
                    <a:pt x="995" y="937"/>
                  </a:lnTo>
                  <a:lnTo>
                    <a:pt x="995" y="956"/>
                  </a:lnTo>
                  <a:lnTo>
                    <a:pt x="976" y="956"/>
                  </a:lnTo>
                  <a:lnTo>
                    <a:pt x="966" y="976"/>
                  </a:lnTo>
                  <a:lnTo>
                    <a:pt x="966" y="995"/>
                  </a:lnTo>
                  <a:lnTo>
                    <a:pt x="956" y="1015"/>
                  </a:lnTo>
                  <a:lnTo>
                    <a:pt x="956" y="1034"/>
                  </a:lnTo>
                  <a:lnTo>
                    <a:pt x="946" y="1063"/>
                  </a:lnTo>
                  <a:lnTo>
                    <a:pt x="946" y="1073"/>
                  </a:lnTo>
                  <a:lnTo>
                    <a:pt x="927" y="1073"/>
                  </a:lnTo>
                  <a:lnTo>
                    <a:pt x="917" y="1063"/>
                  </a:lnTo>
                  <a:lnTo>
                    <a:pt x="898" y="1054"/>
                  </a:lnTo>
                  <a:lnTo>
                    <a:pt x="878" y="1063"/>
                  </a:lnTo>
                  <a:lnTo>
                    <a:pt x="849" y="1083"/>
                  </a:lnTo>
                  <a:lnTo>
                    <a:pt x="820" y="1093"/>
                  </a:lnTo>
                  <a:lnTo>
                    <a:pt x="820" y="1112"/>
                  </a:lnTo>
                  <a:lnTo>
                    <a:pt x="800" y="1112"/>
                  </a:lnTo>
                  <a:lnTo>
                    <a:pt x="800" y="1083"/>
                  </a:lnTo>
                  <a:lnTo>
                    <a:pt x="790" y="1044"/>
                  </a:lnTo>
                  <a:lnTo>
                    <a:pt x="790" y="1024"/>
                  </a:lnTo>
                  <a:lnTo>
                    <a:pt x="781" y="1015"/>
                  </a:lnTo>
                  <a:lnTo>
                    <a:pt x="751" y="1015"/>
                  </a:lnTo>
                  <a:lnTo>
                    <a:pt x="742" y="1034"/>
                  </a:lnTo>
                  <a:lnTo>
                    <a:pt x="722" y="1034"/>
                  </a:lnTo>
                  <a:lnTo>
                    <a:pt x="693" y="1024"/>
                  </a:lnTo>
                  <a:lnTo>
                    <a:pt x="673" y="1024"/>
                  </a:lnTo>
                  <a:lnTo>
                    <a:pt x="654" y="1034"/>
                  </a:lnTo>
                  <a:lnTo>
                    <a:pt x="654" y="1044"/>
                  </a:lnTo>
                  <a:lnTo>
                    <a:pt x="634" y="1063"/>
                  </a:lnTo>
                  <a:lnTo>
                    <a:pt x="615" y="1063"/>
                  </a:lnTo>
                  <a:lnTo>
                    <a:pt x="615" y="1093"/>
                  </a:lnTo>
                  <a:lnTo>
                    <a:pt x="586" y="1112"/>
                  </a:lnTo>
                  <a:lnTo>
                    <a:pt x="586" y="1132"/>
                  </a:lnTo>
                  <a:lnTo>
                    <a:pt x="566" y="1132"/>
                  </a:lnTo>
                  <a:lnTo>
                    <a:pt x="566" y="1112"/>
                  </a:lnTo>
                  <a:lnTo>
                    <a:pt x="556" y="1112"/>
                  </a:lnTo>
                  <a:lnTo>
                    <a:pt x="556" y="1122"/>
                  </a:lnTo>
                  <a:lnTo>
                    <a:pt x="537" y="1122"/>
                  </a:lnTo>
                  <a:lnTo>
                    <a:pt x="527" y="1132"/>
                  </a:lnTo>
                  <a:lnTo>
                    <a:pt x="537" y="1151"/>
                  </a:lnTo>
                  <a:lnTo>
                    <a:pt x="517" y="1151"/>
                  </a:lnTo>
                  <a:lnTo>
                    <a:pt x="508" y="1161"/>
                  </a:lnTo>
                  <a:lnTo>
                    <a:pt x="498" y="1181"/>
                  </a:lnTo>
                  <a:lnTo>
                    <a:pt x="478" y="1200"/>
                  </a:lnTo>
                  <a:lnTo>
                    <a:pt x="488" y="1210"/>
                  </a:lnTo>
                  <a:lnTo>
                    <a:pt x="498" y="1220"/>
                  </a:lnTo>
                  <a:lnTo>
                    <a:pt x="469" y="1220"/>
                  </a:lnTo>
                  <a:lnTo>
                    <a:pt x="459" y="1229"/>
                  </a:lnTo>
                  <a:lnTo>
                    <a:pt x="430" y="1249"/>
                  </a:lnTo>
                  <a:lnTo>
                    <a:pt x="410" y="1259"/>
                  </a:lnTo>
                  <a:lnTo>
                    <a:pt x="390" y="1259"/>
                  </a:lnTo>
                  <a:lnTo>
                    <a:pt x="381" y="1268"/>
                  </a:lnTo>
                  <a:lnTo>
                    <a:pt x="371" y="1288"/>
                  </a:lnTo>
                  <a:lnTo>
                    <a:pt x="351" y="1288"/>
                  </a:lnTo>
                  <a:lnTo>
                    <a:pt x="342" y="1288"/>
                  </a:lnTo>
                  <a:lnTo>
                    <a:pt x="332" y="1288"/>
                  </a:lnTo>
                  <a:lnTo>
                    <a:pt x="312" y="1298"/>
                  </a:lnTo>
                  <a:lnTo>
                    <a:pt x="303" y="1298"/>
                  </a:lnTo>
                  <a:lnTo>
                    <a:pt x="293" y="1298"/>
                  </a:lnTo>
                  <a:lnTo>
                    <a:pt x="264" y="1298"/>
                  </a:lnTo>
                  <a:lnTo>
                    <a:pt x="244" y="1288"/>
                  </a:lnTo>
                  <a:lnTo>
                    <a:pt x="244" y="1278"/>
                  </a:lnTo>
                  <a:lnTo>
                    <a:pt x="234" y="1268"/>
                  </a:lnTo>
                  <a:lnTo>
                    <a:pt x="186" y="1268"/>
                  </a:lnTo>
                  <a:lnTo>
                    <a:pt x="166" y="1259"/>
                  </a:lnTo>
                  <a:lnTo>
                    <a:pt x="166" y="1239"/>
                  </a:lnTo>
                  <a:lnTo>
                    <a:pt x="156" y="1220"/>
                  </a:lnTo>
                  <a:lnTo>
                    <a:pt x="127" y="1220"/>
                  </a:lnTo>
                  <a:lnTo>
                    <a:pt x="88" y="1220"/>
                  </a:lnTo>
                  <a:lnTo>
                    <a:pt x="59" y="1220"/>
                  </a:lnTo>
                  <a:lnTo>
                    <a:pt x="49" y="1200"/>
                  </a:lnTo>
                  <a:lnTo>
                    <a:pt x="49" y="1181"/>
                  </a:lnTo>
                  <a:lnTo>
                    <a:pt x="39" y="1171"/>
                  </a:lnTo>
                  <a:lnTo>
                    <a:pt x="39" y="1161"/>
                  </a:lnTo>
                  <a:lnTo>
                    <a:pt x="39" y="1142"/>
                  </a:lnTo>
                  <a:lnTo>
                    <a:pt x="49" y="1112"/>
                  </a:lnTo>
                  <a:lnTo>
                    <a:pt x="69" y="1103"/>
                  </a:lnTo>
                  <a:lnTo>
                    <a:pt x="69" y="1093"/>
                  </a:lnTo>
                  <a:lnTo>
                    <a:pt x="88" y="1073"/>
                  </a:lnTo>
                  <a:lnTo>
                    <a:pt x="88" y="1044"/>
                  </a:lnTo>
                  <a:lnTo>
                    <a:pt x="88" y="1034"/>
                  </a:lnTo>
                  <a:lnTo>
                    <a:pt x="108" y="1005"/>
                  </a:lnTo>
                  <a:lnTo>
                    <a:pt x="117" y="995"/>
                  </a:lnTo>
                  <a:lnTo>
                    <a:pt x="108" y="976"/>
                  </a:lnTo>
                  <a:lnTo>
                    <a:pt x="98" y="976"/>
                  </a:lnTo>
                  <a:lnTo>
                    <a:pt x="78" y="976"/>
                  </a:lnTo>
                  <a:lnTo>
                    <a:pt x="78" y="956"/>
                  </a:lnTo>
                  <a:lnTo>
                    <a:pt x="49" y="946"/>
                  </a:lnTo>
                  <a:lnTo>
                    <a:pt x="49" y="937"/>
                  </a:lnTo>
                  <a:lnTo>
                    <a:pt x="30" y="927"/>
                  </a:lnTo>
                  <a:lnTo>
                    <a:pt x="10" y="93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20" name="Group 49"/>
            <p:cNvGrpSpPr>
              <a:grpSpLocks/>
            </p:cNvGrpSpPr>
            <p:nvPr/>
          </p:nvGrpSpPr>
          <p:grpSpPr bwMode="auto">
            <a:xfrm>
              <a:off x="7607" y="0"/>
              <a:ext cx="1151" cy="1298"/>
              <a:chOff x="7608" y="0"/>
              <a:chExt cx="1151" cy="1298"/>
            </a:xfrm>
          </p:grpSpPr>
          <p:sp>
            <p:nvSpPr>
              <p:cNvPr id="297" name="Freeform 51"/>
              <p:cNvSpPr>
                <a:spLocks/>
              </p:cNvSpPr>
              <p:nvPr/>
            </p:nvSpPr>
            <p:spPr bwMode="auto">
              <a:xfrm>
                <a:off x="7607" y="0"/>
                <a:ext cx="1151" cy="1298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  <a:lnTo>
                      <a:pt x="10" y="93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8" name="Freeform 50"/>
              <p:cNvSpPr>
                <a:spLocks/>
              </p:cNvSpPr>
              <p:nvPr/>
            </p:nvSpPr>
            <p:spPr bwMode="auto">
              <a:xfrm>
                <a:off x="7607" y="0"/>
                <a:ext cx="1151" cy="1298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64" name="Freeform 48"/>
            <p:cNvSpPr>
              <a:spLocks/>
            </p:cNvSpPr>
            <p:nvPr/>
          </p:nvSpPr>
          <p:spPr bwMode="auto">
            <a:xfrm>
              <a:off x="8613" y="157"/>
              <a:ext cx="20" cy="20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22" name="Group 45"/>
            <p:cNvGrpSpPr>
              <a:grpSpLocks/>
            </p:cNvGrpSpPr>
            <p:nvPr/>
          </p:nvGrpSpPr>
          <p:grpSpPr bwMode="auto">
            <a:xfrm>
              <a:off x="8612" y="156"/>
              <a:ext cx="20" cy="20"/>
              <a:chOff x="8613" y="156"/>
              <a:chExt cx="20" cy="20"/>
            </a:xfrm>
          </p:grpSpPr>
          <p:sp>
            <p:nvSpPr>
              <p:cNvPr id="295" name="Freeform 47"/>
              <p:cNvSpPr>
                <a:spLocks/>
              </p:cNvSpPr>
              <p:nvPr/>
            </p:nvSpPr>
            <p:spPr bwMode="auto">
              <a:xfrm>
                <a:off x="8614" y="157"/>
                <a:ext cx="20" cy="20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6" name="Freeform 46"/>
              <p:cNvSpPr>
                <a:spLocks/>
              </p:cNvSpPr>
              <p:nvPr/>
            </p:nvSpPr>
            <p:spPr bwMode="auto">
              <a:xfrm>
                <a:off x="8614" y="157"/>
                <a:ext cx="20" cy="20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66" name="Freeform 44"/>
            <p:cNvSpPr>
              <a:spLocks/>
            </p:cNvSpPr>
            <p:nvPr/>
          </p:nvSpPr>
          <p:spPr bwMode="auto">
            <a:xfrm>
              <a:off x="760" y="2654"/>
              <a:ext cx="138" cy="186"/>
            </a:xfrm>
            <a:custGeom>
              <a:avLst/>
              <a:gdLst>
                <a:gd name="T0" fmla="*/ 49 w 136"/>
                <a:gd name="T1" fmla="*/ 136 h 185"/>
                <a:gd name="T2" fmla="*/ 58 w 136"/>
                <a:gd name="T3" fmla="*/ 127 h 185"/>
                <a:gd name="T4" fmla="*/ 68 w 136"/>
                <a:gd name="T5" fmla="*/ 117 h 185"/>
                <a:gd name="T6" fmla="*/ 88 w 136"/>
                <a:gd name="T7" fmla="*/ 107 h 185"/>
                <a:gd name="T8" fmla="*/ 97 w 136"/>
                <a:gd name="T9" fmla="*/ 97 h 185"/>
                <a:gd name="T10" fmla="*/ 97 w 136"/>
                <a:gd name="T11" fmla="*/ 88 h 185"/>
                <a:gd name="T12" fmla="*/ 97 w 136"/>
                <a:gd name="T13" fmla="*/ 78 h 185"/>
                <a:gd name="T14" fmla="*/ 78 w 136"/>
                <a:gd name="T15" fmla="*/ 49 h 185"/>
                <a:gd name="T16" fmla="*/ 68 w 136"/>
                <a:gd name="T17" fmla="*/ 49 h 185"/>
                <a:gd name="T18" fmla="*/ 58 w 136"/>
                <a:gd name="T19" fmla="*/ 39 h 185"/>
                <a:gd name="T20" fmla="*/ 49 w 136"/>
                <a:gd name="T21" fmla="*/ 29 h 185"/>
                <a:gd name="T22" fmla="*/ 49 w 136"/>
                <a:gd name="T23" fmla="*/ 19 h 185"/>
                <a:gd name="T24" fmla="*/ 39 w 136"/>
                <a:gd name="T25" fmla="*/ 10 h 185"/>
                <a:gd name="T26" fmla="*/ 49 w 136"/>
                <a:gd name="T27" fmla="*/ 0 h 185"/>
                <a:gd name="T28" fmla="*/ 49 w 136"/>
                <a:gd name="T29" fmla="*/ 10 h 185"/>
                <a:gd name="T30" fmla="*/ 68 w 136"/>
                <a:gd name="T31" fmla="*/ 29 h 185"/>
                <a:gd name="T32" fmla="*/ 78 w 136"/>
                <a:gd name="T33" fmla="*/ 39 h 185"/>
                <a:gd name="T34" fmla="*/ 88 w 136"/>
                <a:gd name="T35" fmla="*/ 49 h 185"/>
                <a:gd name="T36" fmla="*/ 107 w 136"/>
                <a:gd name="T37" fmla="*/ 49 h 185"/>
                <a:gd name="T38" fmla="*/ 117 w 136"/>
                <a:gd name="T39" fmla="*/ 49 h 185"/>
                <a:gd name="T40" fmla="*/ 117 w 136"/>
                <a:gd name="T41" fmla="*/ 68 h 185"/>
                <a:gd name="T42" fmla="*/ 136 w 136"/>
                <a:gd name="T43" fmla="*/ 97 h 185"/>
                <a:gd name="T44" fmla="*/ 127 w 136"/>
                <a:gd name="T45" fmla="*/ 117 h 185"/>
                <a:gd name="T46" fmla="*/ 127 w 136"/>
                <a:gd name="T47" fmla="*/ 127 h 185"/>
                <a:gd name="T48" fmla="*/ 127 w 136"/>
                <a:gd name="T49" fmla="*/ 146 h 185"/>
                <a:gd name="T50" fmla="*/ 107 w 136"/>
                <a:gd name="T51" fmla="*/ 166 h 185"/>
                <a:gd name="T52" fmla="*/ 97 w 136"/>
                <a:gd name="T53" fmla="*/ 175 h 185"/>
                <a:gd name="T54" fmla="*/ 88 w 136"/>
                <a:gd name="T55" fmla="*/ 175 h 185"/>
                <a:gd name="T56" fmla="*/ 88 w 136"/>
                <a:gd name="T57" fmla="*/ 166 h 185"/>
                <a:gd name="T58" fmla="*/ 88 w 136"/>
                <a:gd name="T59" fmla="*/ 156 h 185"/>
                <a:gd name="T60" fmla="*/ 97 w 136"/>
                <a:gd name="T61" fmla="*/ 146 h 185"/>
                <a:gd name="T62" fmla="*/ 107 w 136"/>
                <a:gd name="T63" fmla="*/ 136 h 185"/>
                <a:gd name="T64" fmla="*/ 97 w 136"/>
                <a:gd name="T65" fmla="*/ 136 h 185"/>
                <a:gd name="T66" fmla="*/ 88 w 136"/>
                <a:gd name="T67" fmla="*/ 136 h 185"/>
                <a:gd name="T68" fmla="*/ 78 w 136"/>
                <a:gd name="T69" fmla="*/ 146 h 185"/>
                <a:gd name="T70" fmla="*/ 68 w 136"/>
                <a:gd name="T71" fmla="*/ 156 h 185"/>
                <a:gd name="T72" fmla="*/ 49 w 136"/>
                <a:gd name="T73" fmla="*/ 175 h 185"/>
                <a:gd name="T74" fmla="*/ 39 w 136"/>
                <a:gd name="T75" fmla="*/ 185 h 185"/>
                <a:gd name="T76" fmla="*/ 29 w 136"/>
                <a:gd name="T77" fmla="*/ 185 h 185"/>
                <a:gd name="T78" fmla="*/ 19 w 136"/>
                <a:gd name="T79" fmla="*/ 175 h 185"/>
                <a:gd name="T80" fmla="*/ 19 w 136"/>
                <a:gd name="T81" fmla="*/ 175 h 185"/>
                <a:gd name="T82" fmla="*/ 10 w 136"/>
                <a:gd name="T83" fmla="*/ 166 h 185"/>
                <a:gd name="T84" fmla="*/ 0 w 136"/>
                <a:gd name="T85" fmla="*/ 156 h 185"/>
                <a:gd name="T86" fmla="*/ 0 w 136"/>
                <a:gd name="T87" fmla="*/ 146 h 185"/>
                <a:gd name="T88" fmla="*/ 19 w 136"/>
                <a:gd name="T89" fmla="*/ 136 h 185"/>
                <a:gd name="T90" fmla="*/ 29 w 136"/>
                <a:gd name="T91" fmla="*/ 136 h 185"/>
                <a:gd name="T92" fmla="*/ 29 w 136"/>
                <a:gd name="T93" fmla="*/ 136 h 185"/>
                <a:gd name="T94" fmla="*/ 39 w 136"/>
                <a:gd name="T95" fmla="*/ 146 h 185"/>
                <a:gd name="T96" fmla="*/ 49 w 136"/>
                <a:gd name="T97" fmla="*/ 146 h 185"/>
                <a:gd name="T98" fmla="*/ 49 w 136"/>
                <a:gd name="T99" fmla="*/ 136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6"/>
                <a:gd name="T151" fmla="*/ 0 h 185"/>
                <a:gd name="T152" fmla="*/ 136 w 136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39" y="18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  <a:lnTo>
                    <a:pt x="49" y="13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24" name="Group 41"/>
            <p:cNvGrpSpPr>
              <a:grpSpLocks/>
            </p:cNvGrpSpPr>
            <p:nvPr/>
          </p:nvGrpSpPr>
          <p:grpSpPr bwMode="auto">
            <a:xfrm>
              <a:off x="761" y="2654"/>
              <a:ext cx="136" cy="185"/>
              <a:chOff x="761" y="2654"/>
              <a:chExt cx="136" cy="185"/>
            </a:xfrm>
          </p:grpSpPr>
          <p:sp>
            <p:nvSpPr>
              <p:cNvPr id="293" name="Freeform 43"/>
              <p:cNvSpPr>
                <a:spLocks/>
              </p:cNvSpPr>
              <p:nvPr/>
            </p:nvSpPr>
            <p:spPr bwMode="auto">
              <a:xfrm>
                <a:off x="760" y="2654"/>
                <a:ext cx="138" cy="186"/>
              </a:xfrm>
              <a:custGeom>
                <a:avLst/>
                <a:gdLst/>
                <a:ahLst/>
                <a:cxnLst>
                  <a:cxn ang="0">
                    <a:pos x="49" y="136"/>
                  </a:cxn>
                  <a:cxn ang="0">
                    <a:pos x="58" y="127"/>
                  </a:cxn>
                  <a:cxn ang="0">
                    <a:pos x="68" y="117"/>
                  </a:cxn>
                  <a:cxn ang="0">
                    <a:pos x="88" y="107"/>
                  </a:cxn>
                  <a:cxn ang="0">
                    <a:pos x="97" y="97"/>
                  </a:cxn>
                  <a:cxn ang="0">
                    <a:pos x="97" y="88"/>
                  </a:cxn>
                  <a:cxn ang="0">
                    <a:pos x="97" y="78"/>
                  </a:cxn>
                  <a:cxn ang="0">
                    <a:pos x="78" y="49"/>
                  </a:cxn>
                  <a:cxn ang="0">
                    <a:pos x="68" y="49"/>
                  </a:cxn>
                  <a:cxn ang="0">
                    <a:pos x="58" y="39"/>
                  </a:cxn>
                  <a:cxn ang="0">
                    <a:pos x="49" y="29"/>
                  </a:cxn>
                  <a:cxn ang="0">
                    <a:pos x="49" y="19"/>
                  </a:cxn>
                  <a:cxn ang="0">
                    <a:pos x="39" y="10"/>
                  </a:cxn>
                  <a:cxn ang="0">
                    <a:pos x="49" y="0"/>
                  </a:cxn>
                  <a:cxn ang="0">
                    <a:pos x="49" y="10"/>
                  </a:cxn>
                  <a:cxn ang="0">
                    <a:pos x="68" y="29"/>
                  </a:cxn>
                  <a:cxn ang="0">
                    <a:pos x="78" y="39"/>
                  </a:cxn>
                  <a:cxn ang="0">
                    <a:pos x="88" y="49"/>
                  </a:cxn>
                  <a:cxn ang="0">
                    <a:pos x="107" y="49"/>
                  </a:cxn>
                  <a:cxn ang="0">
                    <a:pos x="117" y="49"/>
                  </a:cxn>
                  <a:cxn ang="0">
                    <a:pos x="117" y="68"/>
                  </a:cxn>
                  <a:cxn ang="0">
                    <a:pos x="136" y="97"/>
                  </a:cxn>
                  <a:cxn ang="0">
                    <a:pos x="127" y="117"/>
                  </a:cxn>
                  <a:cxn ang="0">
                    <a:pos x="127" y="127"/>
                  </a:cxn>
                  <a:cxn ang="0">
                    <a:pos x="127" y="146"/>
                  </a:cxn>
                  <a:cxn ang="0">
                    <a:pos x="107" y="166"/>
                  </a:cxn>
                  <a:cxn ang="0">
                    <a:pos x="97" y="175"/>
                  </a:cxn>
                  <a:cxn ang="0">
                    <a:pos x="88" y="175"/>
                  </a:cxn>
                  <a:cxn ang="0">
                    <a:pos x="88" y="166"/>
                  </a:cxn>
                  <a:cxn ang="0">
                    <a:pos x="88" y="156"/>
                  </a:cxn>
                  <a:cxn ang="0">
                    <a:pos x="97" y="146"/>
                  </a:cxn>
                  <a:cxn ang="0">
                    <a:pos x="107" y="136"/>
                  </a:cxn>
                  <a:cxn ang="0">
                    <a:pos x="97" y="136"/>
                  </a:cxn>
                  <a:cxn ang="0">
                    <a:pos x="88" y="136"/>
                  </a:cxn>
                  <a:cxn ang="0">
                    <a:pos x="78" y="146"/>
                  </a:cxn>
                  <a:cxn ang="0">
                    <a:pos x="68" y="156"/>
                  </a:cxn>
                  <a:cxn ang="0">
                    <a:pos x="49" y="175"/>
                  </a:cxn>
                  <a:cxn ang="0">
                    <a:pos x="29" y="185"/>
                  </a:cxn>
                  <a:cxn ang="0">
                    <a:pos x="29" y="185"/>
                  </a:cxn>
                  <a:cxn ang="0">
                    <a:pos x="19" y="175"/>
                  </a:cxn>
                  <a:cxn ang="0">
                    <a:pos x="19" y="175"/>
                  </a:cxn>
                  <a:cxn ang="0">
                    <a:pos x="10" y="166"/>
                  </a:cxn>
                  <a:cxn ang="0">
                    <a:pos x="0" y="156"/>
                  </a:cxn>
                  <a:cxn ang="0">
                    <a:pos x="0" y="146"/>
                  </a:cxn>
                  <a:cxn ang="0">
                    <a:pos x="19" y="136"/>
                  </a:cxn>
                  <a:cxn ang="0">
                    <a:pos x="29" y="136"/>
                  </a:cxn>
                  <a:cxn ang="0">
                    <a:pos x="29" y="136"/>
                  </a:cxn>
                  <a:cxn ang="0">
                    <a:pos x="39" y="146"/>
                  </a:cxn>
                  <a:cxn ang="0">
                    <a:pos x="49" y="146"/>
                  </a:cxn>
                  <a:cxn ang="0">
                    <a:pos x="49" y="136"/>
                  </a:cxn>
                </a:cxnLst>
                <a:rect l="0" t="0" r="r" b="b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  <a:lnTo>
                      <a:pt x="49" y="136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4" name="Freeform 42"/>
              <p:cNvSpPr>
                <a:spLocks/>
              </p:cNvSpPr>
              <p:nvPr/>
            </p:nvSpPr>
            <p:spPr bwMode="auto">
              <a:xfrm>
                <a:off x="760" y="2654"/>
                <a:ext cx="138" cy="186"/>
              </a:xfrm>
              <a:custGeom>
                <a:avLst/>
                <a:gdLst/>
                <a:ahLst/>
                <a:cxnLst>
                  <a:cxn ang="0">
                    <a:pos x="49" y="136"/>
                  </a:cxn>
                  <a:cxn ang="0">
                    <a:pos x="58" y="127"/>
                  </a:cxn>
                  <a:cxn ang="0">
                    <a:pos x="68" y="117"/>
                  </a:cxn>
                  <a:cxn ang="0">
                    <a:pos x="88" y="107"/>
                  </a:cxn>
                  <a:cxn ang="0">
                    <a:pos x="97" y="97"/>
                  </a:cxn>
                  <a:cxn ang="0">
                    <a:pos x="97" y="88"/>
                  </a:cxn>
                  <a:cxn ang="0">
                    <a:pos x="97" y="78"/>
                  </a:cxn>
                  <a:cxn ang="0">
                    <a:pos x="78" y="49"/>
                  </a:cxn>
                  <a:cxn ang="0">
                    <a:pos x="68" y="49"/>
                  </a:cxn>
                  <a:cxn ang="0">
                    <a:pos x="58" y="39"/>
                  </a:cxn>
                  <a:cxn ang="0">
                    <a:pos x="49" y="29"/>
                  </a:cxn>
                  <a:cxn ang="0">
                    <a:pos x="49" y="19"/>
                  </a:cxn>
                  <a:cxn ang="0">
                    <a:pos x="39" y="10"/>
                  </a:cxn>
                  <a:cxn ang="0">
                    <a:pos x="49" y="0"/>
                  </a:cxn>
                  <a:cxn ang="0">
                    <a:pos x="49" y="10"/>
                  </a:cxn>
                  <a:cxn ang="0">
                    <a:pos x="68" y="29"/>
                  </a:cxn>
                  <a:cxn ang="0">
                    <a:pos x="78" y="39"/>
                  </a:cxn>
                  <a:cxn ang="0">
                    <a:pos x="88" y="49"/>
                  </a:cxn>
                  <a:cxn ang="0">
                    <a:pos x="107" y="49"/>
                  </a:cxn>
                  <a:cxn ang="0">
                    <a:pos x="117" y="49"/>
                  </a:cxn>
                  <a:cxn ang="0">
                    <a:pos x="117" y="68"/>
                  </a:cxn>
                  <a:cxn ang="0">
                    <a:pos x="136" y="97"/>
                  </a:cxn>
                  <a:cxn ang="0">
                    <a:pos x="127" y="117"/>
                  </a:cxn>
                  <a:cxn ang="0">
                    <a:pos x="127" y="127"/>
                  </a:cxn>
                  <a:cxn ang="0">
                    <a:pos x="127" y="146"/>
                  </a:cxn>
                  <a:cxn ang="0">
                    <a:pos x="107" y="166"/>
                  </a:cxn>
                  <a:cxn ang="0">
                    <a:pos x="97" y="175"/>
                  </a:cxn>
                  <a:cxn ang="0">
                    <a:pos x="88" y="175"/>
                  </a:cxn>
                  <a:cxn ang="0">
                    <a:pos x="88" y="166"/>
                  </a:cxn>
                  <a:cxn ang="0">
                    <a:pos x="88" y="156"/>
                  </a:cxn>
                  <a:cxn ang="0">
                    <a:pos x="97" y="146"/>
                  </a:cxn>
                  <a:cxn ang="0">
                    <a:pos x="107" y="136"/>
                  </a:cxn>
                  <a:cxn ang="0">
                    <a:pos x="97" y="136"/>
                  </a:cxn>
                  <a:cxn ang="0">
                    <a:pos x="88" y="136"/>
                  </a:cxn>
                  <a:cxn ang="0">
                    <a:pos x="78" y="146"/>
                  </a:cxn>
                  <a:cxn ang="0">
                    <a:pos x="68" y="156"/>
                  </a:cxn>
                  <a:cxn ang="0">
                    <a:pos x="49" y="175"/>
                  </a:cxn>
                  <a:cxn ang="0">
                    <a:pos x="29" y="185"/>
                  </a:cxn>
                  <a:cxn ang="0">
                    <a:pos x="29" y="185"/>
                  </a:cxn>
                  <a:cxn ang="0">
                    <a:pos x="19" y="175"/>
                  </a:cxn>
                  <a:cxn ang="0">
                    <a:pos x="19" y="175"/>
                  </a:cxn>
                  <a:cxn ang="0">
                    <a:pos x="10" y="166"/>
                  </a:cxn>
                  <a:cxn ang="0">
                    <a:pos x="0" y="156"/>
                  </a:cxn>
                  <a:cxn ang="0">
                    <a:pos x="0" y="146"/>
                  </a:cxn>
                  <a:cxn ang="0">
                    <a:pos x="19" y="136"/>
                  </a:cxn>
                  <a:cxn ang="0">
                    <a:pos x="29" y="136"/>
                  </a:cxn>
                  <a:cxn ang="0">
                    <a:pos x="29" y="136"/>
                  </a:cxn>
                  <a:cxn ang="0">
                    <a:pos x="39" y="146"/>
                  </a:cxn>
                  <a:cxn ang="0">
                    <a:pos x="49" y="146"/>
                  </a:cxn>
                </a:cxnLst>
                <a:rect l="0" t="0" r="r" b="b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68" name="Freeform 40"/>
            <p:cNvSpPr>
              <a:spLocks/>
            </p:cNvSpPr>
            <p:nvPr/>
          </p:nvSpPr>
          <p:spPr bwMode="auto">
            <a:xfrm>
              <a:off x="4457" y="3543"/>
              <a:ext cx="321" cy="447"/>
            </a:xfrm>
            <a:custGeom>
              <a:avLst/>
              <a:gdLst>
                <a:gd name="T0" fmla="*/ 126 w 322"/>
                <a:gd name="T1" fmla="*/ 136 h 449"/>
                <a:gd name="T2" fmla="*/ 117 w 322"/>
                <a:gd name="T3" fmla="*/ 107 h 449"/>
                <a:gd name="T4" fmla="*/ 97 w 322"/>
                <a:gd name="T5" fmla="*/ 127 h 449"/>
                <a:gd name="T6" fmla="*/ 97 w 322"/>
                <a:gd name="T7" fmla="*/ 117 h 449"/>
                <a:gd name="T8" fmla="*/ 117 w 322"/>
                <a:gd name="T9" fmla="*/ 78 h 449"/>
                <a:gd name="T10" fmla="*/ 117 w 322"/>
                <a:gd name="T11" fmla="*/ 19 h 449"/>
                <a:gd name="T12" fmla="*/ 126 w 322"/>
                <a:gd name="T13" fmla="*/ 19 h 449"/>
                <a:gd name="T14" fmla="*/ 146 w 322"/>
                <a:gd name="T15" fmla="*/ 19 h 449"/>
                <a:gd name="T16" fmla="*/ 156 w 322"/>
                <a:gd name="T17" fmla="*/ 39 h 449"/>
                <a:gd name="T18" fmla="*/ 166 w 322"/>
                <a:gd name="T19" fmla="*/ 68 h 449"/>
                <a:gd name="T20" fmla="*/ 205 w 322"/>
                <a:gd name="T21" fmla="*/ 68 h 449"/>
                <a:gd name="T22" fmla="*/ 205 w 322"/>
                <a:gd name="T23" fmla="*/ 39 h 449"/>
                <a:gd name="T24" fmla="*/ 224 w 322"/>
                <a:gd name="T25" fmla="*/ 48 h 449"/>
                <a:gd name="T26" fmla="*/ 244 w 322"/>
                <a:gd name="T27" fmla="*/ 68 h 449"/>
                <a:gd name="T28" fmla="*/ 273 w 322"/>
                <a:gd name="T29" fmla="*/ 68 h 449"/>
                <a:gd name="T30" fmla="*/ 283 w 322"/>
                <a:gd name="T31" fmla="*/ 78 h 449"/>
                <a:gd name="T32" fmla="*/ 302 w 322"/>
                <a:gd name="T33" fmla="*/ 88 h 449"/>
                <a:gd name="T34" fmla="*/ 302 w 322"/>
                <a:gd name="T35" fmla="*/ 97 h 449"/>
                <a:gd name="T36" fmla="*/ 302 w 322"/>
                <a:gd name="T37" fmla="*/ 117 h 449"/>
                <a:gd name="T38" fmla="*/ 312 w 322"/>
                <a:gd name="T39" fmla="*/ 136 h 449"/>
                <a:gd name="T40" fmla="*/ 322 w 322"/>
                <a:gd name="T41" fmla="*/ 166 h 449"/>
                <a:gd name="T42" fmla="*/ 312 w 322"/>
                <a:gd name="T43" fmla="*/ 205 h 449"/>
                <a:gd name="T44" fmla="*/ 302 w 322"/>
                <a:gd name="T45" fmla="*/ 224 h 449"/>
                <a:gd name="T46" fmla="*/ 322 w 322"/>
                <a:gd name="T47" fmla="*/ 252 h 449"/>
                <a:gd name="T48" fmla="*/ 312 w 322"/>
                <a:gd name="T49" fmla="*/ 281 h 449"/>
                <a:gd name="T50" fmla="*/ 292 w 322"/>
                <a:gd name="T51" fmla="*/ 301 h 449"/>
                <a:gd name="T52" fmla="*/ 273 w 322"/>
                <a:gd name="T53" fmla="*/ 320 h 449"/>
                <a:gd name="T54" fmla="*/ 244 w 322"/>
                <a:gd name="T55" fmla="*/ 330 h 449"/>
                <a:gd name="T56" fmla="*/ 214 w 322"/>
                <a:gd name="T57" fmla="*/ 350 h 449"/>
                <a:gd name="T58" fmla="*/ 195 w 322"/>
                <a:gd name="T59" fmla="*/ 369 h 449"/>
                <a:gd name="T60" fmla="*/ 185 w 322"/>
                <a:gd name="T61" fmla="*/ 379 h 449"/>
                <a:gd name="T62" fmla="*/ 156 w 322"/>
                <a:gd name="T63" fmla="*/ 379 h 449"/>
                <a:gd name="T64" fmla="*/ 136 w 322"/>
                <a:gd name="T65" fmla="*/ 418 h 449"/>
                <a:gd name="T66" fmla="*/ 107 w 322"/>
                <a:gd name="T67" fmla="*/ 418 h 449"/>
                <a:gd name="T68" fmla="*/ 87 w 322"/>
                <a:gd name="T69" fmla="*/ 408 h 449"/>
                <a:gd name="T70" fmla="*/ 48 w 322"/>
                <a:gd name="T71" fmla="*/ 418 h 449"/>
                <a:gd name="T72" fmla="*/ 68 w 322"/>
                <a:gd name="T73" fmla="*/ 438 h 449"/>
                <a:gd name="T74" fmla="*/ 29 w 322"/>
                <a:gd name="T75" fmla="*/ 438 h 449"/>
                <a:gd name="T76" fmla="*/ 0 w 322"/>
                <a:gd name="T77" fmla="*/ 408 h 449"/>
                <a:gd name="T78" fmla="*/ 9 w 322"/>
                <a:gd name="T79" fmla="*/ 389 h 449"/>
                <a:gd name="T80" fmla="*/ 0 w 322"/>
                <a:gd name="T81" fmla="*/ 369 h 449"/>
                <a:gd name="T82" fmla="*/ 29 w 322"/>
                <a:gd name="T83" fmla="*/ 359 h 449"/>
                <a:gd name="T84" fmla="*/ 48 w 322"/>
                <a:gd name="T85" fmla="*/ 340 h 449"/>
                <a:gd name="T86" fmla="*/ 68 w 322"/>
                <a:gd name="T87" fmla="*/ 340 h 449"/>
                <a:gd name="T88" fmla="*/ 87 w 322"/>
                <a:gd name="T89" fmla="*/ 311 h 449"/>
                <a:gd name="T90" fmla="*/ 117 w 322"/>
                <a:gd name="T91" fmla="*/ 291 h 449"/>
                <a:gd name="T92" fmla="*/ 97 w 322"/>
                <a:gd name="T93" fmla="*/ 272 h 449"/>
                <a:gd name="T94" fmla="*/ 87 w 322"/>
                <a:gd name="T95" fmla="*/ 252 h 449"/>
                <a:gd name="T96" fmla="*/ 107 w 322"/>
                <a:gd name="T97" fmla="*/ 252 h 449"/>
                <a:gd name="T98" fmla="*/ 107 w 322"/>
                <a:gd name="T99" fmla="*/ 224 h 449"/>
                <a:gd name="T100" fmla="*/ 97 w 322"/>
                <a:gd name="T101" fmla="*/ 224 h 449"/>
                <a:gd name="T102" fmla="*/ 117 w 322"/>
                <a:gd name="T103" fmla="*/ 195 h 449"/>
                <a:gd name="T104" fmla="*/ 126 w 322"/>
                <a:gd name="T105" fmla="*/ 166 h 449"/>
                <a:gd name="T106" fmla="*/ 126 w 322"/>
                <a:gd name="T107" fmla="*/ 156 h 449"/>
                <a:gd name="T108" fmla="*/ 136 w 322"/>
                <a:gd name="T109" fmla="*/ 136 h 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2"/>
                <a:gd name="T166" fmla="*/ 0 h 449"/>
                <a:gd name="T167" fmla="*/ 322 w 322"/>
                <a:gd name="T168" fmla="*/ 449 h 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2" h="449">
                  <a:moveTo>
                    <a:pt x="136" y="136"/>
                  </a:moveTo>
                  <a:lnTo>
                    <a:pt x="126" y="136"/>
                  </a:lnTo>
                  <a:lnTo>
                    <a:pt x="126" y="127"/>
                  </a:lnTo>
                  <a:lnTo>
                    <a:pt x="117" y="107"/>
                  </a:lnTo>
                  <a:lnTo>
                    <a:pt x="107" y="127"/>
                  </a:lnTo>
                  <a:lnTo>
                    <a:pt x="97" y="127"/>
                  </a:lnTo>
                  <a:lnTo>
                    <a:pt x="97" y="117"/>
                  </a:lnTo>
                  <a:lnTo>
                    <a:pt x="117" y="97"/>
                  </a:lnTo>
                  <a:lnTo>
                    <a:pt x="117" y="78"/>
                  </a:lnTo>
                  <a:lnTo>
                    <a:pt x="126" y="68"/>
                  </a:lnTo>
                  <a:lnTo>
                    <a:pt x="117" y="19"/>
                  </a:lnTo>
                  <a:lnTo>
                    <a:pt x="126" y="19"/>
                  </a:lnTo>
                  <a:lnTo>
                    <a:pt x="136" y="0"/>
                  </a:lnTo>
                  <a:lnTo>
                    <a:pt x="146" y="19"/>
                  </a:lnTo>
                  <a:lnTo>
                    <a:pt x="146" y="3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85" y="68"/>
                  </a:lnTo>
                  <a:lnTo>
                    <a:pt x="205" y="68"/>
                  </a:lnTo>
                  <a:lnTo>
                    <a:pt x="205" y="58"/>
                  </a:lnTo>
                  <a:lnTo>
                    <a:pt x="205" y="39"/>
                  </a:lnTo>
                  <a:lnTo>
                    <a:pt x="214" y="39"/>
                  </a:lnTo>
                  <a:lnTo>
                    <a:pt x="224" y="48"/>
                  </a:lnTo>
                  <a:lnTo>
                    <a:pt x="234" y="68"/>
                  </a:lnTo>
                  <a:lnTo>
                    <a:pt x="244" y="68"/>
                  </a:lnTo>
                  <a:lnTo>
                    <a:pt x="263" y="68"/>
                  </a:lnTo>
                  <a:lnTo>
                    <a:pt x="273" y="68"/>
                  </a:lnTo>
                  <a:lnTo>
                    <a:pt x="273" y="78"/>
                  </a:lnTo>
                  <a:lnTo>
                    <a:pt x="283" y="78"/>
                  </a:lnTo>
                  <a:lnTo>
                    <a:pt x="292" y="88"/>
                  </a:lnTo>
                  <a:lnTo>
                    <a:pt x="302" y="88"/>
                  </a:lnTo>
                  <a:lnTo>
                    <a:pt x="302" y="97"/>
                  </a:lnTo>
                  <a:lnTo>
                    <a:pt x="292" y="107"/>
                  </a:lnTo>
                  <a:lnTo>
                    <a:pt x="302" y="117"/>
                  </a:lnTo>
                  <a:lnTo>
                    <a:pt x="302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66"/>
                  </a:lnTo>
                  <a:lnTo>
                    <a:pt x="312" y="185"/>
                  </a:lnTo>
                  <a:lnTo>
                    <a:pt x="312" y="205"/>
                  </a:lnTo>
                  <a:lnTo>
                    <a:pt x="302" y="224"/>
                  </a:lnTo>
                  <a:lnTo>
                    <a:pt x="302" y="234"/>
                  </a:lnTo>
                  <a:lnTo>
                    <a:pt x="312" y="263"/>
                  </a:lnTo>
                  <a:lnTo>
                    <a:pt x="322" y="263"/>
                  </a:lnTo>
                  <a:lnTo>
                    <a:pt x="322" y="283"/>
                  </a:lnTo>
                  <a:lnTo>
                    <a:pt x="312" y="292"/>
                  </a:lnTo>
                  <a:lnTo>
                    <a:pt x="292" y="292"/>
                  </a:lnTo>
                  <a:lnTo>
                    <a:pt x="292" y="312"/>
                  </a:lnTo>
                  <a:lnTo>
                    <a:pt x="283" y="322"/>
                  </a:lnTo>
                  <a:lnTo>
                    <a:pt x="273" y="331"/>
                  </a:lnTo>
                  <a:lnTo>
                    <a:pt x="253" y="341"/>
                  </a:lnTo>
                  <a:lnTo>
                    <a:pt x="244" y="341"/>
                  </a:lnTo>
                  <a:lnTo>
                    <a:pt x="224" y="351"/>
                  </a:lnTo>
                  <a:lnTo>
                    <a:pt x="214" y="361"/>
                  </a:lnTo>
                  <a:lnTo>
                    <a:pt x="195" y="370"/>
                  </a:lnTo>
                  <a:lnTo>
                    <a:pt x="195" y="380"/>
                  </a:lnTo>
                  <a:lnTo>
                    <a:pt x="195" y="390"/>
                  </a:lnTo>
                  <a:lnTo>
                    <a:pt x="185" y="390"/>
                  </a:lnTo>
                  <a:lnTo>
                    <a:pt x="166" y="390"/>
                  </a:lnTo>
                  <a:lnTo>
                    <a:pt x="156" y="390"/>
                  </a:lnTo>
                  <a:lnTo>
                    <a:pt x="156" y="419"/>
                  </a:lnTo>
                  <a:lnTo>
                    <a:pt x="136" y="429"/>
                  </a:lnTo>
                  <a:lnTo>
                    <a:pt x="126" y="439"/>
                  </a:lnTo>
                  <a:lnTo>
                    <a:pt x="107" y="429"/>
                  </a:lnTo>
                  <a:lnTo>
                    <a:pt x="87" y="429"/>
                  </a:lnTo>
                  <a:lnTo>
                    <a:pt x="87" y="419"/>
                  </a:lnTo>
                  <a:lnTo>
                    <a:pt x="68" y="419"/>
                  </a:lnTo>
                  <a:lnTo>
                    <a:pt x="48" y="429"/>
                  </a:lnTo>
                  <a:lnTo>
                    <a:pt x="58" y="439"/>
                  </a:lnTo>
                  <a:lnTo>
                    <a:pt x="68" y="449"/>
                  </a:lnTo>
                  <a:lnTo>
                    <a:pt x="39" y="439"/>
                  </a:lnTo>
                  <a:lnTo>
                    <a:pt x="29" y="449"/>
                  </a:lnTo>
                  <a:lnTo>
                    <a:pt x="0" y="429"/>
                  </a:lnTo>
                  <a:lnTo>
                    <a:pt x="0" y="419"/>
                  </a:lnTo>
                  <a:lnTo>
                    <a:pt x="19" y="409"/>
                  </a:lnTo>
                  <a:lnTo>
                    <a:pt x="9" y="400"/>
                  </a:lnTo>
                  <a:lnTo>
                    <a:pt x="0" y="390"/>
                  </a:lnTo>
                  <a:lnTo>
                    <a:pt x="0" y="380"/>
                  </a:lnTo>
                  <a:lnTo>
                    <a:pt x="19" y="370"/>
                  </a:lnTo>
                  <a:lnTo>
                    <a:pt x="29" y="370"/>
                  </a:lnTo>
                  <a:lnTo>
                    <a:pt x="48" y="351"/>
                  </a:lnTo>
                  <a:lnTo>
                    <a:pt x="58" y="351"/>
                  </a:lnTo>
                  <a:lnTo>
                    <a:pt x="68" y="351"/>
                  </a:lnTo>
                  <a:lnTo>
                    <a:pt x="78" y="341"/>
                  </a:lnTo>
                  <a:lnTo>
                    <a:pt x="87" y="322"/>
                  </a:lnTo>
                  <a:lnTo>
                    <a:pt x="97" y="312"/>
                  </a:lnTo>
                  <a:lnTo>
                    <a:pt x="117" y="302"/>
                  </a:lnTo>
                  <a:lnTo>
                    <a:pt x="117" y="292"/>
                  </a:lnTo>
                  <a:lnTo>
                    <a:pt x="97" y="283"/>
                  </a:lnTo>
                  <a:lnTo>
                    <a:pt x="87" y="273"/>
                  </a:lnTo>
                  <a:lnTo>
                    <a:pt x="87" y="263"/>
                  </a:lnTo>
                  <a:lnTo>
                    <a:pt x="97" y="263"/>
                  </a:lnTo>
                  <a:lnTo>
                    <a:pt x="107" y="263"/>
                  </a:lnTo>
                  <a:lnTo>
                    <a:pt x="107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97" y="224"/>
                  </a:lnTo>
                  <a:lnTo>
                    <a:pt x="97" y="205"/>
                  </a:lnTo>
                  <a:lnTo>
                    <a:pt x="117" y="195"/>
                  </a:lnTo>
                  <a:lnTo>
                    <a:pt x="126" y="195"/>
                  </a:lnTo>
                  <a:lnTo>
                    <a:pt x="126" y="166"/>
                  </a:lnTo>
                  <a:lnTo>
                    <a:pt x="126" y="156"/>
                  </a:lnTo>
                  <a:lnTo>
                    <a:pt x="136" y="146"/>
                  </a:lnTo>
                  <a:lnTo>
                    <a:pt x="136" y="136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9" name="Freeform 39"/>
            <p:cNvSpPr>
              <a:spLocks/>
            </p:cNvSpPr>
            <p:nvPr/>
          </p:nvSpPr>
          <p:spPr bwMode="auto">
            <a:xfrm>
              <a:off x="1891" y="1650"/>
              <a:ext cx="273" cy="232"/>
            </a:xfrm>
            <a:custGeom>
              <a:avLst/>
              <a:gdLst/>
              <a:ahLst/>
              <a:cxnLst>
                <a:cxn ang="0">
                  <a:pos x="273" y="156"/>
                </a:cxn>
                <a:cxn ang="0">
                  <a:pos x="264" y="166"/>
                </a:cxn>
                <a:cxn ang="0">
                  <a:pos x="244" y="176"/>
                </a:cxn>
                <a:cxn ang="0">
                  <a:pos x="225" y="176"/>
                </a:cxn>
                <a:cxn ang="0">
                  <a:pos x="215" y="185"/>
                </a:cxn>
                <a:cxn ang="0">
                  <a:pos x="205" y="195"/>
                </a:cxn>
                <a:cxn ang="0">
                  <a:pos x="195" y="195"/>
                </a:cxn>
                <a:cxn ang="0">
                  <a:pos x="186" y="195"/>
                </a:cxn>
                <a:cxn ang="0">
                  <a:pos x="176" y="215"/>
                </a:cxn>
                <a:cxn ang="0">
                  <a:pos x="166" y="224"/>
                </a:cxn>
                <a:cxn ang="0">
                  <a:pos x="156" y="224"/>
                </a:cxn>
                <a:cxn ang="0">
                  <a:pos x="147" y="224"/>
                </a:cxn>
                <a:cxn ang="0">
                  <a:pos x="137" y="234"/>
                </a:cxn>
                <a:cxn ang="0">
                  <a:pos x="127" y="234"/>
                </a:cxn>
                <a:cxn ang="0">
                  <a:pos x="127" y="215"/>
                </a:cxn>
                <a:cxn ang="0">
                  <a:pos x="108" y="205"/>
                </a:cxn>
                <a:cxn ang="0">
                  <a:pos x="98" y="205"/>
                </a:cxn>
                <a:cxn ang="0">
                  <a:pos x="88" y="205"/>
                </a:cxn>
                <a:cxn ang="0">
                  <a:pos x="78" y="215"/>
                </a:cxn>
                <a:cxn ang="0">
                  <a:pos x="59" y="215"/>
                </a:cxn>
                <a:cxn ang="0">
                  <a:pos x="49" y="215"/>
                </a:cxn>
                <a:cxn ang="0">
                  <a:pos x="30" y="215"/>
                </a:cxn>
                <a:cxn ang="0">
                  <a:pos x="0" y="185"/>
                </a:cxn>
                <a:cxn ang="0">
                  <a:pos x="0" y="176"/>
                </a:cxn>
                <a:cxn ang="0">
                  <a:pos x="0" y="166"/>
                </a:cxn>
                <a:cxn ang="0">
                  <a:pos x="30" y="146"/>
                </a:cxn>
                <a:cxn ang="0">
                  <a:pos x="49" y="127"/>
                </a:cxn>
                <a:cxn ang="0">
                  <a:pos x="59" y="127"/>
                </a:cxn>
                <a:cxn ang="0">
                  <a:pos x="69" y="117"/>
                </a:cxn>
                <a:cxn ang="0">
                  <a:pos x="59" y="107"/>
                </a:cxn>
                <a:cxn ang="0">
                  <a:pos x="59" y="88"/>
                </a:cxn>
                <a:cxn ang="0">
                  <a:pos x="78" y="68"/>
                </a:cxn>
                <a:cxn ang="0">
                  <a:pos x="88" y="58"/>
                </a:cxn>
                <a:cxn ang="0">
                  <a:pos x="88" y="29"/>
                </a:cxn>
                <a:cxn ang="0">
                  <a:pos x="108" y="29"/>
                </a:cxn>
                <a:cxn ang="0">
                  <a:pos x="117" y="29"/>
                </a:cxn>
                <a:cxn ang="0">
                  <a:pos x="108" y="19"/>
                </a:cxn>
                <a:cxn ang="0">
                  <a:pos x="127" y="10"/>
                </a:cxn>
                <a:cxn ang="0">
                  <a:pos x="147" y="0"/>
                </a:cxn>
                <a:cxn ang="0">
                  <a:pos x="137" y="10"/>
                </a:cxn>
                <a:cxn ang="0">
                  <a:pos x="147" y="19"/>
                </a:cxn>
                <a:cxn ang="0">
                  <a:pos x="156" y="19"/>
                </a:cxn>
                <a:cxn ang="0">
                  <a:pos x="166" y="19"/>
                </a:cxn>
                <a:cxn ang="0">
                  <a:pos x="176" y="19"/>
                </a:cxn>
                <a:cxn ang="0">
                  <a:pos x="195" y="29"/>
                </a:cxn>
                <a:cxn ang="0">
                  <a:pos x="215" y="39"/>
                </a:cxn>
                <a:cxn ang="0">
                  <a:pos x="225" y="58"/>
                </a:cxn>
                <a:cxn ang="0">
                  <a:pos x="225" y="58"/>
                </a:cxn>
                <a:cxn ang="0">
                  <a:pos x="244" y="58"/>
                </a:cxn>
                <a:cxn ang="0">
                  <a:pos x="254" y="58"/>
                </a:cxn>
                <a:cxn ang="0">
                  <a:pos x="264" y="78"/>
                </a:cxn>
                <a:cxn ang="0">
                  <a:pos x="264" y="97"/>
                </a:cxn>
                <a:cxn ang="0">
                  <a:pos x="254" y="127"/>
                </a:cxn>
                <a:cxn ang="0">
                  <a:pos x="264" y="136"/>
                </a:cxn>
                <a:cxn ang="0">
                  <a:pos x="264" y="146"/>
                </a:cxn>
                <a:cxn ang="0">
                  <a:pos x="273" y="156"/>
                </a:cxn>
              </a:cxnLst>
              <a:rect l="0" t="0" r="r" b="b"/>
              <a:pathLst>
                <a:path w="273" h="234">
                  <a:moveTo>
                    <a:pt x="273" y="156"/>
                  </a:moveTo>
                  <a:lnTo>
                    <a:pt x="264" y="166"/>
                  </a:lnTo>
                  <a:lnTo>
                    <a:pt x="244" y="176"/>
                  </a:lnTo>
                  <a:lnTo>
                    <a:pt x="225" y="176"/>
                  </a:lnTo>
                  <a:lnTo>
                    <a:pt x="215" y="185"/>
                  </a:lnTo>
                  <a:lnTo>
                    <a:pt x="205" y="195"/>
                  </a:lnTo>
                  <a:lnTo>
                    <a:pt x="195" y="195"/>
                  </a:lnTo>
                  <a:lnTo>
                    <a:pt x="186" y="195"/>
                  </a:lnTo>
                  <a:lnTo>
                    <a:pt x="176" y="215"/>
                  </a:lnTo>
                  <a:lnTo>
                    <a:pt x="166" y="224"/>
                  </a:lnTo>
                  <a:lnTo>
                    <a:pt x="156" y="224"/>
                  </a:lnTo>
                  <a:lnTo>
                    <a:pt x="147" y="224"/>
                  </a:lnTo>
                  <a:lnTo>
                    <a:pt x="137" y="234"/>
                  </a:lnTo>
                  <a:lnTo>
                    <a:pt x="127" y="234"/>
                  </a:lnTo>
                  <a:lnTo>
                    <a:pt x="127" y="215"/>
                  </a:lnTo>
                  <a:lnTo>
                    <a:pt x="108" y="205"/>
                  </a:lnTo>
                  <a:lnTo>
                    <a:pt x="98" y="205"/>
                  </a:lnTo>
                  <a:lnTo>
                    <a:pt x="88" y="205"/>
                  </a:lnTo>
                  <a:lnTo>
                    <a:pt x="78" y="215"/>
                  </a:lnTo>
                  <a:lnTo>
                    <a:pt x="59" y="21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0" y="185"/>
                  </a:lnTo>
                  <a:lnTo>
                    <a:pt x="0" y="176"/>
                  </a:lnTo>
                  <a:lnTo>
                    <a:pt x="0" y="166"/>
                  </a:lnTo>
                  <a:lnTo>
                    <a:pt x="30" y="146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69" y="117"/>
                  </a:lnTo>
                  <a:lnTo>
                    <a:pt x="59" y="107"/>
                  </a:lnTo>
                  <a:lnTo>
                    <a:pt x="59" y="88"/>
                  </a:lnTo>
                  <a:lnTo>
                    <a:pt x="78" y="68"/>
                  </a:lnTo>
                  <a:lnTo>
                    <a:pt x="88" y="58"/>
                  </a:lnTo>
                  <a:lnTo>
                    <a:pt x="88" y="29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08" y="19"/>
                  </a:lnTo>
                  <a:lnTo>
                    <a:pt x="127" y="10"/>
                  </a:lnTo>
                  <a:lnTo>
                    <a:pt x="147" y="0"/>
                  </a:lnTo>
                  <a:lnTo>
                    <a:pt x="137" y="10"/>
                  </a:lnTo>
                  <a:lnTo>
                    <a:pt x="147" y="19"/>
                  </a:lnTo>
                  <a:lnTo>
                    <a:pt x="156" y="19"/>
                  </a:lnTo>
                  <a:lnTo>
                    <a:pt x="166" y="19"/>
                  </a:lnTo>
                  <a:lnTo>
                    <a:pt x="176" y="19"/>
                  </a:lnTo>
                  <a:lnTo>
                    <a:pt x="195" y="29"/>
                  </a:lnTo>
                  <a:lnTo>
                    <a:pt x="215" y="39"/>
                  </a:lnTo>
                  <a:lnTo>
                    <a:pt x="225" y="58"/>
                  </a:lnTo>
                  <a:lnTo>
                    <a:pt x="244" y="58"/>
                  </a:lnTo>
                  <a:lnTo>
                    <a:pt x="254" y="58"/>
                  </a:lnTo>
                  <a:lnTo>
                    <a:pt x="264" y="78"/>
                  </a:lnTo>
                  <a:lnTo>
                    <a:pt x="264" y="97"/>
                  </a:lnTo>
                  <a:lnTo>
                    <a:pt x="254" y="127"/>
                  </a:lnTo>
                  <a:lnTo>
                    <a:pt x="264" y="136"/>
                  </a:lnTo>
                  <a:lnTo>
                    <a:pt x="264" y="146"/>
                  </a:lnTo>
                  <a:lnTo>
                    <a:pt x="273" y="15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27" name="Group 36"/>
            <p:cNvGrpSpPr>
              <a:grpSpLocks/>
            </p:cNvGrpSpPr>
            <p:nvPr/>
          </p:nvGrpSpPr>
          <p:grpSpPr bwMode="auto">
            <a:xfrm>
              <a:off x="3863" y="917"/>
              <a:ext cx="624" cy="205"/>
              <a:chOff x="3863" y="917"/>
              <a:chExt cx="624" cy="205"/>
            </a:xfrm>
          </p:grpSpPr>
          <p:sp>
            <p:nvSpPr>
              <p:cNvPr id="291" name="Freeform 38"/>
              <p:cNvSpPr>
                <a:spLocks/>
              </p:cNvSpPr>
              <p:nvPr/>
            </p:nvSpPr>
            <p:spPr bwMode="auto">
              <a:xfrm>
                <a:off x="3864" y="918"/>
                <a:ext cx="625" cy="203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8DB3E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2" name="Freeform 37"/>
              <p:cNvSpPr>
                <a:spLocks/>
              </p:cNvSpPr>
              <p:nvPr/>
            </p:nvSpPr>
            <p:spPr bwMode="auto">
              <a:xfrm>
                <a:off x="3864" y="918"/>
                <a:ext cx="630" cy="203"/>
              </a:xfrm>
              <a:custGeom>
                <a:avLst/>
                <a:gdLst/>
                <a:ahLst/>
                <a:cxnLst>
                  <a:cxn ang="0">
                    <a:pos x="39" y="127"/>
                  </a:cxn>
                  <a:cxn ang="0">
                    <a:pos x="19" y="127"/>
                  </a:cxn>
                  <a:cxn ang="0">
                    <a:pos x="58" y="98"/>
                  </a:cxn>
                  <a:cxn ang="0">
                    <a:pos x="87" y="88"/>
                  </a:cxn>
                  <a:cxn ang="0">
                    <a:pos x="97" y="88"/>
                  </a:cxn>
                  <a:cxn ang="0">
                    <a:pos x="107" y="78"/>
                  </a:cxn>
                  <a:cxn ang="0">
                    <a:pos x="136" y="78"/>
                  </a:cxn>
                  <a:cxn ang="0">
                    <a:pos x="136" y="59"/>
                  </a:cxn>
                  <a:cxn ang="0">
                    <a:pos x="175" y="78"/>
                  </a:cxn>
                  <a:cxn ang="0">
                    <a:pos x="156" y="49"/>
                  </a:cxn>
                  <a:cxn ang="0">
                    <a:pos x="175" y="39"/>
                  </a:cxn>
                  <a:cxn ang="0">
                    <a:pos x="185" y="20"/>
                  </a:cxn>
                  <a:cxn ang="0">
                    <a:pos x="205" y="29"/>
                  </a:cxn>
                  <a:cxn ang="0">
                    <a:pos x="234" y="20"/>
                  </a:cxn>
                  <a:cxn ang="0">
                    <a:pos x="244" y="20"/>
                  </a:cxn>
                  <a:cxn ang="0">
                    <a:pos x="292" y="10"/>
                  </a:cxn>
                  <a:cxn ang="0">
                    <a:pos x="331" y="10"/>
                  </a:cxn>
                  <a:cxn ang="0">
                    <a:pos x="370" y="10"/>
                  </a:cxn>
                  <a:cxn ang="0">
                    <a:pos x="380" y="20"/>
                  </a:cxn>
                  <a:cxn ang="0">
                    <a:pos x="409" y="10"/>
                  </a:cxn>
                  <a:cxn ang="0">
                    <a:pos x="429" y="29"/>
                  </a:cxn>
                  <a:cxn ang="0">
                    <a:pos x="478" y="49"/>
                  </a:cxn>
                  <a:cxn ang="0">
                    <a:pos x="526" y="39"/>
                  </a:cxn>
                  <a:cxn ang="0">
                    <a:pos x="546" y="29"/>
                  </a:cxn>
                  <a:cxn ang="0">
                    <a:pos x="604" y="20"/>
                  </a:cxn>
                  <a:cxn ang="0">
                    <a:pos x="624" y="59"/>
                  </a:cxn>
                  <a:cxn ang="0">
                    <a:pos x="585" y="98"/>
                  </a:cxn>
                  <a:cxn ang="0">
                    <a:pos x="497" y="117"/>
                  </a:cxn>
                  <a:cxn ang="0">
                    <a:pos x="429" y="107"/>
                  </a:cxn>
                  <a:cxn ang="0">
                    <a:pos x="361" y="107"/>
                  </a:cxn>
                  <a:cxn ang="0">
                    <a:pos x="341" y="98"/>
                  </a:cxn>
                  <a:cxn ang="0">
                    <a:pos x="302" y="117"/>
                  </a:cxn>
                  <a:cxn ang="0">
                    <a:pos x="283" y="117"/>
                  </a:cxn>
                  <a:cxn ang="0">
                    <a:pos x="263" y="137"/>
                  </a:cxn>
                  <a:cxn ang="0">
                    <a:pos x="234" y="137"/>
                  </a:cxn>
                  <a:cxn ang="0">
                    <a:pos x="234" y="117"/>
                  </a:cxn>
                  <a:cxn ang="0">
                    <a:pos x="205" y="137"/>
                  </a:cxn>
                  <a:cxn ang="0">
                    <a:pos x="195" y="137"/>
                  </a:cxn>
                  <a:cxn ang="0">
                    <a:pos x="165" y="156"/>
                  </a:cxn>
                  <a:cxn ang="0">
                    <a:pos x="156" y="137"/>
                  </a:cxn>
                  <a:cxn ang="0">
                    <a:pos x="146" y="166"/>
                  </a:cxn>
                  <a:cxn ang="0">
                    <a:pos x="126" y="176"/>
                  </a:cxn>
                  <a:cxn ang="0">
                    <a:pos x="107" y="156"/>
                  </a:cxn>
                  <a:cxn ang="0">
                    <a:pos x="97" y="195"/>
                  </a:cxn>
                  <a:cxn ang="0">
                    <a:pos x="87" y="195"/>
                  </a:cxn>
                  <a:cxn ang="0">
                    <a:pos x="68" y="205"/>
                  </a:cxn>
                  <a:cxn ang="0">
                    <a:pos x="58" y="176"/>
                  </a:cxn>
                  <a:cxn ang="0">
                    <a:pos x="19" y="146"/>
                  </a:cxn>
                </a:cxnLst>
                <a:rect l="0" t="0" r="r" b="b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328" name="Group 33"/>
            <p:cNvGrpSpPr>
              <a:grpSpLocks/>
            </p:cNvGrpSpPr>
            <p:nvPr/>
          </p:nvGrpSpPr>
          <p:grpSpPr bwMode="auto">
            <a:xfrm>
              <a:off x="3648" y="1054"/>
              <a:ext cx="263" cy="322"/>
              <a:chOff x="3648" y="1054"/>
              <a:chExt cx="263" cy="322"/>
            </a:xfrm>
          </p:grpSpPr>
          <p:sp>
            <p:nvSpPr>
              <p:cNvPr id="289" name="Freeform 35"/>
              <p:cNvSpPr>
                <a:spLocks/>
              </p:cNvSpPr>
              <p:nvPr/>
            </p:nvSpPr>
            <p:spPr bwMode="auto">
              <a:xfrm>
                <a:off x="3647" y="1054"/>
                <a:ext cx="265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  <a:close/>
                  </a:path>
                </a:pathLst>
              </a:custGeom>
              <a:solidFill>
                <a:srgbClr val="8DB3E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0" name="Freeform 34"/>
              <p:cNvSpPr>
                <a:spLocks/>
              </p:cNvSpPr>
              <p:nvPr/>
            </p:nvSpPr>
            <p:spPr bwMode="auto">
              <a:xfrm>
                <a:off x="3647" y="1054"/>
                <a:ext cx="265" cy="322"/>
              </a:xfrm>
              <a:custGeom>
                <a:avLst/>
                <a:gdLst/>
                <a:ahLst/>
                <a:cxnLst>
                  <a:cxn ang="0">
                    <a:pos x="127" y="312"/>
                  </a:cxn>
                  <a:cxn ang="0">
                    <a:pos x="117" y="283"/>
                  </a:cxn>
                  <a:cxn ang="0">
                    <a:pos x="117" y="244"/>
                  </a:cxn>
                  <a:cxn ang="0">
                    <a:pos x="137" y="185"/>
                  </a:cxn>
                  <a:cxn ang="0">
                    <a:pos x="137" y="156"/>
                  </a:cxn>
                  <a:cxn ang="0">
                    <a:pos x="166" y="136"/>
                  </a:cxn>
                  <a:cxn ang="0">
                    <a:pos x="176" y="127"/>
                  </a:cxn>
                  <a:cxn ang="0">
                    <a:pos x="185" y="107"/>
                  </a:cxn>
                  <a:cxn ang="0">
                    <a:pos x="205" y="97"/>
                  </a:cxn>
                  <a:cxn ang="0">
                    <a:pos x="215" y="88"/>
                  </a:cxn>
                  <a:cxn ang="0">
                    <a:pos x="234" y="97"/>
                  </a:cxn>
                  <a:cxn ang="0">
                    <a:pos x="244" y="78"/>
                  </a:cxn>
                  <a:cxn ang="0">
                    <a:pos x="244" y="68"/>
                  </a:cxn>
                  <a:cxn ang="0">
                    <a:pos x="263" y="78"/>
                  </a:cxn>
                  <a:cxn ang="0">
                    <a:pos x="263" y="58"/>
                  </a:cxn>
                  <a:cxn ang="0">
                    <a:pos x="244" y="29"/>
                  </a:cxn>
                  <a:cxn ang="0">
                    <a:pos x="215" y="19"/>
                  </a:cxn>
                  <a:cxn ang="0">
                    <a:pos x="195" y="0"/>
                  </a:cxn>
                  <a:cxn ang="0">
                    <a:pos x="176" y="9"/>
                  </a:cxn>
                  <a:cxn ang="0">
                    <a:pos x="166" y="19"/>
                  </a:cxn>
                  <a:cxn ang="0">
                    <a:pos x="156" y="29"/>
                  </a:cxn>
                  <a:cxn ang="0">
                    <a:pos x="137" y="19"/>
                  </a:cxn>
                  <a:cxn ang="0">
                    <a:pos x="117" y="29"/>
                  </a:cxn>
                  <a:cxn ang="0">
                    <a:pos x="127" y="39"/>
                  </a:cxn>
                  <a:cxn ang="0">
                    <a:pos x="127" y="49"/>
                  </a:cxn>
                  <a:cxn ang="0">
                    <a:pos x="117" y="39"/>
                  </a:cxn>
                  <a:cxn ang="0">
                    <a:pos x="98" y="58"/>
                  </a:cxn>
                  <a:cxn ang="0">
                    <a:pos x="88" y="58"/>
                  </a:cxn>
                  <a:cxn ang="0">
                    <a:pos x="78" y="78"/>
                  </a:cxn>
                  <a:cxn ang="0">
                    <a:pos x="68" y="68"/>
                  </a:cxn>
                  <a:cxn ang="0">
                    <a:pos x="59" y="58"/>
                  </a:cxn>
                  <a:cxn ang="0">
                    <a:pos x="39" y="58"/>
                  </a:cxn>
                  <a:cxn ang="0">
                    <a:pos x="10" y="88"/>
                  </a:cxn>
                  <a:cxn ang="0">
                    <a:pos x="0" y="107"/>
                  </a:cxn>
                  <a:cxn ang="0">
                    <a:pos x="10" y="127"/>
                  </a:cxn>
                  <a:cxn ang="0">
                    <a:pos x="29" y="117"/>
                  </a:cxn>
                  <a:cxn ang="0">
                    <a:pos x="29" y="136"/>
                  </a:cxn>
                  <a:cxn ang="0">
                    <a:pos x="49" y="156"/>
                  </a:cxn>
                  <a:cxn ang="0">
                    <a:pos x="49" y="156"/>
                  </a:cxn>
                  <a:cxn ang="0">
                    <a:pos x="59" y="166"/>
                  </a:cxn>
                  <a:cxn ang="0">
                    <a:pos x="49" y="175"/>
                  </a:cxn>
                  <a:cxn ang="0">
                    <a:pos x="39" y="185"/>
                  </a:cxn>
                  <a:cxn ang="0">
                    <a:pos x="49" y="195"/>
                  </a:cxn>
                  <a:cxn ang="0">
                    <a:pos x="39" y="205"/>
                  </a:cxn>
                  <a:cxn ang="0">
                    <a:pos x="29" y="195"/>
                  </a:cxn>
                  <a:cxn ang="0">
                    <a:pos x="10" y="214"/>
                  </a:cxn>
                  <a:cxn ang="0">
                    <a:pos x="20" y="234"/>
                  </a:cxn>
                  <a:cxn ang="0">
                    <a:pos x="39" y="244"/>
                  </a:cxn>
                  <a:cxn ang="0">
                    <a:pos x="39" y="253"/>
                  </a:cxn>
                  <a:cxn ang="0">
                    <a:pos x="49" y="273"/>
                  </a:cxn>
                  <a:cxn ang="0">
                    <a:pos x="59" y="263"/>
                  </a:cxn>
                  <a:cxn ang="0">
                    <a:pos x="78" y="302"/>
                  </a:cxn>
                  <a:cxn ang="0">
                    <a:pos x="88" y="292"/>
                  </a:cxn>
                  <a:cxn ang="0">
                    <a:pos x="88" y="283"/>
                  </a:cxn>
                  <a:cxn ang="0">
                    <a:pos x="88" y="302"/>
                  </a:cxn>
                  <a:cxn ang="0">
                    <a:pos x="107" y="322"/>
                  </a:cxn>
                </a:cxnLst>
                <a:rect l="0" t="0" r="r" b="b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ru-RU" sz="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329" name="Group 30"/>
            <p:cNvGrpSpPr>
              <a:grpSpLocks/>
            </p:cNvGrpSpPr>
            <p:nvPr/>
          </p:nvGrpSpPr>
          <p:grpSpPr bwMode="auto">
            <a:xfrm>
              <a:off x="3755" y="1424"/>
              <a:ext cx="59" cy="98"/>
              <a:chOff x="3755" y="1424"/>
              <a:chExt cx="59" cy="98"/>
            </a:xfrm>
          </p:grpSpPr>
          <p:sp>
            <p:nvSpPr>
              <p:cNvPr id="287" name="Freeform 32"/>
              <p:cNvSpPr>
                <a:spLocks/>
              </p:cNvSpPr>
              <p:nvPr/>
            </p:nvSpPr>
            <p:spPr bwMode="auto">
              <a:xfrm>
                <a:off x="3754" y="1423"/>
                <a:ext cx="59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8" name="Freeform 31"/>
              <p:cNvSpPr>
                <a:spLocks/>
              </p:cNvSpPr>
              <p:nvPr/>
            </p:nvSpPr>
            <p:spPr bwMode="auto">
              <a:xfrm>
                <a:off x="3754" y="1423"/>
                <a:ext cx="59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</a:path>
                </a:pathLst>
              </a:custGeom>
              <a:solidFill>
                <a:srgbClr val="C0C0C0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330" name="Group 27"/>
            <p:cNvGrpSpPr>
              <a:grpSpLocks/>
            </p:cNvGrpSpPr>
            <p:nvPr/>
          </p:nvGrpSpPr>
          <p:grpSpPr bwMode="auto">
            <a:xfrm>
              <a:off x="6720" y="1395"/>
              <a:ext cx="19" cy="20"/>
              <a:chOff x="6721" y="1395"/>
              <a:chExt cx="19" cy="20"/>
            </a:xfrm>
          </p:grpSpPr>
          <p:sp>
            <p:nvSpPr>
              <p:cNvPr id="285" name="Freeform 29"/>
              <p:cNvSpPr>
                <a:spLocks/>
              </p:cNvSpPr>
              <p:nvPr/>
            </p:nvSpPr>
            <p:spPr bwMode="auto">
              <a:xfrm>
                <a:off x="6721" y="1394"/>
                <a:ext cx="20" cy="20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6" name="Freeform 28"/>
              <p:cNvSpPr>
                <a:spLocks/>
              </p:cNvSpPr>
              <p:nvPr/>
            </p:nvSpPr>
            <p:spPr bwMode="auto">
              <a:xfrm>
                <a:off x="6721" y="1394"/>
                <a:ext cx="20" cy="20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74" name="Freeform 26"/>
            <p:cNvSpPr>
              <a:spLocks/>
            </p:cNvSpPr>
            <p:nvPr/>
          </p:nvSpPr>
          <p:spPr bwMode="auto">
            <a:xfrm>
              <a:off x="1736" y="1815"/>
              <a:ext cx="79" cy="58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332" name="Group 23"/>
            <p:cNvGrpSpPr>
              <a:grpSpLocks/>
            </p:cNvGrpSpPr>
            <p:nvPr/>
          </p:nvGrpSpPr>
          <p:grpSpPr bwMode="auto">
            <a:xfrm>
              <a:off x="1736" y="1815"/>
              <a:ext cx="78" cy="58"/>
              <a:chOff x="1736" y="1815"/>
              <a:chExt cx="78" cy="58"/>
            </a:xfrm>
          </p:grpSpPr>
          <p:sp>
            <p:nvSpPr>
              <p:cNvPr id="283" name="Freeform 25"/>
              <p:cNvSpPr>
                <a:spLocks/>
              </p:cNvSpPr>
              <p:nvPr/>
            </p:nvSpPr>
            <p:spPr bwMode="auto">
              <a:xfrm>
                <a:off x="1736" y="1815"/>
                <a:ext cx="79" cy="58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4" name="Freeform 24"/>
              <p:cNvSpPr>
                <a:spLocks/>
              </p:cNvSpPr>
              <p:nvPr/>
            </p:nvSpPr>
            <p:spPr bwMode="auto">
              <a:xfrm>
                <a:off x="1736" y="1815"/>
                <a:ext cx="79" cy="58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36 h 58"/>
                  <a:gd name="T22" fmla="*/ 78 w 78"/>
                  <a:gd name="T23" fmla="*/ 50 h 58"/>
                  <a:gd name="T24" fmla="*/ 78 w 78"/>
                  <a:gd name="T25" fmla="*/ 60 h 58"/>
                  <a:gd name="T26" fmla="*/ 69 w 78"/>
                  <a:gd name="T27" fmla="*/ 69 h 58"/>
                  <a:gd name="T28" fmla="*/ 59 w 78"/>
                  <a:gd name="T29" fmla="*/ 69 h 58"/>
                  <a:gd name="T30" fmla="*/ 39 w 78"/>
                  <a:gd name="T31" fmla="*/ 69 h 58"/>
                  <a:gd name="T32" fmla="*/ 30 w 78"/>
                  <a:gd name="T33" fmla="*/ 69 h 58"/>
                  <a:gd name="T34" fmla="*/ 20 w 78"/>
                  <a:gd name="T35" fmla="*/ 69 h 58"/>
                  <a:gd name="T36" fmla="*/ 10 w 78"/>
                  <a:gd name="T37" fmla="*/ 60 h 58"/>
                  <a:gd name="T38" fmla="*/ 0 w 78"/>
                  <a:gd name="T39" fmla="*/ 60 h 58"/>
                  <a:gd name="T40" fmla="*/ 0 w 78"/>
                  <a:gd name="T41" fmla="*/ 50 h 58"/>
                  <a:gd name="T42" fmla="*/ 0 w 78"/>
                  <a:gd name="T43" fmla="*/ 36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F21C0A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76" name="Freeform 22"/>
            <p:cNvSpPr>
              <a:spLocks/>
            </p:cNvSpPr>
            <p:nvPr/>
          </p:nvSpPr>
          <p:spPr bwMode="auto">
            <a:xfrm>
              <a:off x="2566" y="2753"/>
              <a:ext cx="419" cy="418"/>
            </a:xfrm>
            <a:custGeom>
              <a:avLst/>
              <a:gdLst/>
              <a:ahLst/>
              <a:cxnLst>
                <a:cxn ang="0">
                  <a:pos x="30" y="342"/>
                </a:cxn>
                <a:cxn ang="0">
                  <a:pos x="69" y="361"/>
                </a:cxn>
                <a:cxn ang="0">
                  <a:pos x="49" y="381"/>
                </a:cxn>
                <a:cxn ang="0">
                  <a:pos x="39" y="410"/>
                </a:cxn>
                <a:cxn ang="0">
                  <a:pos x="88" y="410"/>
                </a:cxn>
                <a:cxn ang="0">
                  <a:pos x="117" y="420"/>
                </a:cxn>
                <a:cxn ang="0">
                  <a:pos x="127" y="381"/>
                </a:cxn>
                <a:cxn ang="0">
                  <a:pos x="137" y="371"/>
                </a:cxn>
                <a:cxn ang="0">
                  <a:pos x="176" y="361"/>
                </a:cxn>
                <a:cxn ang="0">
                  <a:pos x="205" y="391"/>
                </a:cxn>
                <a:cxn ang="0">
                  <a:pos x="234" y="371"/>
                </a:cxn>
                <a:cxn ang="0">
                  <a:pos x="215" y="352"/>
                </a:cxn>
                <a:cxn ang="0">
                  <a:pos x="195" y="322"/>
                </a:cxn>
                <a:cxn ang="0">
                  <a:pos x="225" y="332"/>
                </a:cxn>
                <a:cxn ang="0">
                  <a:pos x="225" y="303"/>
                </a:cxn>
                <a:cxn ang="0">
                  <a:pos x="205" y="293"/>
                </a:cxn>
                <a:cxn ang="0">
                  <a:pos x="225" y="274"/>
                </a:cxn>
                <a:cxn ang="0">
                  <a:pos x="254" y="274"/>
                </a:cxn>
                <a:cxn ang="0">
                  <a:pos x="273" y="293"/>
                </a:cxn>
                <a:cxn ang="0">
                  <a:pos x="293" y="303"/>
                </a:cxn>
                <a:cxn ang="0">
                  <a:pos x="332" y="313"/>
                </a:cxn>
                <a:cxn ang="0">
                  <a:pos x="371" y="322"/>
                </a:cxn>
                <a:cxn ang="0">
                  <a:pos x="371" y="303"/>
                </a:cxn>
                <a:cxn ang="0">
                  <a:pos x="381" y="293"/>
                </a:cxn>
                <a:cxn ang="0">
                  <a:pos x="381" y="264"/>
                </a:cxn>
                <a:cxn ang="0">
                  <a:pos x="352" y="244"/>
                </a:cxn>
                <a:cxn ang="0">
                  <a:pos x="332" y="235"/>
                </a:cxn>
                <a:cxn ang="0">
                  <a:pos x="342" y="205"/>
                </a:cxn>
                <a:cxn ang="0">
                  <a:pos x="371" y="196"/>
                </a:cxn>
                <a:cxn ang="0">
                  <a:pos x="410" y="186"/>
                </a:cxn>
                <a:cxn ang="0">
                  <a:pos x="410" y="147"/>
                </a:cxn>
                <a:cxn ang="0">
                  <a:pos x="410" y="127"/>
                </a:cxn>
                <a:cxn ang="0">
                  <a:pos x="410" y="98"/>
                </a:cxn>
                <a:cxn ang="0">
                  <a:pos x="381" y="59"/>
                </a:cxn>
                <a:cxn ang="0">
                  <a:pos x="352" y="69"/>
                </a:cxn>
                <a:cxn ang="0">
                  <a:pos x="283" y="20"/>
                </a:cxn>
                <a:cxn ang="0">
                  <a:pos x="254" y="10"/>
                </a:cxn>
                <a:cxn ang="0">
                  <a:pos x="234" y="39"/>
                </a:cxn>
                <a:cxn ang="0">
                  <a:pos x="225" y="59"/>
                </a:cxn>
                <a:cxn ang="0">
                  <a:pos x="234" y="78"/>
                </a:cxn>
                <a:cxn ang="0">
                  <a:pos x="205" y="88"/>
                </a:cxn>
                <a:cxn ang="0">
                  <a:pos x="186" y="78"/>
                </a:cxn>
                <a:cxn ang="0">
                  <a:pos x="166" y="78"/>
                </a:cxn>
                <a:cxn ang="0">
                  <a:pos x="147" y="59"/>
                </a:cxn>
                <a:cxn ang="0">
                  <a:pos x="127" y="59"/>
                </a:cxn>
                <a:cxn ang="0">
                  <a:pos x="137" y="30"/>
                </a:cxn>
                <a:cxn ang="0">
                  <a:pos x="88" y="30"/>
                </a:cxn>
                <a:cxn ang="0">
                  <a:pos x="59" y="59"/>
                </a:cxn>
                <a:cxn ang="0">
                  <a:pos x="78" y="117"/>
                </a:cxn>
                <a:cxn ang="0">
                  <a:pos x="127" y="137"/>
                </a:cxn>
                <a:cxn ang="0">
                  <a:pos x="156" y="137"/>
                </a:cxn>
                <a:cxn ang="0">
                  <a:pos x="205" y="137"/>
                </a:cxn>
                <a:cxn ang="0">
                  <a:pos x="215" y="147"/>
                </a:cxn>
                <a:cxn ang="0">
                  <a:pos x="186" y="176"/>
                </a:cxn>
                <a:cxn ang="0">
                  <a:pos x="156" y="196"/>
                </a:cxn>
                <a:cxn ang="0">
                  <a:pos x="127" y="186"/>
                </a:cxn>
                <a:cxn ang="0">
                  <a:pos x="98" y="205"/>
                </a:cxn>
                <a:cxn ang="0">
                  <a:pos x="69" y="215"/>
                </a:cxn>
                <a:cxn ang="0">
                  <a:pos x="39" y="264"/>
                </a:cxn>
                <a:cxn ang="0">
                  <a:pos x="39" y="274"/>
                </a:cxn>
                <a:cxn ang="0">
                  <a:pos x="10" y="293"/>
                </a:cxn>
                <a:cxn ang="0">
                  <a:pos x="10" y="332"/>
                </a:cxn>
                <a:cxn ang="0">
                  <a:pos x="20" y="342"/>
                </a:cxn>
              </a:cxnLst>
              <a:rect l="0" t="0" r="r" b="b"/>
              <a:pathLst>
                <a:path w="420" h="420">
                  <a:moveTo>
                    <a:pt x="20" y="342"/>
                  </a:moveTo>
                  <a:lnTo>
                    <a:pt x="30" y="342"/>
                  </a:lnTo>
                  <a:lnTo>
                    <a:pt x="59" y="352"/>
                  </a:lnTo>
                  <a:lnTo>
                    <a:pt x="69" y="361"/>
                  </a:lnTo>
                  <a:lnTo>
                    <a:pt x="69" y="381"/>
                  </a:lnTo>
                  <a:lnTo>
                    <a:pt x="49" y="381"/>
                  </a:lnTo>
                  <a:lnTo>
                    <a:pt x="30" y="391"/>
                  </a:lnTo>
                  <a:lnTo>
                    <a:pt x="39" y="410"/>
                  </a:lnTo>
                  <a:lnTo>
                    <a:pt x="69" y="410"/>
                  </a:lnTo>
                  <a:lnTo>
                    <a:pt x="88" y="410"/>
                  </a:lnTo>
                  <a:lnTo>
                    <a:pt x="108" y="420"/>
                  </a:lnTo>
                  <a:lnTo>
                    <a:pt x="117" y="420"/>
                  </a:lnTo>
                  <a:lnTo>
                    <a:pt x="127" y="400"/>
                  </a:lnTo>
                  <a:lnTo>
                    <a:pt x="127" y="381"/>
                  </a:lnTo>
                  <a:lnTo>
                    <a:pt x="127" y="361"/>
                  </a:lnTo>
                  <a:lnTo>
                    <a:pt x="137" y="371"/>
                  </a:lnTo>
                  <a:lnTo>
                    <a:pt x="156" y="371"/>
                  </a:lnTo>
                  <a:lnTo>
                    <a:pt x="176" y="361"/>
                  </a:lnTo>
                  <a:lnTo>
                    <a:pt x="186" y="371"/>
                  </a:lnTo>
                  <a:lnTo>
                    <a:pt x="205" y="391"/>
                  </a:lnTo>
                  <a:lnTo>
                    <a:pt x="225" y="391"/>
                  </a:lnTo>
                  <a:lnTo>
                    <a:pt x="234" y="371"/>
                  </a:lnTo>
                  <a:lnTo>
                    <a:pt x="225" y="361"/>
                  </a:lnTo>
                  <a:lnTo>
                    <a:pt x="215" y="352"/>
                  </a:lnTo>
                  <a:lnTo>
                    <a:pt x="186" y="332"/>
                  </a:lnTo>
                  <a:lnTo>
                    <a:pt x="195" y="322"/>
                  </a:lnTo>
                  <a:lnTo>
                    <a:pt x="205" y="322"/>
                  </a:lnTo>
                  <a:lnTo>
                    <a:pt x="225" y="332"/>
                  </a:lnTo>
                  <a:lnTo>
                    <a:pt x="225" y="322"/>
                  </a:lnTo>
                  <a:lnTo>
                    <a:pt x="225" y="303"/>
                  </a:lnTo>
                  <a:lnTo>
                    <a:pt x="205" y="303"/>
                  </a:lnTo>
                  <a:lnTo>
                    <a:pt x="205" y="293"/>
                  </a:lnTo>
                  <a:lnTo>
                    <a:pt x="215" y="283"/>
                  </a:lnTo>
                  <a:lnTo>
                    <a:pt x="225" y="274"/>
                  </a:lnTo>
                  <a:lnTo>
                    <a:pt x="244" y="274"/>
                  </a:lnTo>
                  <a:lnTo>
                    <a:pt x="254" y="274"/>
                  </a:lnTo>
                  <a:lnTo>
                    <a:pt x="254" y="293"/>
                  </a:lnTo>
                  <a:lnTo>
                    <a:pt x="273" y="293"/>
                  </a:lnTo>
                  <a:lnTo>
                    <a:pt x="283" y="313"/>
                  </a:lnTo>
                  <a:lnTo>
                    <a:pt x="293" y="303"/>
                  </a:lnTo>
                  <a:lnTo>
                    <a:pt x="312" y="313"/>
                  </a:lnTo>
                  <a:lnTo>
                    <a:pt x="332" y="313"/>
                  </a:lnTo>
                  <a:lnTo>
                    <a:pt x="352" y="322"/>
                  </a:lnTo>
                  <a:lnTo>
                    <a:pt x="371" y="322"/>
                  </a:lnTo>
                  <a:lnTo>
                    <a:pt x="381" y="332"/>
                  </a:lnTo>
                  <a:lnTo>
                    <a:pt x="371" y="303"/>
                  </a:lnTo>
                  <a:lnTo>
                    <a:pt x="371" y="293"/>
                  </a:lnTo>
                  <a:lnTo>
                    <a:pt x="381" y="293"/>
                  </a:lnTo>
                  <a:lnTo>
                    <a:pt x="391" y="274"/>
                  </a:lnTo>
                  <a:lnTo>
                    <a:pt x="381" y="264"/>
                  </a:lnTo>
                  <a:lnTo>
                    <a:pt x="361" y="264"/>
                  </a:lnTo>
                  <a:lnTo>
                    <a:pt x="352" y="244"/>
                  </a:lnTo>
                  <a:lnTo>
                    <a:pt x="332" y="244"/>
                  </a:lnTo>
                  <a:lnTo>
                    <a:pt x="332" y="235"/>
                  </a:lnTo>
                  <a:lnTo>
                    <a:pt x="342" y="225"/>
                  </a:lnTo>
                  <a:lnTo>
                    <a:pt x="342" y="205"/>
                  </a:lnTo>
                  <a:lnTo>
                    <a:pt x="361" y="205"/>
                  </a:lnTo>
                  <a:lnTo>
                    <a:pt x="371" y="196"/>
                  </a:lnTo>
                  <a:lnTo>
                    <a:pt x="371" y="186"/>
                  </a:lnTo>
                  <a:lnTo>
                    <a:pt x="410" y="186"/>
                  </a:lnTo>
                  <a:lnTo>
                    <a:pt x="410" y="166"/>
                  </a:lnTo>
                  <a:lnTo>
                    <a:pt x="410" y="147"/>
                  </a:lnTo>
                  <a:lnTo>
                    <a:pt x="420" y="137"/>
                  </a:lnTo>
                  <a:lnTo>
                    <a:pt x="410" y="127"/>
                  </a:lnTo>
                  <a:lnTo>
                    <a:pt x="420" y="108"/>
                  </a:lnTo>
                  <a:lnTo>
                    <a:pt x="410" y="98"/>
                  </a:lnTo>
                  <a:lnTo>
                    <a:pt x="400" y="78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2" y="69"/>
                  </a:lnTo>
                  <a:lnTo>
                    <a:pt x="322" y="49"/>
                  </a:lnTo>
                  <a:lnTo>
                    <a:pt x="283" y="20"/>
                  </a:lnTo>
                  <a:lnTo>
                    <a:pt x="273" y="0"/>
                  </a:lnTo>
                  <a:lnTo>
                    <a:pt x="254" y="10"/>
                  </a:lnTo>
                  <a:lnTo>
                    <a:pt x="254" y="30"/>
                  </a:lnTo>
                  <a:lnTo>
                    <a:pt x="234" y="39"/>
                  </a:lnTo>
                  <a:lnTo>
                    <a:pt x="234" y="49"/>
                  </a:lnTo>
                  <a:lnTo>
                    <a:pt x="225" y="59"/>
                  </a:lnTo>
                  <a:lnTo>
                    <a:pt x="234" y="59"/>
                  </a:lnTo>
                  <a:lnTo>
                    <a:pt x="234" y="78"/>
                  </a:lnTo>
                  <a:lnTo>
                    <a:pt x="205" y="69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186" y="78"/>
                  </a:lnTo>
                  <a:lnTo>
                    <a:pt x="176" y="78"/>
                  </a:lnTo>
                  <a:lnTo>
                    <a:pt x="166" y="78"/>
                  </a:lnTo>
                  <a:lnTo>
                    <a:pt x="147" y="78"/>
                  </a:lnTo>
                  <a:lnTo>
                    <a:pt x="147" y="59"/>
                  </a:lnTo>
                  <a:lnTo>
                    <a:pt x="127" y="69"/>
                  </a:lnTo>
                  <a:lnTo>
                    <a:pt x="127" y="59"/>
                  </a:lnTo>
                  <a:lnTo>
                    <a:pt x="147" y="49"/>
                  </a:lnTo>
                  <a:lnTo>
                    <a:pt x="137" y="30"/>
                  </a:lnTo>
                  <a:lnTo>
                    <a:pt x="127" y="20"/>
                  </a:lnTo>
                  <a:lnTo>
                    <a:pt x="88" y="30"/>
                  </a:lnTo>
                  <a:lnTo>
                    <a:pt x="78" y="59"/>
                  </a:lnTo>
                  <a:lnTo>
                    <a:pt x="59" y="59"/>
                  </a:lnTo>
                  <a:lnTo>
                    <a:pt x="69" y="88"/>
                  </a:lnTo>
                  <a:lnTo>
                    <a:pt x="78" y="117"/>
                  </a:lnTo>
                  <a:lnTo>
                    <a:pt x="108" y="117"/>
                  </a:lnTo>
                  <a:lnTo>
                    <a:pt x="127" y="137"/>
                  </a:lnTo>
                  <a:lnTo>
                    <a:pt x="137" y="137"/>
                  </a:lnTo>
                  <a:lnTo>
                    <a:pt x="156" y="137"/>
                  </a:lnTo>
                  <a:lnTo>
                    <a:pt x="176" y="147"/>
                  </a:lnTo>
                  <a:lnTo>
                    <a:pt x="205" y="137"/>
                  </a:lnTo>
                  <a:lnTo>
                    <a:pt x="215" y="137"/>
                  </a:lnTo>
                  <a:lnTo>
                    <a:pt x="215" y="147"/>
                  </a:lnTo>
                  <a:lnTo>
                    <a:pt x="205" y="166"/>
                  </a:lnTo>
                  <a:lnTo>
                    <a:pt x="186" y="176"/>
                  </a:lnTo>
                  <a:lnTo>
                    <a:pt x="176" y="186"/>
                  </a:lnTo>
                  <a:lnTo>
                    <a:pt x="156" y="196"/>
                  </a:lnTo>
                  <a:lnTo>
                    <a:pt x="147" y="186"/>
                  </a:lnTo>
                  <a:lnTo>
                    <a:pt x="127" y="186"/>
                  </a:lnTo>
                  <a:lnTo>
                    <a:pt x="108" y="186"/>
                  </a:lnTo>
                  <a:lnTo>
                    <a:pt x="98" y="205"/>
                  </a:lnTo>
                  <a:lnTo>
                    <a:pt x="78" y="215"/>
                  </a:lnTo>
                  <a:lnTo>
                    <a:pt x="69" y="215"/>
                  </a:lnTo>
                  <a:lnTo>
                    <a:pt x="59" y="244"/>
                  </a:lnTo>
                  <a:lnTo>
                    <a:pt x="39" y="264"/>
                  </a:lnTo>
                  <a:lnTo>
                    <a:pt x="49" y="274"/>
                  </a:lnTo>
                  <a:lnTo>
                    <a:pt x="39" y="274"/>
                  </a:lnTo>
                  <a:lnTo>
                    <a:pt x="30" y="274"/>
                  </a:lnTo>
                  <a:lnTo>
                    <a:pt x="10" y="293"/>
                  </a:lnTo>
                  <a:lnTo>
                    <a:pt x="0" y="322"/>
                  </a:lnTo>
                  <a:lnTo>
                    <a:pt x="10" y="332"/>
                  </a:lnTo>
                  <a:lnTo>
                    <a:pt x="10" y="342"/>
                  </a:lnTo>
                  <a:lnTo>
                    <a:pt x="20" y="34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7" name="Rectangle 21"/>
            <p:cNvSpPr>
              <a:spLocks noChangeArrowheads="1"/>
            </p:cNvSpPr>
            <p:nvPr/>
          </p:nvSpPr>
          <p:spPr bwMode="auto">
            <a:xfrm>
              <a:off x="2859" y="264"/>
              <a:ext cx="1697" cy="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8" name="Rectangle 19"/>
            <p:cNvSpPr>
              <a:spLocks noChangeArrowheads="1"/>
            </p:cNvSpPr>
            <p:nvPr/>
          </p:nvSpPr>
          <p:spPr bwMode="auto">
            <a:xfrm>
              <a:off x="0" y="1455"/>
              <a:ext cx="1404" cy="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9" name="Rectangle 17"/>
            <p:cNvSpPr>
              <a:spLocks noChangeArrowheads="1"/>
            </p:cNvSpPr>
            <p:nvPr/>
          </p:nvSpPr>
          <p:spPr bwMode="auto">
            <a:xfrm>
              <a:off x="487" y="3523"/>
              <a:ext cx="1404" cy="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0" name="Rectangle 15"/>
            <p:cNvSpPr>
              <a:spLocks noChangeArrowheads="1"/>
            </p:cNvSpPr>
            <p:nvPr/>
          </p:nvSpPr>
          <p:spPr bwMode="auto">
            <a:xfrm>
              <a:off x="1657" y="3328"/>
              <a:ext cx="1407" cy="3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1" name="Rectangle 14"/>
            <p:cNvSpPr>
              <a:spLocks noChangeArrowheads="1"/>
            </p:cNvSpPr>
            <p:nvPr/>
          </p:nvSpPr>
          <p:spPr bwMode="auto">
            <a:xfrm>
              <a:off x="3745" y="1170"/>
              <a:ext cx="1404" cy="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2" name="Rectangle 11"/>
            <p:cNvSpPr>
              <a:spLocks noChangeArrowheads="1"/>
            </p:cNvSpPr>
            <p:nvPr/>
          </p:nvSpPr>
          <p:spPr bwMode="auto">
            <a:xfrm>
              <a:off x="6300" y="566"/>
              <a:ext cx="1404" cy="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 sz="80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2055" name="Прямая соединительная линия 980"/>
          <p:cNvCxnSpPr>
            <a:cxnSpLocks noChangeShapeType="1"/>
          </p:cNvCxnSpPr>
          <p:nvPr/>
        </p:nvCxnSpPr>
        <p:spPr bwMode="auto">
          <a:xfrm>
            <a:off x="1157288" y="2763838"/>
            <a:ext cx="349250" cy="620712"/>
          </a:xfrm>
          <a:prstGeom prst="lin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400" name="Text Box 47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9900" y="2208213"/>
            <a:ext cx="1525588" cy="91598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0000"/>
            </a:solidFill>
            <a:miter lim="800000"/>
            <a:headEnd/>
            <a:tailEnd/>
          </a:ln>
        </p:spPr>
        <p:txBody>
          <a:bodyPr lIns="36000" tIns="36000" rIns="36000" anchor="b"/>
          <a:lstStyle/>
          <a:p>
            <a:pPr marL="114300" lvl="1" indent="-112713" algn="ctr" defTabSz="1019175" eaLnBrk="0" hangingPunct="0">
              <a:buClr>
                <a:srgbClr val="F5493B"/>
              </a:buClr>
              <a:defRPr/>
            </a:pPr>
            <a:r>
              <a:rPr lang="ru-RU" sz="900" dirty="0">
                <a:solidFill>
                  <a:srgbClr val="000000"/>
                </a:solidFill>
                <a:latin typeface="Arial"/>
              </a:rPr>
              <a:t>Установленная  мощность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   </a:t>
            </a:r>
            <a:r>
              <a:rPr lang="ru-RU" sz="900" dirty="0">
                <a:solidFill>
                  <a:srgbClr val="000000"/>
                </a:solidFill>
                <a:latin typeface="Arial"/>
              </a:rPr>
              <a:t>          </a:t>
            </a:r>
            <a:r>
              <a:rPr lang="en-US" sz="1600" dirty="0" smtClean="0">
                <a:solidFill>
                  <a:srgbClr val="000000"/>
                </a:solidFill>
                <a:latin typeface="Arial"/>
              </a:rPr>
              <a:t>1</a:t>
            </a:r>
            <a:r>
              <a:rPr lang="ru-RU" sz="1600" dirty="0" smtClean="0">
                <a:solidFill>
                  <a:srgbClr val="000000"/>
                </a:solidFill>
                <a:latin typeface="Arial"/>
              </a:rPr>
              <a:t> 4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93 </a:t>
            </a:r>
            <a:r>
              <a:rPr lang="ru-RU" sz="1600" dirty="0">
                <a:solidFill>
                  <a:srgbClr val="000000"/>
                </a:solidFill>
                <a:latin typeface="Arial"/>
              </a:rPr>
              <a:t>МВт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1" name="Text Box 47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84188" y="4002088"/>
            <a:ext cx="1530350" cy="83978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0000"/>
            </a:solidFill>
            <a:miter lim="800000"/>
            <a:headEnd/>
            <a:tailEnd/>
          </a:ln>
        </p:spPr>
        <p:txBody>
          <a:bodyPr lIns="36000" tIns="36000" rIns="36000" anchor="b"/>
          <a:lstStyle/>
          <a:p>
            <a:pPr marL="114300" lvl="1" indent="-112713" algn="ctr" defTabSz="1019175" eaLnBrk="0" hangingPunct="0">
              <a:buClr>
                <a:srgbClr val="F5493B"/>
              </a:buClr>
              <a:defRPr/>
            </a:pPr>
            <a:r>
              <a:rPr lang="ru-RU" sz="900" dirty="0">
                <a:solidFill>
                  <a:srgbClr val="000000"/>
                </a:solidFill>
                <a:latin typeface="Arial"/>
              </a:rPr>
              <a:t>Установленная мощность           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  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630 </a:t>
            </a:r>
            <a:r>
              <a:rPr lang="ru-RU" sz="1600" dirty="0">
                <a:solidFill>
                  <a:srgbClr val="000000"/>
                </a:solidFill>
                <a:latin typeface="Arial"/>
              </a:rPr>
              <a:t>МВт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058" name="Прямая соединительная линия 985"/>
          <p:cNvCxnSpPr>
            <a:cxnSpLocks noChangeShapeType="1"/>
          </p:cNvCxnSpPr>
          <p:nvPr/>
        </p:nvCxnSpPr>
        <p:spPr bwMode="auto">
          <a:xfrm flipV="1">
            <a:off x="1157288" y="3384550"/>
            <a:ext cx="174625" cy="679450"/>
          </a:xfrm>
          <a:prstGeom prst="lin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2059" name="Прямая соединительная линия 988"/>
          <p:cNvCxnSpPr>
            <a:cxnSpLocks noChangeShapeType="1"/>
          </p:cNvCxnSpPr>
          <p:nvPr/>
        </p:nvCxnSpPr>
        <p:spPr bwMode="auto">
          <a:xfrm flipH="1">
            <a:off x="2206625" y="2735263"/>
            <a:ext cx="536575" cy="931862"/>
          </a:xfrm>
          <a:prstGeom prst="lin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2060" name="Прямая соединительная линия 991"/>
          <p:cNvCxnSpPr>
            <a:cxnSpLocks noChangeShapeType="1"/>
          </p:cNvCxnSpPr>
          <p:nvPr/>
        </p:nvCxnSpPr>
        <p:spPr bwMode="auto">
          <a:xfrm flipH="1">
            <a:off x="2614613" y="2735263"/>
            <a:ext cx="1701800" cy="989012"/>
          </a:xfrm>
          <a:prstGeom prst="lin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2061" name="Прямая соединительная линия 993"/>
          <p:cNvCxnSpPr>
            <a:cxnSpLocks noChangeShapeType="1"/>
            <a:stCxn id="420" idx="1"/>
            <a:endCxn id="407" idx="0"/>
          </p:cNvCxnSpPr>
          <p:nvPr/>
        </p:nvCxnSpPr>
        <p:spPr bwMode="auto">
          <a:xfrm flipH="1">
            <a:off x="3111500" y="4046538"/>
            <a:ext cx="692150" cy="276225"/>
          </a:xfrm>
          <a:prstGeom prst="lin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406" name="Oval 391"/>
          <p:cNvSpPr>
            <a:spLocks noChangeArrowheads="1"/>
          </p:cNvSpPr>
          <p:nvPr/>
        </p:nvSpPr>
        <p:spPr bwMode="auto">
          <a:xfrm>
            <a:off x="2555875" y="3724275"/>
            <a:ext cx="57150" cy="539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7" name="Oval 392"/>
          <p:cNvSpPr>
            <a:spLocks noChangeArrowheads="1"/>
          </p:cNvSpPr>
          <p:nvPr/>
        </p:nvSpPr>
        <p:spPr bwMode="auto">
          <a:xfrm>
            <a:off x="3082925" y="4322763"/>
            <a:ext cx="57150" cy="5556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8" name="Oval 393"/>
          <p:cNvSpPr>
            <a:spLocks noChangeArrowheads="1"/>
          </p:cNvSpPr>
          <p:nvPr/>
        </p:nvSpPr>
        <p:spPr bwMode="auto">
          <a:xfrm>
            <a:off x="2147888" y="3668713"/>
            <a:ext cx="57150" cy="5556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9" name="Oval 394"/>
          <p:cNvSpPr>
            <a:spLocks noChangeArrowheads="1"/>
          </p:cNvSpPr>
          <p:nvPr/>
        </p:nvSpPr>
        <p:spPr bwMode="auto">
          <a:xfrm>
            <a:off x="1482725" y="3384550"/>
            <a:ext cx="57150" cy="555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0" name="Oval 395"/>
          <p:cNvSpPr>
            <a:spLocks noChangeArrowheads="1"/>
          </p:cNvSpPr>
          <p:nvPr/>
        </p:nvSpPr>
        <p:spPr bwMode="auto">
          <a:xfrm>
            <a:off x="1325563" y="3290888"/>
            <a:ext cx="57150" cy="5556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1" name="Text Box 47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03650" y="3908425"/>
            <a:ext cx="1603375" cy="90487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0000"/>
            </a:solidFill>
            <a:miter lim="800000"/>
            <a:headEnd/>
            <a:tailEnd/>
          </a:ln>
        </p:spPr>
        <p:txBody>
          <a:bodyPr lIns="36000" tIns="36000" rIns="36000" anchor="b"/>
          <a:lstStyle/>
          <a:p>
            <a:pPr marL="114300" lvl="1" indent="-112713" algn="ctr" defTabSz="1019175" eaLnBrk="0" hangingPunct="0">
              <a:buClr>
                <a:srgbClr val="F5493B"/>
              </a:buClr>
              <a:defRPr/>
            </a:pPr>
            <a:r>
              <a:rPr lang="ru-RU" sz="900" dirty="0">
                <a:solidFill>
                  <a:srgbClr val="000000"/>
                </a:solidFill>
                <a:latin typeface="Arial"/>
              </a:rPr>
              <a:t>Установленная мощность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   </a:t>
            </a:r>
            <a:r>
              <a:rPr lang="ru-RU" sz="900" dirty="0">
                <a:solidFill>
                  <a:srgbClr val="000000"/>
                </a:solidFill>
                <a:latin typeface="Arial"/>
              </a:rPr>
              <a:t>           </a:t>
            </a:r>
            <a:r>
              <a:rPr lang="en-US" sz="1600" dirty="0" smtClean="0">
                <a:solidFill>
                  <a:srgbClr val="000000"/>
                </a:solidFill>
                <a:latin typeface="Arial"/>
              </a:rPr>
              <a:t>1</a:t>
            </a:r>
            <a:r>
              <a:rPr lang="ru-RU" sz="1600" dirty="0" smtClean="0">
                <a:solidFill>
                  <a:srgbClr val="000000"/>
                </a:solidFill>
                <a:latin typeface="Arial"/>
              </a:rPr>
              <a:t> 60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0 </a:t>
            </a:r>
            <a:r>
              <a:rPr lang="ru-RU" sz="1600" dirty="0">
                <a:solidFill>
                  <a:srgbClr val="000000"/>
                </a:solidFill>
                <a:latin typeface="Arial"/>
              </a:rPr>
              <a:t>МВт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2" name="Text Box 47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75063" y="2284413"/>
            <a:ext cx="1527175" cy="83978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0000"/>
            </a:solidFill>
            <a:miter lim="800000"/>
            <a:headEnd/>
            <a:tailEnd/>
          </a:ln>
        </p:spPr>
        <p:txBody>
          <a:bodyPr lIns="36000" tIns="36000" rIns="36000" anchor="b"/>
          <a:lstStyle/>
          <a:p>
            <a:pPr marL="114300" lvl="1" indent="-112713" algn="ctr" defTabSz="1019175" eaLnBrk="0" hangingPunct="0">
              <a:buClr>
                <a:srgbClr val="F5493B"/>
              </a:buClr>
              <a:defRPr/>
            </a:pPr>
            <a:r>
              <a:rPr lang="ru-RU" sz="900" dirty="0">
                <a:solidFill>
                  <a:srgbClr val="000000"/>
                </a:solidFill>
                <a:latin typeface="Arial"/>
              </a:rPr>
              <a:t>Установленная мощность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  </a:t>
            </a:r>
            <a:r>
              <a:rPr lang="ru-RU" sz="900" dirty="0">
                <a:solidFill>
                  <a:srgbClr val="000000"/>
                </a:solidFill>
                <a:latin typeface="Arial"/>
              </a:rPr>
              <a:t>          </a:t>
            </a:r>
            <a:r>
              <a:rPr lang="en-US" sz="1600" dirty="0" smtClean="0">
                <a:solidFill>
                  <a:srgbClr val="000000"/>
                </a:solidFill>
                <a:latin typeface="Arial"/>
              </a:rPr>
              <a:t>5</a:t>
            </a:r>
            <a:r>
              <a:rPr lang="ru-RU" sz="16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Arial"/>
              </a:rPr>
              <a:t>597 </a:t>
            </a:r>
            <a:r>
              <a:rPr lang="ru-RU" sz="1600" dirty="0">
                <a:solidFill>
                  <a:srgbClr val="000000"/>
                </a:solidFill>
                <a:latin typeface="Arial"/>
              </a:rPr>
              <a:t>МВт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3" name="Text Box 47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073275" y="2284413"/>
            <a:ext cx="1525588" cy="83978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FF0000"/>
            </a:solidFill>
            <a:miter lim="800000"/>
            <a:headEnd/>
            <a:tailEnd/>
          </a:ln>
        </p:spPr>
        <p:txBody>
          <a:bodyPr lIns="36000" tIns="36000" rIns="36000" anchor="b"/>
          <a:lstStyle/>
          <a:p>
            <a:pPr marL="114300" lvl="1" indent="-112713" algn="ctr" defTabSz="1019175" eaLnBrk="0" hangingPunct="0">
              <a:buClr>
                <a:srgbClr val="F5493B"/>
              </a:buClr>
              <a:defRPr/>
            </a:pPr>
            <a:r>
              <a:rPr lang="ru-RU" sz="900" dirty="0">
                <a:solidFill>
                  <a:srgbClr val="000000"/>
                </a:solidFill>
                <a:latin typeface="Arial"/>
              </a:rPr>
              <a:t>Установленная мощность 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1</a:t>
            </a:r>
            <a:r>
              <a:rPr lang="ru-RU" sz="16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025 </a:t>
            </a:r>
            <a:r>
              <a:rPr lang="ru-RU" sz="1600" dirty="0">
                <a:solidFill>
                  <a:srgbClr val="000000"/>
                </a:solidFill>
                <a:latin typeface="Arial"/>
              </a:rPr>
              <a:t>МВт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7" name="Text Box 478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69900" y="2084388"/>
            <a:ext cx="1525588" cy="533400"/>
          </a:xfrm>
          <a:prstGeom prst="rect">
            <a:avLst/>
          </a:prstGeom>
          <a:solidFill>
            <a:srgbClr val="F21C0A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defTabSz="1019175" eaLnBrk="0" hangingPunct="0">
              <a:defRPr/>
            </a:pPr>
            <a:r>
              <a:rPr lang="ru-RU" sz="1200" b="1" dirty="0">
                <a:solidFill>
                  <a:srgbClr val="FFFFFF"/>
                </a:solidFill>
                <a:latin typeface="Arial"/>
              </a:rPr>
              <a:t>Шатурская ГРЭС</a:t>
            </a:r>
            <a:endParaRPr lang="en-GB" sz="1200" b="1" dirty="0">
              <a:solidFill>
                <a:srgbClr val="FFFFFF"/>
              </a:solidFill>
              <a:latin typeface="Arial"/>
            </a:endParaRPr>
          </a:p>
          <a:p>
            <a:pPr algn="ctr" defTabSz="1019175" eaLnBrk="0" hangingPunct="0">
              <a:defRPr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Московская область</a:t>
            </a:r>
            <a:endParaRPr lang="en-GB" sz="1200" baseline="30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8" name="Text Box 478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79425" y="3708400"/>
            <a:ext cx="1535113" cy="666750"/>
          </a:xfrm>
          <a:prstGeom prst="rect">
            <a:avLst/>
          </a:prstGeom>
          <a:solidFill>
            <a:srgbClr val="F21C0A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defTabSz="1019175" eaLnBrk="0" hangingPunct="0">
              <a:defRPr/>
            </a:pPr>
            <a:r>
              <a:rPr lang="ru-RU" sz="1200" b="1" dirty="0">
                <a:solidFill>
                  <a:srgbClr val="FFFFFF"/>
                </a:solidFill>
                <a:latin typeface="Arial"/>
              </a:rPr>
              <a:t>Смоленская ГРЭС</a:t>
            </a:r>
            <a:endParaRPr lang="en-GB" sz="1200" b="1" dirty="0">
              <a:solidFill>
                <a:srgbClr val="FFFFFF"/>
              </a:solidFill>
              <a:latin typeface="Arial"/>
            </a:endParaRPr>
          </a:p>
          <a:p>
            <a:pPr algn="ctr" defTabSz="1019175" eaLnBrk="0" hangingPunct="0">
              <a:defRPr/>
            </a:pPr>
            <a:r>
              <a:rPr lang="ru-RU" sz="1200" b="1" dirty="0">
                <a:solidFill>
                  <a:srgbClr val="FFFFFF"/>
                </a:solidFill>
                <a:latin typeface="Arial"/>
              </a:rPr>
              <a:t>Смоленская область </a:t>
            </a:r>
            <a:endParaRPr lang="en-GB" sz="12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9" name="Text Box 47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675063" y="2084388"/>
            <a:ext cx="1527175" cy="533400"/>
          </a:xfrm>
          <a:prstGeom prst="rect">
            <a:avLst/>
          </a:prstGeom>
          <a:solidFill>
            <a:srgbClr val="F21C0A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defTabSz="1019175" eaLnBrk="0" hangingPunct="0">
              <a:defRPr/>
            </a:pPr>
            <a:r>
              <a:rPr lang="ru-RU" sz="1200" b="1" dirty="0" err="1">
                <a:solidFill>
                  <a:srgbClr val="FFFFFF"/>
                </a:solidFill>
                <a:latin typeface="Arial"/>
              </a:rPr>
              <a:t>Сургутская</a:t>
            </a:r>
            <a:r>
              <a:rPr lang="ru-RU" sz="1200" b="1" dirty="0">
                <a:solidFill>
                  <a:srgbClr val="FFFFFF"/>
                </a:solidFill>
                <a:latin typeface="Arial"/>
              </a:rPr>
              <a:t> ГРЭС-2</a:t>
            </a:r>
          </a:p>
          <a:p>
            <a:pPr algn="ctr" defTabSz="1019175" eaLnBrk="0" hangingPunct="0">
              <a:defRPr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ХМАО-ЮГРА</a:t>
            </a:r>
            <a:endParaRPr lang="en-GB" sz="1200" baseline="30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0" name="Text Box 478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803650" y="3717925"/>
            <a:ext cx="1603375" cy="657225"/>
          </a:xfrm>
          <a:prstGeom prst="rect">
            <a:avLst/>
          </a:prstGeom>
          <a:solidFill>
            <a:srgbClr val="F21C0A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defTabSz="1019175" eaLnBrk="0" hangingPunct="0">
              <a:defRPr/>
            </a:pPr>
            <a:r>
              <a:rPr lang="ru-RU" sz="1200" b="1" dirty="0">
                <a:solidFill>
                  <a:srgbClr val="FFFFFF"/>
                </a:solidFill>
                <a:latin typeface="Arial"/>
              </a:rPr>
              <a:t>Березовская ГРЭС</a:t>
            </a:r>
            <a:endParaRPr lang="en-GB" sz="1200" b="1" dirty="0">
              <a:solidFill>
                <a:srgbClr val="FFFFFF"/>
              </a:solidFill>
              <a:latin typeface="Arial"/>
            </a:endParaRPr>
          </a:p>
          <a:p>
            <a:pPr algn="ctr" defTabSz="1019175" eaLnBrk="0" hangingPunct="0">
              <a:defRPr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Красноярский край </a:t>
            </a:r>
            <a:endParaRPr lang="en-GB" sz="1200" baseline="30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1" name="Text Box 47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073275" y="2084388"/>
            <a:ext cx="1525588" cy="533400"/>
          </a:xfrm>
          <a:prstGeom prst="rect">
            <a:avLst/>
          </a:prstGeom>
          <a:solidFill>
            <a:srgbClr val="F21C0A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36000" rIns="36000" anchor="ctr"/>
          <a:lstStyle/>
          <a:p>
            <a:pPr algn="ctr" defTabSz="1019175" eaLnBrk="0" hangingPunct="0">
              <a:defRPr/>
            </a:pPr>
            <a:r>
              <a:rPr lang="ru-RU" sz="1200" b="1" dirty="0" err="1">
                <a:solidFill>
                  <a:srgbClr val="FFFFFF"/>
                </a:solidFill>
                <a:latin typeface="Arial"/>
              </a:rPr>
              <a:t>Яйвинская</a:t>
            </a:r>
            <a:r>
              <a:rPr lang="ru-RU" sz="1200" b="1" dirty="0">
                <a:solidFill>
                  <a:srgbClr val="FFFFFF"/>
                </a:solidFill>
                <a:latin typeface="Arial"/>
              </a:rPr>
              <a:t> ГРЭС</a:t>
            </a:r>
            <a:endParaRPr lang="en-GB" sz="1200" b="1" dirty="0">
              <a:solidFill>
                <a:srgbClr val="FFFFFF"/>
              </a:solidFill>
              <a:latin typeface="Arial"/>
            </a:endParaRPr>
          </a:p>
          <a:p>
            <a:pPr algn="ctr" defTabSz="1019175" eaLnBrk="0" hangingPunct="0">
              <a:defRPr/>
            </a:pPr>
            <a:r>
              <a:rPr lang="ru-RU" sz="1200" dirty="0">
                <a:solidFill>
                  <a:srgbClr val="FFFFFF"/>
                </a:solidFill>
                <a:latin typeface="Arial"/>
              </a:rPr>
              <a:t>Пермский край</a:t>
            </a:r>
            <a:endParaRPr lang="en-GB" sz="1200" baseline="30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3" name="Text Box 477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9588" y="4911725"/>
            <a:ext cx="5019675" cy="102870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lIns="36000" tIns="36000" rIns="36000" anchor="b"/>
          <a:lstStyle/>
          <a:p>
            <a:pPr marL="114300" lvl="1" indent="-112713" algn="ctr" defTabSz="1019175" eaLnBrk="0" hangingPunct="0">
              <a:buClr>
                <a:srgbClr val="F5493B"/>
              </a:buClr>
              <a:defRPr/>
            </a:pPr>
            <a:r>
              <a:rPr lang="ru-RU" sz="900" dirty="0">
                <a:solidFill>
                  <a:srgbClr val="000000"/>
                </a:solidFill>
                <a:latin typeface="Arial"/>
              </a:rPr>
              <a:t>Суммарная установленная мощность           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   </a:t>
            </a:r>
            <a:endParaRPr lang="ru-RU" sz="900" dirty="0">
              <a:solidFill>
                <a:srgbClr val="000000"/>
              </a:solidFill>
              <a:latin typeface="Arial"/>
            </a:endParaRPr>
          </a:p>
          <a:p>
            <a:pPr marL="114300" lvl="1" indent="-112713" algn="ctr" defTabSz="1019175" eaLnBrk="0" hangingPunct="0">
              <a:buClr>
                <a:srgbClr val="F5493B"/>
              </a:buClr>
              <a:defRPr/>
            </a:pPr>
            <a:r>
              <a:rPr lang="ru-RU" sz="2200" b="1" dirty="0">
                <a:solidFill>
                  <a:srgbClr val="FF0000"/>
                </a:solidFill>
                <a:latin typeface="Arial"/>
              </a:rPr>
              <a:t>10 345</a:t>
            </a:r>
            <a:r>
              <a:rPr lang="en-US" b="1" dirty="0">
                <a:solidFill>
                  <a:srgbClr val="FF0000"/>
                </a:solidFill>
                <a:latin typeface="Arial"/>
              </a:rPr>
              <a:t> </a:t>
            </a:r>
            <a:r>
              <a:rPr lang="ru-RU" sz="1600" b="1" dirty="0">
                <a:solidFill>
                  <a:srgbClr val="FF0000"/>
                </a:solidFill>
                <a:latin typeface="Arial"/>
              </a:rPr>
              <a:t>МВт </a:t>
            </a:r>
          </a:p>
          <a:p>
            <a:pPr marL="114300" lvl="1" indent="-112713" algn="ctr" defTabSz="1019175" eaLnBrk="0" hangingPunct="0">
              <a:buClr>
                <a:srgbClr val="F5493B"/>
              </a:buClr>
              <a:defRPr/>
            </a:pPr>
            <a:r>
              <a:rPr lang="ru-RU" sz="1600" b="1" dirty="0">
                <a:solidFill>
                  <a:srgbClr val="FF0000"/>
                </a:solidFill>
                <a:latin typeface="Arial"/>
              </a:rPr>
              <a:t>крупнейшая тепловая </a:t>
            </a:r>
            <a:br>
              <a:rPr lang="ru-RU" sz="1600" b="1" dirty="0">
                <a:solidFill>
                  <a:srgbClr val="FF0000"/>
                </a:solidFill>
                <a:latin typeface="Arial"/>
              </a:rPr>
            </a:br>
            <a:r>
              <a:rPr lang="ru-RU" sz="1600" b="1" dirty="0">
                <a:solidFill>
                  <a:srgbClr val="FF0000"/>
                </a:solidFill>
                <a:latin typeface="Arial"/>
              </a:rPr>
              <a:t>генерирующая компания в России </a:t>
            </a:r>
            <a:endParaRPr lang="en-US" sz="1600" b="1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076" name="Rectangle 5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09600" y="6316663"/>
            <a:ext cx="5105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ts val="900"/>
              </a:lnSpc>
            </a:pPr>
            <a:fld id="{07AD8770-0BA8-4BAF-8294-0C01A7E1CA56}" type="slidenum">
              <a:rPr sz="600" noProof="1">
                <a:solidFill>
                  <a:srgbClr val="000000"/>
                </a:solidFill>
                <a:latin typeface="Arial" charset="0"/>
              </a:rPr>
              <a:pPr eaLnBrk="0" hangingPunct="0">
                <a:lnSpc>
                  <a:spcPts val="900"/>
                </a:lnSpc>
              </a:pPr>
              <a:t>2</a:t>
            </a:fld>
            <a:endParaRPr lang="ru-RU" sz="600" noProof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77" name="Скругленный прямоугольник 423"/>
          <p:cNvSpPr>
            <a:spLocks noChangeArrowheads="1"/>
          </p:cNvSpPr>
          <p:nvPr/>
        </p:nvSpPr>
        <p:spPr bwMode="auto">
          <a:xfrm>
            <a:off x="307975" y="1670050"/>
            <a:ext cx="5561013" cy="4292600"/>
          </a:xfrm>
          <a:prstGeom prst="roundRect">
            <a:avLst>
              <a:gd name="adj" fmla="val 4435"/>
            </a:avLst>
          </a:prstGeom>
          <a:noFill/>
          <a:ln w="12700">
            <a:solidFill>
              <a:srgbClr val="FF0000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>
              <a:solidFill>
                <a:srgbClr val="000000"/>
              </a:solidFill>
            </a:endParaRPr>
          </a:p>
        </p:txBody>
      </p:sp>
      <p:sp>
        <p:nvSpPr>
          <p:cNvPr id="425" name="Скругленный прямоугольник 424"/>
          <p:cNvSpPr/>
          <p:nvPr/>
        </p:nvSpPr>
        <p:spPr bwMode="auto">
          <a:xfrm>
            <a:off x="5954713" y="1679575"/>
            <a:ext cx="2967037" cy="4275138"/>
          </a:xfrm>
          <a:prstGeom prst="roundRect">
            <a:avLst>
              <a:gd name="adj" fmla="val 4730"/>
            </a:avLst>
          </a:prstGeom>
          <a:noFill/>
          <a:ln w="12700" cap="flat" cmpd="sng">
            <a:solidFill>
              <a:srgbClr val="FF0000"/>
            </a:solidFill>
            <a:prstDash val="solid"/>
            <a:round/>
            <a:headEnd/>
            <a:tailEnd/>
          </a:ln>
          <a:effectLst/>
        </p:spPr>
        <p:txBody>
          <a:bodyPr anchor="ctr"/>
          <a:lstStyle/>
          <a:p>
            <a:pPr marL="203200" indent="-203200" algn="ctr">
              <a:buClr>
                <a:srgbClr val="F21C0A"/>
              </a:buClr>
              <a:buSzPct val="100000"/>
            </a:pPr>
            <a:endParaRPr lang="ru-RU" sz="1100" b="1" dirty="0">
              <a:solidFill>
                <a:srgbClr val="D20026"/>
              </a:solidFill>
              <a:latin typeface="Arial" charset="0"/>
            </a:endParaRPr>
          </a:p>
          <a:p>
            <a:pPr marL="203200" indent="-203200" algn="ctr">
              <a:buClr>
                <a:srgbClr val="F21C0A"/>
              </a:buClr>
              <a:buSzPct val="100000"/>
            </a:pPr>
            <a:endParaRPr lang="ru-RU" sz="1100" b="1" dirty="0">
              <a:solidFill>
                <a:srgbClr val="D20026"/>
              </a:solidFill>
              <a:latin typeface="Arial" charset="0"/>
            </a:endParaRPr>
          </a:p>
          <a:p>
            <a:pPr marL="203200" indent="-203200" algn="ctr">
              <a:buClr>
                <a:srgbClr val="F21C0A"/>
              </a:buClr>
              <a:buSzPct val="100000"/>
            </a:pPr>
            <a:endParaRPr lang="ru-RU" sz="1100" b="1" dirty="0">
              <a:solidFill>
                <a:srgbClr val="D20026"/>
              </a:solidFill>
              <a:latin typeface="Arial" charset="0"/>
            </a:endParaRPr>
          </a:p>
          <a:p>
            <a:pPr marL="203200" indent="-203200" algn="ctr">
              <a:buClr>
                <a:srgbClr val="F21C0A"/>
              </a:buClr>
              <a:buSzPct val="100000"/>
            </a:pPr>
            <a:r>
              <a:rPr lang="ru-RU" sz="1600" b="1" dirty="0">
                <a:solidFill>
                  <a:srgbClr val="FF0000"/>
                </a:solidFill>
                <a:latin typeface="Arial" charset="0"/>
              </a:rPr>
              <a:t>Ключевые показатели </a:t>
            </a:r>
            <a:r>
              <a:rPr lang="en-US" sz="1600" b="1" dirty="0">
                <a:solidFill>
                  <a:srgbClr val="FF0000"/>
                </a:solidFill>
                <a:latin typeface="Arial" charset="0"/>
              </a:rPr>
              <a:t>201</a:t>
            </a:r>
            <a:r>
              <a:rPr lang="ru-RU" sz="1600" b="1" dirty="0">
                <a:solidFill>
                  <a:srgbClr val="FF0000"/>
                </a:solidFill>
                <a:latin typeface="Arial" charset="0"/>
              </a:rPr>
              <a:t>1 г.</a:t>
            </a:r>
          </a:p>
          <a:p>
            <a:pPr marL="203200" indent="-203200">
              <a:buClr>
                <a:srgbClr val="F21C0A"/>
              </a:buClr>
              <a:buSzPct val="100000"/>
            </a:pPr>
            <a:endParaRPr lang="en-US" sz="1600" b="1" dirty="0">
              <a:solidFill>
                <a:srgbClr val="D20026"/>
              </a:solidFill>
              <a:latin typeface="Arial" charset="0"/>
            </a:endParaRPr>
          </a:p>
          <a:p>
            <a:pPr marL="203200" indent="-203200">
              <a:lnSpc>
                <a:spcPct val="150000"/>
              </a:lnSpc>
              <a:buClr>
                <a:srgbClr val="F21C0A"/>
              </a:buClr>
              <a:buSzPct val="100000"/>
              <a:buFontTx/>
              <a:buChar char="•"/>
            </a:pPr>
            <a:r>
              <a:rPr lang="ru-RU" sz="1100" dirty="0">
                <a:solidFill>
                  <a:srgbClr val="000000"/>
                </a:solidFill>
                <a:latin typeface="Arial" charset="0"/>
              </a:rPr>
              <a:t>Объем продаж э/э</a:t>
            </a:r>
            <a:r>
              <a:rPr lang="en-US" sz="1100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ru-RU" sz="1100" dirty="0">
                <a:solidFill>
                  <a:srgbClr val="000000"/>
                </a:solidFill>
                <a:latin typeface="Arial" charset="0"/>
              </a:rPr>
              <a:t>     </a:t>
            </a:r>
            <a:r>
              <a:rPr lang="ru-RU" sz="1100" b="1" dirty="0">
                <a:solidFill>
                  <a:srgbClr val="000000"/>
                </a:solidFill>
                <a:latin typeface="Arial" charset="0"/>
              </a:rPr>
              <a:t>65 млрд. </a:t>
            </a:r>
            <a:r>
              <a:rPr lang="ru-RU" sz="1100" b="1" dirty="0" err="1">
                <a:solidFill>
                  <a:srgbClr val="000000"/>
                </a:solidFill>
                <a:latin typeface="Arial" charset="0"/>
              </a:rPr>
              <a:t>кВт.ч</a:t>
            </a:r>
            <a:r>
              <a:rPr lang="en-US" sz="1100" b="1" dirty="0">
                <a:solidFill>
                  <a:srgbClr val="000000"/>
                </a:solidFill>
                <a:latin typeface="Arial" charset="0"/>
              </a:rPr>
              <a:t> </a:t>
            </a:r>
          </a:p>
          <a:p>
            <a:pPr marL="203200" indent="-203200">
              <a:lnSpc>
                <a:spcPct val="150000"/>
              </a:lnSpc>
              <a:buClr>
                <a:srgbClr val="F21C0A"/>
              </a:buClr>
              <a:buSzPct val="100000"/>
              <a:buFontTx/>
              <a:buChar char="•"/>
            </a:pPr>
            <a:r>
              <a:rPr lang="ru-RU" sz="1100" dirty="0" err="1">
                <a:solidFill>
                  <a:srgbClr val="000000"/>
                </a:solidFill>
                <a:latin typeface="Arial" charset="0"/>
              </a:rPr>
              <a:t>Инвестпрограмма</a:t>
            </a:r>
            <a:r>
              <a:rPr lang="ru-RU" sz="1100" dirty="0">
                <a:solidFill>
                  <a:srgbClr val="000000"/>
                </a:solidFill>
                <a:latin typeface="Arial" charset="0"/>
              </a:rPr>
              <a:t>                </a:t>
            </a:r>
            <a:r>
              <a:rPr lang="ru-RU" sz="1100" b="1" dirty="0">
                <a:solidFill>
                  <a:srgbClr val="000000"/>
                </a:solidFill>
                <a:latin typeface="Arial" charset="0"/>
              </a:rPr>
              <a:t>2 500 МВт</a:t>
            </a:r>
          </a:p>
          <a:p>
            <a:pPr marL="203200" indent="-203200">
              <a:lnSpc>
                <a:spcPct val="150000"/>
              </a:lnSpc>
              <a:buClr>
                <a:srgbClr val="F21C0A"/>
              </a:buClr>
              <a:buSzPct val="100000"/>
              <a:buFontTx/>
              <a:buChar char="•"/>
            </a:pPr>
            <a:r>
              <a:rPr lang="ru-RU" sz="1100" dirty="0">
                <a:solidFill>
                  <a:srgbClr val="000000"/>
                </a:solidFill>
                <a:latin typeface="Arial" charset="0"/>
              </a:rPr>
              <a:t>Выполнено                 </a:t>
            </a:r>
            <a:r>
              <a:rPr lang="en-US" sz="11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100" dirty="0">
                <a:solidFill>
                  <a:srgbClr val="000000"/>
                </a:solidFill>
                <a:latin typeface="Arial" charset="0"/>
              </a:rPr>
              <a:t>          </a:t>
            </a:r>
            <a:r>
              <a:rPr lang="ru-RU" sz="1100" b="1" dirty="0">
                <a:solidFill>
                  <a:srgbClr val="000000"/>
                </a:solidFill>
                <a:latin typeface="Arial" charset="0"/>
              </a:rPr>
              <a:t>1 </a:t>
            </a:r>
            <a:r>
              <a:rPr lang="ru-RU" sz="1100" b="1" dirty="0" smtClean="0">
                <a:solidFill>
                  <a:srgbClr val="000000"/>
                </a:solidFill>
                <a:latin typeface="Arial" charset="0"/>
              </a:rPr>
              <a:t>700 </a:t>
            </a:r>
            <a:r>
              <a:rPr lang="ru-RU" sz="1100" b="1" dirty="0">
                <a:solidFill>
                  <a:srgbClr val="000000"/>
                </a:solidFill>
                <a:latin typeface="Arial" charset="0"/>
              </a:rPr>
              <a:t>МВт</a:t>
            </a:r>
          </a:p>
          <a:p>
            <a:pPr marL="203200" indent="-203200">
              <a:lnSpc>
                <a:spcPct val="150000"/>
              </a:lnSpc>
              <a:buClr>
                <a:srgbClr val="F21C0A"/>
              </a:buClr>
              <a:buSzPct val="100000"/>
              <a:buFontTx/>
              <a:buChar char="•"/>
            </a:pPr>
            <a:r>
              <a:rPr lang="ru-RU" sz="1100" dirty="0">
                <a:solidFill>
                  <a:srgbClr val="000000"/>
                </a:solidFill>
                <a:latin typeface="Arial" charset="0"/>
              </a:rPr>
              <a:t>Стоимость </a:t>
            </a:r>
            <a:br>
              <a:rPr lang="ru-RU" sz="1100" dirty="0">
                <a:solidFill>
                  <a:srgbClr val="000000"/>
                </a:solidFill>
                <a:latin typeface="Arial" charset="0"/>
              </a:rPr>
            </a:br>
            <a:r>
              <a:rPr lang="ru-RU" sz="1100" dirty="0">
                <a:solidFill>
                  <a:srgbClr val="000000"/>
                </a:solidFill>
                <a:latin typeface="Arial" charset="0"/>
              </a:rPr>
              <a:t>инвестпрограммы        </a:t>
            </a:r>
            <a:r>
              <a:rPr lang="ru-RU" sz="1100" b="1" dirty="0">
                <a:solidFill>
                  <a:srgbClr val="000000"/>
                </a:solidFill>
                <a:latin typeface="Arial" charset="0"/>
              </a:rPr>
              <a:t>109 млрд. руб.</a:t>
            </a:r>
          </a:p>
          <a:p>
            <a:pPr marL="203200" indent="-203200">
              <a:lnSpc>
                <a:spcPct val="150000"/>
              </a:lnSpc>
              <a:buClr>
                <a:srgbClr val="F21C0A"/>
              </a:buClr>
              <a:buSzPct val="100000"/>
              <a:buFontTx/>
              <a:buChar char="•"/>
            </a:pPr>
            <a:r>
              <a:rPr lang="ru-RU" sz="1100" dirty="0">
                <a:solidFill>
                  <a:srgbClr val="000000"/>
                </a:solidFill>
                <a:latin typeface="Arial" charset="0"/>
              </a:rPr>
              <a:t>Объем инвестиций E.ON</a:t>
            </a:r>
            <a:r>
              <a:rPr lang="en-US" sz="11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100" dirty="0">
                <a:solidFill>
                  <a:srgbClr val="000000"/>
                </a:solidFill>
                <a:latin typeface="Arial" charset="0"/>
              </a:rPr>
              <a:t>в энергетику РФ в 2007-2014 гг.       </a:t>
            </a:r>
            <a:r>
              <a:rPr lang="ru-RU" sz="1100" b="1" dirty="0">
                <a:solidFill>
                  <a:srgbClr val="000000"/>
                </a:solidFill>
                <a:latin typeface="Arial" charset="0"/>
              </a:rPr>
              <a:t>224 млрд. руб.</a:t>
            </a:r>
            <a:endParaRPr lang="ru-RU" sz="1100" dirty="0">
              <a:solidFill>
                <a:srgbClr val="000000"/>
              </a:solidFill>
              <a:latin typeface="Arial" charset="0"/>
            </a:endParaRPr>
          </a:p>
          <a:p>
            <a:pPr marL="203200" indent="-203200">
              <a:lnSpc>
                <a:spcPct val="150000"/>
              </a:lnSpc>
              <a:buClr>
                <a:srgbClr val="F21C0A"/>
              </a:buClr>
              <a:buSzPct val="100000"/>
              <a:buFontTx/>
              <a:buChar char="•"/>
            </a:pPr>
            <a:r>
              <a:rPr lang="ru-RU" sz="1100" dirty="0">
                <a:solidFill>
                  <a:srgbClr val="000000"/>
                </a:solidFill>
                <a:latin typeface="Arial" charset="0"/>
              </a:rPr>
              <a:t>Доля в суммарном объеме </a:t>
            </a:r>
            <a:r>
              <a:rPr lang="ru-RU" sz="1100" dirty="0" err="1">
                <a:solidFill>
                  <a:srgbClr val="000000"/>
                </a:solidFill>
                <a:latin typeface="Arial" charset="0"/>
              </a:rPr>
              <a:t>произ-водства</a:t>
            </a:r>
            <a:r>
              <a:rPr lang="ru-RU" sz="1100" dirty="0">
                <a:solidFill>
                  <a:srgbClr val="000000"/>
                </a:solidFill>
                <a:latin typeface="Arial" charset="0"/>
              </a:rPr>
              <a:t> электроэнергии в РФ      </a:t>
            </a:r>
            <a:r>
              <a:rPr lang="ru-RU" sz="1100" b="1" dirty="0" smtClean="0">
                <a:solidFill>
                  <a:srgbClr val="000000"/>
                </a:solidFill>
                <a:latin typeface="Arial" charset="0"/>
              </a:rPr>
              <a:t>6</a:t>
            </a:r>
            <a:r>
              <a:rPr lang="ru-RU" sz="110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100" b="1" dirty="0" smtClean="0">
                <a:solidFill>
                  <a:srgbClr val="000000"/>
                </a:solidFill>
                <a:latin typeface="Arial" charset="0"/>
              </a:rPr>
              <a:t>%</a:t>
            </a:r>
            <a:endParaRPr lang="ru-RU" sz="1100" dirty="0">
              <a:solidFill>
                <a:srgbClr val="000000"/>
              </a:solidFill>
              <a:latin typeface="Arial" charset="0"/>
            </a:endParaRPr>
          </a:p>
          <a:p>
            <a:pPr marL="203200" indent="-203200">
              <a:buClr>
                <a:srgbClr val="F21C0A"/>
              </a:buClr>
              <a:buSzPct val="100000"/>
              <a:buFont typeface="Wingdings" pitchFamily="2" charset="2"/>
              <a:buNone/>
            </a:pPr>
            <a:r>
              <a:rPr lang="ru-RU" dirty="0">
                <a:solidFill>
                  <a:srgbClr val="000000"/>
                </a:solidFill>
              </a:rPr>
              <a:t>	</a:t>
            </a:r>
            <a:endParaRPr lang="ru-RU" sz="3200" dirty="0">
              <a:solidFill>
                <a:srgbClr val="000000"/>
              </a:solidFill>
            </a:endParaRPr>
          </a:p>
          <a:p>
            <a:pPr marL="203200" indent="-203200" algn="ctr"/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27" name="Прямоугольник 426"/>
          <p:cNvSpPr/>
          <p:nvPr/>
        </p:nvSpPr>
        <p:spPr>
          <a:xfrm>
            <a:off x="1949450" y="1708150"/>
            <a:ext cx="2284413" cy="33813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FF0000"/>
                </a:solidFill>
                <a:latin typeface="Arial"/>
              </a:rPr>
              <a:t>ОАО «Э.ОН Россия» </a:t>
            </a:r>
            <a:endParaRPr lang="ru-RU" sz="1600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93791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6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4634217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6586" name="think-cell Slide" r:id="rId9" imgW="360" imgH="360" progId="">
              <p:embed/>
            </p:oleObj>
          </a:graphicData>
        </a:graphic>
      </p:graphicFrame>
      <p:sp>
        <p:nvSpPr>
          <p:cNvPr id="8195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584200" y="728663"/>
            <a:ext cx="8255000" cy="533400"/>
          </a:xfrm>
        </p:spPr>
        <p:txBody>
          <a:bodyPr/>
          <a:lstStyle/>
          <a:p>
            <a:pPr>
              <a:lnSpc>
                <a:spcPts val="3100"/>
              </a:lnSpc>
            </a:pPr>
            <a:r>
              <a:rPr lang="ru-RU" sz="2500" dirty="0" smtClean="0">
                <a:solidFill>
                  <a:srgbClr val="F21C0A"/>
                </a:solidFill>
              </a:rPr>
              <a:t>Цена электроэнергии в России одна из самых низких в мире</a:t>
            </a:r>
            <a:endParaRPr lang="en-US" dirty="0" smtClean="0">
              <a:solidFill>
                <a:srgbClr val="D53127"/>
              </a:solidFill>
            </a:endParaRPr>
          </a:p>
        </p:txBody>
      </p:sp>
      <p:sp>
        <p:nvSpPr>
          <p:cNvPr id="8196" name="Rectangle 5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9600" y="6316663"/>
            <a:ext cx="5105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ts val="900"/>
              </a:lnSpc>
            </a:pPr>
            <a:endParaRPr lang="de-DE" sz="600">
              <a:solidFill>
                <a:srgbClr val="000000"/>
              </a:solidFill>
              <a:latin typeface="Arial" charset="0"/>
            </a:endParaRPr>
          </a:p>
          <a:p>
            <a:pPr eaLnBrk="0" hangingPunct="0">
              <a:lnSpc>
                <a:spcPts val="900"/>
              </a:lnSpc>
            </a:pPr>
            <a:fld id="{09D8FF8B-CFA0-49A2-99D9-1745667B85DF}" type="slidenum">
              <a:rPr sz="600" noProof="1">
                <a:solidFill>
                  <a:srgbClr val="000000"/>
                </a:solidFill>
                <a:latin typeface="Arial" charset="0"/>
              </a:rPr>
              <a:pPr eaLnBrk="0" hangingPunct="0">
                <a:lnSpc>
                  <a:spcPts val="900"/>
                </a:lnSpc>
              </a:pPr>
              <a:t>3</a:t>
            </a:fld>
            <a:endParaRPr lang="ru-RU" sz="600" noProof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197" name="Picture 9" descr="EON_Logo_W+Markenins#7E3FE1.wmf                                007E32EEMacintosh HD                   C540EE1A: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20025" y="6081713"/>
            <a:ext cx="1331913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Диаграмма 8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3201403596"/>
              </p:ext>
            </p:extLst>
          </p:nvPr>
        </p:nvGraphicFramePr>
        <p:xfrm>
          <a:off x="486569" y="1666875"/>
          <a:ext cx="8305800" cy="3952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" name="Нижний колонтитул 2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82613" y="5853113"/>
            <a:ext cx="5875337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ts val="900"/>
              </a:lnSpc>
              <a:defRPr/>
            </a:pPr>
            <a:r>
              <a:rPr lang="ru-RU" sz="800" noProof="1">
                <a:solidFill>
                  <a:srgbClr val="000000"/>
                </a:solidFill>
                <a:latin typeface="Arial"/>
              </a:rPr>
              <a:t>По данным Министерства экономического развития, статистической службы Европейского союза и НП «Совет ры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755760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6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069707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354" name="think-cell Slide" r:id="rId8" imgW="360" imgH="360" progId="">
              <p:embed/>
            </p:oleObj>
          </a:graphicData>
        </a:graphic>
      </p:graphicFrame>
      <p:sp>
        <p:nvSpPr>
          <p:cNvPr id="11267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584199" y="728663"/>
            <a:ext cx="8283575" cy="533400"/>
          </a:xfrm>
        </p:spPr>
        <p:txBody>
          <a:bodyPr/>
          <a:lstStyle/>
          <a:p>
            <a:pPr>
              <a:lnSpc>
                <a:spcPts val="3100"/>
              </a:lnSpc>
            </a:pPr>
            <a:r>
              <a:rPr lang="ru-RU" sz="2500" dirty="0" smtClean="0">
                <a:solidFill>
                  <a:srgbClr val="F21C0A"/>
                </a:solidFill>
              </a:rPr>
              <a:t>Современное состояние и основные тенденции</a:t>
            </a:r>
          </a:p>
        </p:txBody>
      </p:sp>
      <p:sp>
        <p:nvSpPr>
          <p:cNvPr id="11268" name="Rectangle 5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9600" y="6316663"/>
            <a:ext cx="5105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ts val="900"/>
              </a:lnSpc>
            </a:pPr>
            <a:endParaRPr lang="de-DE" sz="600">
              <a:solidFill>
                <a:srgbClr val="000000"/>
              </a:solidFill>
              <a:latin typeface="Arial" charset="0"/>
            </a:endParaRPr>
          </a:p>
          <a:p>
            <a:pPr eaLnBrk="0" hangingPunct="0">
              <a:lnSpc>
                <a:spcPts val="900"/>
              </a:lnSpc>
            </a:pPr>
            <a:fld id="{FD0918E9-A9E0-4E8A-9838-4DA983E47118}" type="slidenum">
              <a:rPr sz="600" noProof="1">
                <a:solidFill>
                  <a:srgbClr val="000000"/>
                </a:solidFill>
                <a:latin typeface="Arial" charset="0"/>
              </a:rPr>
              <a:pPr eaLnBrk="0" hangingPunct="0">
                <a:lnSpc>
                  <a:spcPts val="900"/>
                </a:lnSpc>
              </a:pPr>
              <a:t>4</a:t>
            </a:fld>
            <a:endParaRPr lang="ru-RU" sz="600" noProof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1269" name="Picture 9" descr="EON_Logo_W+Markenins#7E3FE1.wmf                                007E32EEMacintosh HD                   C540EE1A: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20025" y="6081713"/>
            <a:ext cx="1331913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08013" y="1247775"/>
            <a:ext cx="8316912" cy="462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61950" indent="-180975">
              <a:spcAft>
                <a:spcPts val="700"/>
              </a:spcAft>
              <a:buClr>
                <a:srgbClr val="F21C0A"/>
              </a:buClr>
              <a:buFont typeface="Arial" pitchFamily="34" charset="0"/>
              <a:buChar char="•"/>
              <a:defRPr/>
            </a:pPr>
            <a:r>
              <a:rPr lang="ru-RU" sz="1800" kern="0" dirty="0" smtClean="0">
                <a:latin typeface="+mn-lt"/>
              </a:rPr>
              <a:t>Отсутствие корректного долгосрочного планирования</a:t>
            </a:r>
          </a:p>
          <a:p>
            <a:pPr marL="361950" indent="-180975">
              <a:spcAft>
                <a:spcPts val="700"/>
              </a:spcAft>
              <a:buClr>
                <a:srgbClr val="F21C0A"/>
              </a:buClr>
              <a:buFont typeface="Arial" pitchFamily="34" charset="0"/>
              <a:buChar char="•"/>
              <a:defRPr/>
            </a:pPr>
            <a:r>
              <a:rPr lang="ru-RU" sz="1800" kern="0" dirty="0" smtClean="0">
                <a:latin typeface="+mn-lt"/>
              </a:rPr>
              <a:t>Усиление регулирования отрасли со стороны государства</a:t>
            </a: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7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Консолидация генерирующих активов на базе компаний с государственным контролем</a:t>
            </a: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7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едложения перехода к рынку одного товара</a:t>
            </a: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7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lang="ru-RU" sz="1800" kern="0" dirty="0" smtClean="0">
                <a:latin typeface="+mn-lt"/>
              </a:rPr>
              <a:t>Отсутствие конкуренции и рост задолженности на розничном рынке</a:t>
            </a:r>
          </a:p>
          <a:p>
            <a:pPr marL="361950" indent="-180975">
              <a:spcAft>
                <a:spcPts val="700"/>
              </a:spcAft>
              <a:buClr>
                <a:srgbClr val="F21C0A"/>
              </a:buClr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lang="ru-RU" sz="1800" kern="0" dirty="0" smtClean="0">
                <a:latin typeface="+mn-lt"/>
              </a:rPr>
              <a:t>Снижение мотивации для повышения эффективности</a:t>
            </a: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7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ысокие потери в сетях</a:t>
            </a: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7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lang="ru-RU" sz="1800" kern="0" dirty="0" smtClean="0">
                <a:latin typeface="+mn-lt"/>
              </a:rPr>
              <a:t>Перекрестное субсидирование</a:t>
            </a:r>
          </a:p>
          <a:p>
            <a:pPr marL="361950" lvl="0" indent="-180975">
              <a:spcAft>
                <a:spcPts val="700"/>
              </a:spcAft>
              <a:buClr>
                <a:srgbClr val="F21C0A"/>
              </a:buClr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lang="ru-RU" sz="1800" kern="0" dirty="0" smtClean="0">
                <a:latin typeface="+mn-lt"/>
              </a:rPr>
              <a:t>Несправедливое распределение </a:t>
            </a:r>
            <a:r>
              <a:rPr lang="en-US" sz="1800" kern="0" dirty="0" smtClean="0">
                <a:latin typeface="+mn-lt"/>
              </a:rPr>
              <a:t>EBITDA</a:t>
            </a:r>
            <a:r>
              <a:rPr lang="ru-RU" sz="1800" kern="0" dirty="0" smtClean="0">
                <a:latin typeface="+mn-lt"/>
              </a:rPr>
              <a:t> среди поставщиков ОРЭМ</a:t>
            </a: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7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тарение</a:t>
            </a:r>
            <a:r>
              <a:rPr kumimoji="0" lang="ru-RU" sz="18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основных фондов генерирующих компаний</a:t>
            </a: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7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lang="ru-RU" sz="1800" kern="0" baseline="0" dirty="0" smtClean="0">
                <a:latin typeface="+mn-lt"/>
              </a:rPr>
              <a:t>Недостаточная</a:t>
            </a:r>
            <a:r>
              <a:rPr lang="ru-RU" sz="1800" kern="0" dirty="0" smtClean="0">
                <a:latin typeface="+mn-lt"/>
              </a:rPr>
              <a:t> конкуренция на рынке топлива. Ограниченный доступ к газотранспортной системе</a:t>
            </a:r>
          </a:p>
          <a:p>
            <a:pPr marL="361950" indent="-180975">
              <a:spcAft>
                <a:spcPts val="700"/>
              </a:spcAft>
              <a:buClr>
                <a:srgbClr val="F21C0A"/>
              </a:buClr>
              <a:buFont typeface="Arial" pitchFamily="34" charset="0"/>
              <a:buChar char="•"/>
              <a:tabLst>
                <a:tab pos="266700" algn="l"/>
              </a:tabLst>
              <a:defRPr/>
            </a:pPr>
            <a:r>
              <a:rPr lang="ru-RU" sz="1800" kern="0" dirty="0" smtClean="0">
                <a:latin typeface="+mn-lt"/>
              </a:rPr>
              <a:t>Структура генерирующих мощностей не полностью соответствует графикам потребления</a:t>
            </a:r>
            <a:endParaRPr lang="en-US" sz="1800" kern="0" dirty="0" smtClean="0">
              <a:latin typeface="+mn-lt"/>
            </a:endParaRP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>
                <a:tab pos="266700" algn="l"/>
              </a:tabLst>
              <a:defRPr/>
            </a:pPr>
            <a:endParaRPr kumimoji="0" lang="ru-RU" sz="1800" b="0" i="0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1809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F21C0A"/>
              </a:buClr>
              <a:buSzTx/>
              <a:buFont typeface="Arial" pitchFamily="34" charset="0"/>
              <a:buChar char="•"/>
              <a:tabLst>
                <a:tab pos="266700" algn="l"/>
              </a:tabLst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6498" name="think-cell Slide" r:id="rId7" imgW="360" imgH="360" progId="">
              <p:embed/>
            </p:oleObj>
          </a:graphicData>
        </a:graphic>
      </p:graphicFrame>
      <p:sp>
        <p:nvSpPr>
          <p:cNvPr id="3075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422275" y="1490663"/>
            <a:ext cx="8283575" cy="2814637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3200" dirty="0" smtClean="0">
                <a:solidFill>
                  <a:srgbClr val="F21C0A"/>
                </a:solidFill>
              </a:rPr>
              <a:t>Создание стимулов для повышения эффективной работы отрасли </a:t>
            </a:r>
            <a:br>
              <a:rPr lang="ru-RU" sz="3200" dirty="0" smtClean="0">
                <a:solidFill>
                  <a:srgbClr val="F21C0A"/>
                </a:solidFill>
              </a:rPr>
            </a:br>
            <a:r>
              <a:rPr lang="ru-RU" sz="3200" dirty="0" smtClean="0">
                <a:solidFill>
                  <a:srgbClr val="F21C0A"/>
                </a:solidFill>
              </a:rPr>
              <a:t>и роста ее инвестиционной привлекательности </a:t>
            </a:r>
            <a:endParaRPr lang="en-US" sz="3200" dirty="0" smtClean="0">
              <a:solidFill>
                <a:srgbClr val="D53127"/>
              </a:solidFill>
            </a:endParaRPr>
          </a:p>
        </p:txBody>
      </p:sp>
      <p:sp>
        <p:nvSpPr>
          <p:cNvPr id="2" name="Rectangle 5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609600" y="6316663"/>
            <a:ext cx="5105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ts val="900"/>
              </a:lnSpc>
            </a:pPr>
            <a:endParaRPr lang="de-DE" sz="600">
              <a:solidFill>
                <a:srgbClr val="000000"/>
              </a:solidFill>
              <a:latin typeface="Arial" charset="0"/>
            </a:endParaRPr>
          </a:p>
          <a:p>
            <a:pPr eaLnBrk="0" hangingPunct="0">
              <a:lnSpc>
                <a:spcPts val="900"/>
              </a:lnSpc>
            </a:pPr>
            <a:fld id="{F98805F8-B9CE-4620-92D1-84F35FE3CD40}" type="slidenum">
              <a:rPr sz="600" noProof="1">
                <a:solidFill>
                  <a:srgbClr val="000000"/>
                </a:solidFill>
                <a:latin typeface="Arial" charset="0"/>
              </a:rPr>
              <a:pPr eaLnBrk="0" hangingPunct="0">
                <a:lnSpc>
                  <a:spcPts val="900"/>
                </a:lnSpc>
              </a:pPr>
              <a:t>5</a:t>
            </a:fld>
            <a:endParaRPr lang="ru-RU" sz="600" noProof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3078" name="Picture 9" descr="EON_Logo_W+Markenins#7E3FE1.wmf                                007E32EEMacintosh HD                   C540EE1A: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20025" y="6081713"/>
            <a:ext cx="1331913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938331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" val="EON_W"/>
  <p:tag name="BASIS" val="EONVorlage"/>
  <p:tag name="ZIELMEDIUM" val="LogoBildschirm"/>
  <p:tag name="VERSION" val="5.1"/>
  <p:tag name="THINKCELLPRESENTATIONDONOTDELETE" val="&lt;?xml version=&quot;1.0&quot; encoding=&quot;UTF-16&quot; standalone=&quot;yes&quot;?&gt;&#10;&lt;root reqver=&quot;17839&quot;&gt;&lt;version val=&quot;2116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2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kGuZd2TdsUuyjbRfwWpi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kGuZd2TdsUuyjbRfwWpi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kGuZd2TdsUuyjbRfwWpi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kGuZd2TdsUuyjbRfwWpi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7"/>
  <p:tag name="DEVICE" val="Xerox 5799"/>
  <p:tag name="THINKCELLSHAPEDONOTDELETE" val="pkGuZd2TdsUuyjbRfwWpi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iXJTod11IEKavnPlTyaX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34lp0wkEWivnjJsSZn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xfim6wXUq._LkrDOff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34lp0wkEWivnjJsSZn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CbDa92z0SdvmGy.nOE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iJ_Xr6j0uxmsk7XIb8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.MSYDKlEi3JcNa1NlX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3mCJiQwU.18OPSu.dV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34lp0wkEWivnjJsSZn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CbDa92z0SdvmGy.nOE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qYLaBBwUCzVnFs_hk0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34lp0wkEWivnjJsSZn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CbDa92z0SdvmGy.nOE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CbDa92z0SdvmGy.nOE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L6tqoGcUu7aoUaDyse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iXJTod11IEKavnPlTyaX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iXJTod11IEKavnPlTyaX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iXJTod11IEKavnPlTyaX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iXJTod11IEKavnPlTyaX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Color Tint 4"/>
  <p:tag name="DEVICE" val="Xerox 5799"/>
  <p:tag name="THINKCELLSHAPEDONOTDELETE" val="piXJTod11IEKavnPlTyaX7g"/>
</p:tagLst>
</file>

<file path=ppt/theme/theme1.xml><?xml version="1.0" encoding="utf-8"?>
<a:theme xmlns:a="http://schemas.openxmlformats.org/drawingml/2006/main" name="5_EONVorlage">
  <a:themeElements>
    <a:clrScheme name="EONVorlage 1">
      <a:dk1>
        <a:srgbClr val="000000"/>
      </a:dk1>
      <a:lt1>
        <a:srgbClr val="FFFFFF"/>
      </a:lt1>
      <a:dk2>
        <a:srgbClr val="F5493B"/>
      </a:dk2>
      <a:lt2>
        <a:srgbClr val="D20026"/>
      </a:lt2>
      <a:accent1>
        <a:srgbClr val="7F0026"/>
      </a:accent1>
      <a:accent2>
        <a:srgbClr val="FF8F6E"/>
      </a:accent2>
      <a:accent3>
        <a:srgbClr val="FFFFFF"/>
      </a:accent3>
      <a:accent4>
        <a:srgbClr val="000000"/>
      </a:accent4>
      <a:accent5>
        <a:srgbClr val="C0AAAC"/>
      </a:accent5>
      <a:accent6>
        <a:srgbClr val="E78163"/>
      </a:accent6>
      <a:hlink>
        <a:srgbClr val="AD0026"/>
      </a:hlink>
      <a:folHlink>
        <a:srgbClr val="F76B60"/>
      </a:folHlink>
    </a:clrScheme>
    <a:fontScheme name="EONVorl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620C"/>
        </a:solidFill>
        <a:ln w="19050" cap="flat" cmpd="sng">
          <a:solidFill>
            <a:schemeClr val="bg1"/>
          </a:solidFill>
          <a:prstDash val="solid"/>
          <a:round/>
          <a:headEnd/>
          <a:tailEnd/>
        </a:ln>
        <a:effectLst/>
      </a:spPr>
      <a:bodyPr anchor="ctr"/>
      <a:lstStyle>
        <a:defPPr>
          <a:defRPr smtClean="0">
            <a:solidFill>
              <a:srgbClr val="000000"/>
            </a:solidFill>
            <a:latin typeface="Polo" pitchFamily="1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4B4B4"/>
        </a:solidFill>
        <a:ln w="12700" cap="flat" cmpd="sng" algn="ctr">
          <a:solidFill>
            <a:srgbClr val="B4B4B4"/>
          </a:solidFill>
          <a:prstDash val="solid"/>
          <a:round/>
          <a:headEnd type="none" w="med" len="med"/>
          <a:tailEnd type="none" w="med" len="lg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olo" pitchFamily="1" charset="0"/>
          </a:defRPr>
        </a:defPPr>
      </a:lstStyle>
    </a:lnDef>
  </a:objectDefaults>
  <a:extraClrSchemeLst>
    <a:extraClrScheme>
      <a:clrScheme name="EONVorlage 1">
        <a:dk1>
          <a:srgbClr val="000000"/>
        </a:dk1>
        <a:lt1>
          <a:srgbClr val="FFFFFF"/>
        </a:lt1>
        <a:dk2>
          <a:srgbClr val="F5493B"/>
        </a:dk2>
        <a:lt2>
          <a:srgbClr val="D20026"/>
        </a:lt2>
        <a:accent1>
          <a:srgbClr val="7F0026"/>
        </a:accent1>
        <a:accent2>
          <a:srgbClr val="FF8F6E"/>
        </a:accent2>
        <a:accent3>
          <a:srgbClr val="FFFFFF"/>
        </a:accent3>
        <a:accent4>
          <a:srgbClr val="000000"/>
        </a:accent4>
        <a:accent5>
          <a:srgbClr val="C0AAAC"/>
        </a:accent5>
        <a:accent6>
          <a:srgbClr val="E78163"/>
        </a:accent6>
        <a:hlink>
          <a:srgbClr val="AD0026"/>
        </a:hlink>
        <a:folHlink>
          <a:srgbClr val="F76B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Vorlage 2">
        <a:dk1>
          <a:srgbClr val="000000"/>
        </a:dk1>
        <a:lt1>
          <a:srgbClr val="FFFFFF"/>
        </a:lt1>
        <a:dk2>
          <a:srgbClr val="969696"/>
        </a:dk2>
        <a:lt2>
          <a:srgbClr val="787878"/>
        </a:lt2>
        <a:accent1>
          <a:srgbClr val="464646"/>
        </a:accent1>
        <a:accent2>
          <a:srgbClr val="D2D2D2"/>
        </a:accent2>
        <a:accent3>
          <a:srgbClr val="FFFFFF"/>
        </a:accent3>
        <a:accent4>
          <a:srgbClr val="000000"/>
        </a:accent4>
        <a:accent5>
          <a:srgbClr val="B0B0B0"/>
        </a:accent5>
        <a:accent6>
          <a:srgbClr val="BEBEBE"/>
        </a:accent6>
        <a:hlink>
          <a:srgbClr val="5A5A5A"/>
        </a:hlink>
        <a:folHlink>
          <a:srgbClr val="B4B4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Vorlage 3">
        <a:dk1>
          <a:srgbClr val="000000"/>
        </a:dk1>
        <a:lt1>
          <a:srgbClr val="FFFFFF"/>
        </a:lt1>
        <a:dk2>
          <a:srgbClr val="464646"/>
        </a:dk2>
        <a:lt2>
          <a:srgbClr val="F5493B"/>
        </a:lt2>
        <a:accent1>
          <a:srgbClr val="7F0026"/>
        </a:accent1>
        <a:accent2>
          <a:srgbClr val="B4B4B4"/>
        </a:accent2>
        <a:accent3>
          <a:srgbClr val="FFFFFF"/>
        </a:accent3>
        <a:accent4>
          <a:srgbClr val="000000"/>
        </a:accent4>
        <a:accent5>
          <a:srgbClr val="C0AAAC"/>
        </a:accent5>
        <a:accent6>
          <a:srgbClr val="A3A3A3"/>
        </a:accent6>
        <a:hlink>
          <a:srgbClr val="D20026"/>
        </a:hlink>
        <a:folHlink>
          <a:srgbClr val="7878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Vorlage 4">
        <a:dk1>
          <a:srgbClr val="000000"/>
        </a:dk1>
        <a:lt1>
          <a:srgbClr val="FFFFFF"/>
        </a:lt1>
        <a:dk2>
          <a:srgbClr val="F21C0A"/>
        </a:dk2>
        <a:lt2>
          <a:srgbClr val="F21C0A"/>
        </a:lt2>
        <a:accent1>
          <a:srgbClr val="F21C0A"/>
        </a:accent1>
        <a:accent2>
          <a:srgbClr val="F21C0A"/>
        </a:accent2>
        <a:accent3>
          <a:srgbClr val="FFFFFF"/>
        </a:accent3>
        <a:accent4>
          <a:srgbClr val="000000"/>
        </a:accent4>
        <a:accent5>
          <a:srgbClr val="F7ABAA"/>
        </a:accent5>
        <a:accent6>
          <a:srgbClr val="DB1808"/>
        </a:accent6>
        <a:hlink>
          <a:srgbClr val="F21C0A"/>
        </a:hlink>
        <a:folHlink>
          <a:srgbClr val="F21C0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Vorlage 5">
        <a:dk1>
          <a:srgbClr val="000000"/>
        </a:dk1>
        <a:lt1>
          <a:srgbClr val="FFFFFF"/>
        </a:lt1>
        <a:dk2>
          <a:srgbClr val="969696"/>
        </a:dk2>
        <a:lt2>
          <a:srgbClr val="969696"/>
        </a:lt2>
        <a:accent1>
          <a:srgbClr val="969696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878787"/>
        </a:accent6>
        <a:hlink>
          <a:srgbClr val="969696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ONVorlage 1">
    <a:dk1>
      <a:srgbClr val="000000"/>
    </a:dk1>
    <a:lt1>
      <a:srgbClr val="FFFFFF"/>
    </a:lt1>
    <a:dk2>
      <a:srgbClr val="F5493B"/>
    </a:dk2>
    <a:lt2>
      <a:srgbClr val="D20026"/>
    </a:lt2>
    <a:accent1>
      <a:srgbClr val="7F0026"/>
    </a:accent1>
    <a:accent2>
      <a:srgbClr val="FF8F6E"/>
    </a:accent2>
    <a:accent3>
      <a:srgbClr val="FFFFFF"/>
    </a:accent3>
    <a:accent4>
      <a:srgbClr val="000000"/>
    </a:accent4>
    <a:accent5>
      <a:srgbClr val="C0AAAC"/>
    </a:accent5>
    <a:accent6>
      <a:srgbClr val="E78163"/>
    </a:accent6>
    <a:hlink>
      <a:srgbClr val="AD0026"/>
    </a:hlink>
    <a:folHlink>
      <a:srgbClr val="F76B60"/>
    </a:folHlink>
  </a:clrScheme>
  <a:fontScheme name="EONVorlag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F6A241F16F39E40BC611075DF029D34" ma:contentTypeVersion="2" ma:contentTypeDescription="Создание документа." ma:contentTypeScope="" ma:versionID="82b391342a143c3e7c93b240dafe3553">
  <xsd:schema xmlns:xsd="http://www.w3.org/2001/XMLSchema" xmlns:xs="http://www.w3.org/2001/XMLSchema" xmlns:p="http://schemas.microsoft.com/office/2006/metadata/properties" xmlns:ns2="b6cc8a91-9eb9-4f34-bda3-4b61d0aaa32a" targetNamespace="http://schemas.microsoft.com/office/2006/metadata/properties" ma:root="true" ma:fieldsID="57345587a0667a0218995a762b6b8981" ns2:_="">
    <xsd:import namespace="b6cc8a91-9eb9-4f34-bda3-4b61d0aaa32a"/>
    <xsd:element name="properties">
      <xsd:complexType>
        <xsd:sequence>
          <xsd:element name="documentManagement">
            <xsd:complexType>
              <xsd:all>
                <xsd:element ref="ns2:_x041e__x043f__x0438__x0441__x0430__x043d__x0438__x0435_" minOccurs="0"/>
                <xsd:element ref="ns2:_x041e__x0442__x043e__x0431__x0440__x0430__x0436__x0430__x0435__x043c__x0430__x044f__x0020__x0434__x0430__x0442__x043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cc8a91-9eb9-4f34-bda3-4b61d0aaa32a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8" nillable="true" ma:displayName="Описание" ma:internalName="_x041e__x043f__x0438__x0441__x0430__x043d__x0438__x0435_">
      <xsd:simpleType>
        <xsd:restriction base="dms:Note">
          <xsd:maxLength value="255"/>
        </xsd:restriction>
      </xsd:simpleType>
    </xsd:element>
    <xsd:element name="_x041e__x0442__x043e__x0431__x0440__x0430__x0436__x0430__x0435__x043c__x0430__x044f__x0020__x0434__x0430__x0442__x0430_" ma:index="9" nillable="true" ma:displayName="Отображаемая дата" ma:format="DateOnly" ma:internalName="_x041e__x0442__x043e__x0431__x0440__x0430__x0436__x0430__x0435__x043c__x0430__x044f__x0020__x0434__x0430__x0442__x0430_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e__x0442__x043e__x0431__x0440__x0430__x0436__x0430__x0435__x043c__x0430__x044f__x0020__x0434__x0430__x0442__x0430_ xmlns="b6cc8a91-9eb9-4f34-bda3-4b61d0aaa32a">2012-03-21T20:00:00+00:00</_x041e__x0442__x043e__x0431__x0440__x0430__x0436__x0430__x0435__x043c__x0430__x044f__x0020__x0434__x0430__x0442__x0430_>
    <_x041e__x043f__x0438__x0441__x0430__x043d__x0438__x0435_ xmlns="b6cc8a91-9eb9-4f34-bda3-4b61d0aaa32a" xsi:nil="true"/>
  </documentManagement>
</p:properties>
</file>

<file path=customXml/itemProps1.xml><?xml version="1.0" encoding="utf-8"?>
<ds:datastoreItem xmlns:ds="http://schemas.openxmlformats.org/officeDocument/2006/customXml" ds:itemID="{5FACA786-EA30-4A13-8F9E-1FB8E1C26855}"/>
</file>

<file path=customXml/itemProps2.xml><?xml version="1.0" encoding="utf-8"?>
<ds:datastoreItem xmlns:ds="http://schemas.openxmlformats.org/officeDocument/2006/customXml" ds:itemID="{B7DC3AF2-8DBB-4B0F-9540-72C673491D1E}"/>
</file>

<file path=customXml/itemProps3.xml><?xml version="1.0" encoding="utf-8"?>
<ds:datastoreItem xmlns:ds="http://schemas.openxmlformats.org/officeDocument/2006/customXml" ds:itemID="{6979DEEF-A0A0-4F73-91CC-1775E92D3DB2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54</TotalTime>
  <Words>215</Words>
  <Application>Microsoft Office PowerPoint</Application>
  <PresentationFormat>Экран (4:3)</PresentationFormat>
  <Paragraphs>62</Paragraphs>
  <Slides>5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5_EONVorlage</vt:lpstr>
      <vt:lpstr>think-cell Slide</vt:lpstr>
      <vt:lpstr>Слайд 1</vt:lpstr>
      <vt:lpstr>E.ON – крупнейший иностранный стратегический инвестор в электроэнергетику России</vt:lpstr>
      <vt:lpstr>Цена электроэнергии в России одна из самых низких в мире</vt:lpstr>
      <vt:lpstr>Современное состояние и основные тенденции</vt:lpstr>
      <vt:lpstr>Создание стимулов для повышения эффективной работы отрасли  и роста ее инвестиционной привлекательности </vt:lpstr>
    </vt:vector>
  </TitlesOfParts>
  <Company>E.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ференция «Российская энергетика: госрегулирование VS свобода рынка», презентация С.А.Тазина</dc:title>
  <dc:creator>Sony</dc:creator>
  <cp:lastModifiedBy>Martynova Anna</cp:lastModifiedBy>
  <cp:revision>632</cp:revision>
  <dcterms:created xsi:type="dcterms:W3CDTF">2011-12-13T23:09:30Z</dcterms:created>
  <dcterms:modified xsi:type="dcterms:W3CDTF">2012-03-22T11:4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6A241F16F39E40BC611075DF029D34</vt:lpwstr>
  </property>
</Properties>
</file>